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Override1.xml" ContentType="application/vnd.openxmlformats-officedocument.themeOverride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66" r:id="rId1"/>
  </p:sldMasterIdLst>
  <p:sldIdLst>
    <p:sldId id="257" r:id="rId2"/>
    <p:sldId id="258" r:id="rId3"/>
    <p:sldId id="260" r:id="rId4"/>
    <p:sldId id="261" r:id="rId5"/>
    <p:sldId id="262" r:id="rId6"/>
    <p:sldId id="263" r:id="rId7"/>
    <p:sldId id="264" r:id="rId8"/>
    <p:sldId id="265" r:id="rId9"/>
    <p:sldId id="266" r:id="rId10"/>
    <p:sldId id="267" r:id="rId11"/>
    <p:sldId id="268" r:id="rId12"/>
    <p:sldId id="269" r:id="rId13"/>
    <p:sldId id="270" r:id="rId14"/>
    <p:sldId id="271" r:id="rId15"/>
    <p:sldId id="272" r:id="rId16"/>
    <p:sldId id="273" r:id="rId17"/>
    <p:sldId id="275" r:id="rId18"/>
    <p:sldId id="276" r:id="rId19"/>
    <p:sldId id="277" r:id="rId20"/>
    <p:sldId id="278" r:id="rId21"/>
    <p:sldId id="279" r:id="rId22"/>
    <p:sldId id="280" r:id="rId23"/>
    <p:sldId id="281" r:id="rId24"/>
    <p:sldId id="282" r:id="rId25"/>
    <p:sldId id="283" r:id="rId26"/>
    <p:sldId id="284" r:id="rId27"/>
    <p:sldId id="286" r:id="rId28"/>
    <p:sldId id="287" r:id="rId29"/>
    <p:sldId id="288" r:id="rId30"/>
    <p:sldId id="289" r:id="rId31"/>
    <p:sldId id="290" r:id="rId32"/>
    <p:sldId id="292" r:id="rId33"/>
    <p:sldId id="293" r:id="rId34"/>
    <p:sldId id="302" r:id="rId35"/>
    <p:sldId id="303" r:id="rId36"/>
    <p:sldId id="304" r:id="rId37"/>
    <p:sldId id="305" r:id="rId38"/>
    <p:sldId id="306" r:id="rId39"/>
    <p:sldId id="307" r:id="rId40"/>
    <p:sldId id="308" r:id="rId41"/>
    <p:sldId id="309" r:id="rId42"/>
    <p:sldId id="314" r:id="rId43"/>
    <p:sldId id="315" r:id="rId44"/>
    <p:sldId id="316" r:id="rId45"/>
    <p:sldId id="317" r:id="rId46"/>
    <p:sldId id="318" r:id="rId47"/>
    <p:sldId id="319" r:id="rId48"/>
    <p:sldId id="320" r:id="rId49"/>
    <p:sldId id="322" r:id="rId50"/>
    <p:sldId id="323" r:id="rId51"/>
    <p:sldId id="324" r:id="rId52"/>
    <p:sldId id="325" r:id="rId53"/>
    <p:sldId id="326" r:id="rId54"/>
    <p:sldId id="327" r:id="rId55"/>
    <p:sldId id="328" r:id="rId56"/>
    <p:sldId id="329" r:id="rId57"/>
    <p:sldId id="330" r:id="rId58"/>
    <p:sldId id="331" r:id="rId59"/>
    <p:sldId id="332" r:id="rId60"/>
    <p:sldId id="333" r:id="rId61"/>
    <p:sldId id="334" r:id="rId62"/>
    <p:sldId id="335" r:id="rId63"/>
    <p:sldId id="336" r:id="rId64"/>
    <p:sldId id="337" r:id="rId65"/>
    <p:sldId id="338" r:id="rId66"/>
    <p:sldId id="339" r:id="rId67"/>
    <p:sldId id="340" r:id="rId68"/>
    <p:sldId id="341" r:id="rId69"/>
    <p:sldId id="342" r:id="rId70"/>
    <p:sldId id="343" r:id="rId71"/>
    <p:sldId id="344" r:id="rId72"/>
    <p:sldId id="345" r:id="rId73"/>
    <p:sldId id="358" r:id="rId74"/>
    <p:sldId id="359" r:id="rId75"/>
    <p:sldId id="360" r:id="rId76"/>
    <p:sldId id="361" r:id="rId77"/>
    <p:sldId id="364" r:id="rId78"/>
    <p:sldId id="365" r:id="rId79"/>
    <p:sldId id="366" r:id="rId80"/>
    <p:sldId id="367" r:id="rId81"/>
    <p:sldId id="368" r:id="rId82"/>
    <p:sldId id="369" r:id="rId83"/>
    <p:sldId id="370" r:id="rId84"/>
    <p:sldId id="371" r:id="rId85"/>
    <p:sldId id="372" r:id="rId86"/>
    <p:sldId id="373" r:id="rId87"/>
    <p:sldId id="374" r:id="rId88"/>
    <p:sldId id="375" r:id="rId89"/>
    <p:sldId id="376" r:id="rId90"/>
    <p:sldId id="377" r:id="rId91"/>
    <p:sldId id="378" r:id="rId92"/>
    <p:sldId id="380" r:id="rId93"/>
    <p:sldId id="382" r:id="rId94"/>
    <p:sldId id="383" r:id="rId95"/>
    <p:sldId id="384" r:id="rId96"/>
    <p:sldId id="385" r:id="rId97"/>
    <p:sldId id="386" r:id="rId98"/>
    <p:sldId id="387" r:id="rId99"/>
    <p:sldId id="388" r:id="rId100"/>
    <p:sldId id="389" r:id="rId101"/>
    <p:sldId id="390" r:id="rId102"/>
    <p:sldId id="391" r:id="rId103"/>
    <p:sldId id="392" r:id="rId104"/>
    <p:sldId id="393" r:id="rId105"/>
    <p:sldId id="394" r:id="rId106"/>
    <p:sldId id="395" r:id="rId107"/>
    <p:sldId id="398" r:id="rId108"/>
    <p:sldId id="399" r:id="rId109"/>
    <p:sldId id="402" r:id="rId110"/>
    <p:sldId id="438" r:id="rId111"/>
    <p:sldId id="439" r:id="rId112"/>
    <p:sldId id="440" r:id="rId113"/>
    <p:sldId id="441" r:id="rId114"/>
    <p:sldId id="442" r:id="rId115"/>
    <p:sldId id="443" r:id="rId116"/>
    <p:sldId id="444" r:id="rId117"/>
    <p:sldId id="445" r:id="rId118"/>
  </p:sldIdLst>
  <p:sldSz cx="10058400" cy="7772400"/>
  <p:notesSz cx="10058400" cy="7772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55" d="100"/>
          <a:sy n="55" d="100"/>
        </p:scale>
        <p:origin x="1440" y="48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customXml" Target="../customXml/item1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customXml" Target="../customXml/item2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presProps" Target="presProps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viewProps" Target="viewProps.xml"/><Relationship Id="rId125" Type="http://schemas.openxmlformats.org/officeDocument/2006/relationships/customXml" Target="../customXml/item3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theme" Target="theme/theme1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87562" y="2057400"/>
            <a:ext cx="9652500" cy="5061694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6339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310" y="1800"/>
          <a:ext cx="1309" cy="17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10" y="1800"/>
                        <a:ext cx="1309" cy="17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14">
            <a:extLst>
              <a:ext uri="{FF2B5EF4-FFF2-40B4-BE49-F238E27FC236}">
                <a16:creationId xmlns:a16="http://schemas.microsoft.com/office/drawing/2014/main" id="{C635F959-C395-41B1-8EC3-0E9DA1AC1B8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696200" y="7086600"/>
            <a:ext cx="2187144" cy="487618"/>
            <a:chOff x="728663" y="4465638"/>
            <a:chExt cx="5354637" cy="1193801"/>
          </a:xfrm>
        </p:grpSpPr>
        <p:sp>
          <p:nvSpPr>
            <p:cNvPr id="4" name="Freeform 11">
              <a:extLst>
                <a:ext uri="{FF2B5EF4-FFF2-40B4-BE49-F238E27FC236}">
                  <a16:creationId xmlns:a16="http://schemas.microsoft.com/office/drawing/2014/main" id="{A939A16E-8101-4654-B81B-26BA48745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C285A2CA-E2BB-489E-8496-68DBEE60B5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DDD8B6C5-8B23-425F-B885-BB901F92F7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C512BABE-02A9-45B0-9158-9B68B0A367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15">
              <a:extLst>
                <a:ext uri="{FF2B5EF4-FFF2-40B4-BE49-F238E27FC236}">
                  <a16:creationId xmlns:a16="http://schemas.microsoft.com/office/drawing/2014/main" id="{CDC5D7CB-5EAB-4E2B-8514-D0A37FF125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8184256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grpSp>
        <p:nvGrpSpPr>
          <p:cNvPr id="7" name="Group 14">
            <a:extLst>
              <a:ext uri="{FF2B5EF4-FFF2-40B4-BE49-F238E27FC236}">
                <a16:creationId xmlns:a16="http://schemas.microsoft.com/office/drawing/2014/main" id="{1FCAB955-9626-4CB8-98D9-822B98B4B4C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652918" y="7010400"/>
            <a:ext cx="2187144" cy="487618"/>
            <a:chOff x="728663" y="4465638"/>
            <a:chExt cx="5354637" cy="1193801"/>
          </a:xfrm>
        </p:grpSpPr>
        <p:sp>
          <p:nvSpPr>
            <p:cNvPr id="8" name="Freeform 11">
              <a:extLst>
                <a:ext uri="{FF2B5EF4-FFF2-40B4-BE49-F238E27FC236}">
                  <a16:creationId xmlns:a16="http://schemas.microsoft.com/office/drawing/2014/main" id="{D4944378-5697-45DE-9F4E-8FB16EE507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12">
              <a:extLst>
                <a:ext uri="{FF2B5EF4-FFF2-40B4-BE49-F238E27FC236}">
                  <a16:creationId xmlns:a16="http://schemas.microsoft.com/office/drawing/2014/main" id="{CEC6873C-68DF-4431-B161-E552A840220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3">
              <a:extLst>
                <a:ext uri="{FF2B5EF4-FFF2-40B4-BE49-F238E27FC236}">
                  <a16:creationId xmlns:a16="http://schemas.microsoft.com/office/drawing/2014/main" id="{F40313B5-552B-483D-B616-37554618D7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14">
              <a:extLst>
                <a:ext uri="{FF2B5EF4-FFF2-40B4-BE49-F238E27FC236}">
                  <a16:creationId xmlns:a16="http://schemas.microsoft.com/office/drawing/2014/main" id="{5761338F-F37E-45D5-BCEC-F4623DCDF2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15">
              <a:extLst>
                <a:ext uri="{FF2B5EF4-FFF2-40B4-BE49-F238E27FC236}">
                  <a16:creationId xmlns:a16="http://schemas.microsoft.com/office/drawing/2014/main" id="{37C941B0-14F9-42C7-992C-0368FC4425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2650828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grpSp>
        <p:nvGrpSpPr>
          <p:cNvPr id="6" name="Group 14">
            <a:extLst>
              <a:ext uri="{FF2B5EF4-FFF2-40B4-BE49-F238E27FC236}">
                <a16:creationId xmlns:a16="http://schemas.microsoft.com/office/drawing/2014/main" id="{E824AF73-A715-4B88-9018-A006F42B97F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696200" y="7010400"/>
            <a:ext cx="2187144" cy="487618"/>
            <a:chOff x="728663" y="4465638"/>
            <a:chExt cx="5354637" cy="1193801"/>
          </a:xfrm>
        </p:grpSpPr>
        <p:sp>
          <p:nvSpPr>
            <p:cNvPr id="7" name="Freeform 11">
              <a:extLst>
                <a:ext uri="{FF2B5EF4-FFF2-40B4-BE49-F238E27FC236}">
                  <a16:creationId xmlns:a16="http://schemas.microsoft.com/office/drawing/2014/main" id="{AEA70A8E-A1EA-4E42-918F-249991DB1F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2">
              <a:extLst>
                <a:ext uri="{FF2B5EF4-FFF2-40B4-BE49-F238E27FC236}">
                  <a16:creationId xmlns:a16="http://schemas.microsoft.com/office/drawing/2014/main" id="{E9E24EF5-1CCD-45A4-9BF5-258B24544D4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13">
              <a:extLst>
                <a:ext uri="{FF2B5EF4-FFF2-40B4-BE49-F238E27FC236}">
                  <a16:creationId xmlns:a16="http://schemas.microsoft.com/office/drawing/2014/main" id="{B7A7A609-A7A0-4F4F-9203-D136014732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4">
              <a:extLst>
                <a:ext uri="{FF2B5EF4-FFF2-40B4-BE49-F238E27FC236}">
                  <a16:creationId xmlns:a16="http://schemas.microsoft.com/office/drawing/2014/main" id="{591C42C5-05D6-4AF0-97D1-1E5268F23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38021336-3E4A-4AAD-82E1-78BF826708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2057271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14">
            <a:extLst>
              <a:ext uri="{FF2B5EF4-FFF2-40B4-BE49-F238E27FC236}">
                <a16:creationId xmlns:a16="http://schemas.microsoft.com/office/drawing/2014/main" id="{CFD49AF0-4E39-42FF-97F7-4FA406D4C74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696200" y="6934200"/>
            <a:ext cx="2187144" cy="487618"/>
            <a:chOff x="728663" y="4465638"/>
            <a:chExt cx="5354637" cy="1193801"/>
          </a:xfrm>
        </p:grpSpPr>
        <p:sp>
          <p:nvSpPr>
            <p:cNvPr id="6" name="Freeform 11">
              <a:extLst>
                <a:ext uri="{FF2B5EF4-FFF2-40B4-BE49-F238E27FC236}">
                  <a16:creationId xmlns:a16="http://schemas.microsoft.com/office/drawing/2014/main" id="{9B0C9ED2-423F-4A6A-ABAC-FBB1CE6E1D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Freeform 12">
              <a:extLst>
                <a:ext uri="{FF2B5EF4-FFF2-40B4-BE49-F238E27FC236}">
                  <a16:creationId xmlns:a16="http://schemas.microsoft.com/office/drawing/2014/main" id="{7C8EC57F-9AF2-4B92-BD52-47E67DC2D28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3">
              <a:extLst>
                <a:ext uri="{FF2B5EF4-FFF2-40B4-BE49-F238E27FC236}">
                  <a16:creationId xmlns:a16="http://schemas.microsoft.com/office/drawing/2014/main" id="{D5141B9F-E2E3-4655-B2FA-3588C91AE0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14">
              <a:extLst>
                <a:ext uri="{FF2B5EF4-FFF2-40B4-BE49-F238E27FC236}">
                  <a16:creationId xmlns:a16="http://schemas.microsoft.com/office/drawing/2014/main" id="{CCFB39A0-4E0F-47A4-9145-67A83E1687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AC550C37-F350-4445-9F0D-E85EB77E2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7796606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563" y="0"/>
            <a:ext cx="9178320" cy="125222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87562" y="2057399"/>
            <a:ext cx="9652500" cy="5061694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187563" y="1301755"/>
            <a:ext cx="9652500" cy="5712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11012002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7563" y="2499361"/>
            <a:ext cx="4455000" cy="461973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320"/>
            </a:lvl1pPr>
            <a:lvl2pPr>
              <a:lnSpc>
                <a:spcPct val="100000"/>
              </a:lnSpc>
              <a:spcBef>
                <a:spcPts val="0"/>
              </a:spcBef>
              <a:defRPr sz="1320"/>
            </a:lvl2pPr>
            <a:lvl3pPr>
              <a:lnSpc>
                <a:spcPct val="100000"/>
              </a:lnSpc>
              <a:spcBef>
                <a:spcPts val="0"/>
              </a:spcBef>
              <a:defRPr sz="1320"/>
            </a:lvl3pPr>
            <a:lvl4pPr>
              <a:lnSpc>
                <a:spcPct val="100000"/>
              </a:lnSpc>
              <a:spcBef>
                <a:spcPts val="0"/>
              </a:spcBef>
              <a:defRPr sz="1320"/>
            </a:lvl4pPr>
            <a:lvl5pPr>
              <a:lnSpc>
                <a:spcPct val="100000"/>
              </a:lnSpc>
              <a:spcBef>
                <a:spcPts val="0"/>
              </a:spcBef>
              <a:defRPr sz="132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7563" y="1610455"/>
            <a:ext cx="4455000" cy="84318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85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90"/>
            </a:lvl2pPr>
            <a:lvl3pPr>
              <a:lnSpc>
                <a:spcPct val="100000"/>
              </a:lnSpc>
              <a:defRPr sz="990"/>
            </a:lvl3pPr>
            <a:lvl4pPr>
              <a:lnSpc>
                <a:spcPct val="100000"/>
              </a:lnSpc>
              <a:defRPr sz="990"/>
            </a:lvl4pPr>
            <a:lvl5pPr>
              <a:lnSpc>
                <a:spcPct val="100000"/>
              </a:lnSpc>
              <a:defRPr sz="99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41063" y="1610455"/>
            <a:ext cx="4455000" cy="84318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85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90"/>
            </a:lvl2pPr>
            <a:lvl3pPr>
              <a:lnSpc>
                <a:spcPct val="100000"/>
              </a:lnSpc>
              <a:defRPr sz="990"/>
            </a:lvl3pPr>
            <a:lvl4pPr>
              <a:lnSpc>
                <a:spcPct val="100000"/>
              </a:lnSpc>
              <a:defRPr sz="990"/>
            </a:lvl4pPr>
            <a:lvl5pPr>
              <a:lnSpc>
                <a:spcPct val="100000"/>
              </a:lnSpc>
              <a:defRPr sz="99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87563" y="0"/>
            <a:ext cx="9178320" cy="125222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41063" y="2499361"/>
            <a:ext cx="4455000" cy="461973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320"/>
            </a:lvl1pPr>
            <a:lvl2pPr>
              <a:lnSpc>
                <a:spcPct val="100000"/>
              </a:lnSpc>
              <a:spcBef>
                <a:spcPts val="0"/>
              </a:spcBef>
              <a:defRPr sz="1320"/>
            </a:lvl2pPr>
            <a:lvl3pPr>
              <a:lnSpc>
                <a:spcPct val="100000"/>
              </a:lnSpc>
              <a:spcBef>
                <a:spcPts val="0"/>
              </a:spcBef>
              <a:defRPr sz="1320"/>
            </a:lvl3pPr>
            <a:lvl4pPr>
              <a:lnSpc>
                <a:spcPct val="100000"/>
              </a:lnSpc>
              <a:spcBef>
                <a:spcPts val="0"/>
              </a:spcBef>
              <a:defRPr sz="1320"/>
            </a:lvl4pPr>
            <a:lvl5pPr>
              <a:lnSpc>
                <a:spcPct val="100000"/>
              </a:lnSpc>
              <a:spcBef>
                <a:spcPts val="0"/>
              </a:spcBef>
              <a:defRPr sz="132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2293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7564" y="2499361"/>
            <a:ext cx="2918707" cy="461973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55"/>
            </a:lvl1pPr>
            <a:lvl2pPr>
              <a:lnSpc>
                <a:spcPct val="100000"/>
              </a:lnSpc>
              <a:spcBef>
                <a:spcPts val="0"/>
              </a:spcBef>
              <a:defRPr sz="1155"/>
            </a:lvl2pPr>
            <a:lvl3pPr>
              <a:lnSpc>
                <a:spcPct val="100000"/>
              </a:lnSpc>
              <a:spcBef>
                <a:spcPts val="0"/>
              </a:spcBef>
              <a:defRPr sz="1155"/>
            </a:lvl3pPr>
            <a:lvl4pPr>
              <a:lnSpc>
                <a:spcPct val="100000"/>
              </a:lnSpc>
              <a:spcBef>
                <a:spcPts val="0"/>
              </a:spcBef>
              <a:defRPr sz="1155"/>
            </a:lvl4pPr>
            <a:lvl5pPr>
              <a:lnSpc>
                <a:spcPct val="100000"/>
              </a:lnSpc>
              <a:spcBef>
                <a:spcPts val="0"/>
              </a:spcBef>
              <a:defRPr sz="1155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7564" y="1610455"/>
            <a:ext cx="2918707" cy="84318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32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90"/>
            </a:lvl2pPr>
            <a:lvl3pPr>
              <a:lnSpc>
                <a:spcPct val="100000"/>
              </a:lnSpc>
              <a:defRPr sz="990"/>
            </a:lvl3pPr>
            <a:lvl4pPr>
              <a:lnSpc>
                <a:spcPct val="100000"/>
              </a:lnSpc>
              <a:defRPr sz="990"/>
            </a:lvl4pPr>
            <a:lvl5pPr>
              <a:lnSpc>
                <a:spcPct val="100000"/>
              </a:lnSpc>
              <a:defRPr sz="990"/>
            </a:lvl5pPr>
          </a:lstStyle>
          <a:p>
            <a:pPr marL="0" lvl="0" indent="0" algn="l" defTabSz="754380" rtl="0" eaLnBrk="1" latinLnBrk="0" hangingPunct="1">
              <a:lnSpc>
                <a:spcPct val="100000"/>
              </a:lnSpc>
              <a:spcBef>
                <a:spcPts val="825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58521" y="2499361"/>
            <a:ext cx="2918707" cy="461973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55"/>
            </a:lvl1pPr>
            <a:lvl2pPr>
              <a:lnSpc>
                <a:spcPct val="100000"/>
              </a:lnSpc>
              <a:spcBef>
                <a:spcPts val="0"/>
              </a:spcBef>
              <a:defRPr sz="1155"/>
            </a:lvl2pPr>
            <a:lvl3pPr>
              <a:lnSpc>
                <a:spcPct val="100000"/>
              </a:lnSpc>
              <a:spcBef>
                <a:spcPts val="0"/>
              </a:spcBef>
              <a:defRPr sz="1155"/>
            </a:lvl3pPr>
            <a:lvl4pPr>
              <a:lnSpc>
                <a:spcPct val="100000"/>
              </a:lnSpc>
              <a:spcBef>
                <a:spcPts val="0"/>
              </a:spcBef>
              <a:defRPr sz="1155"/>
            </a:lvl4pPr>
            <a:lvl5pPr>
              <a:lnSpc>
                <a:spcPct val="100000"/>
              </a:lnSpc>
              <a:spcBef>
                <a:spcPts val="0"/>
              </a:spcBef>
              <a:defRPr sz="1155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8521" y="1610455"/>
            <a:ext cx="2918707" cy="84318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32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90"/>
            </a:lvl2pPr>
            <a:lvl3pPr>
              <a:lnSpc>
                <a:spcPct val="100000"/>
              </a:lnSpc>
              <a:defRPr sz="990"/>
            </a:lvl3pPr>
            <a:lvl4pPr>
              <a:lnSpc>
                <a:spcPct val="100000"/>
              </a:lnSpc>
              <a:defRPr sz="990"/>
            </a:lvl4pPr>
            <a:lvl5pPr>
              <a:lnSpc>
                <a:spcPct val="100000"/>
              </a:lnSpc>
              <a:defRPr sz="990"/>
            </a:lvl5pPr>
          </a:lstStyle>
          <a:p>
            <a:pPr marL="0" lvl="0" indent="0" algn="l" defTabSz="754380" rtl="0" eaLnBrk="1" latinLnBrk="0" hangingPunct="1">
              <a:lnSpc>
                <a:spcPct val="100000"/>
              </a:lnSpc>
              <a:spcBef>
                <a:spcPts val="825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16904" y="2499361"/>
            <a:ext cx="2918707" cy="461973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55"/>
            </a:lvl1pPr>
            <a:lvl2pPr>
              <a:lnSpc>
                <a:spcPct val="100000"/>
              </a:lnSpc>
              <a:spcBef>
                <a:spcPts val="0"/>
              </a:spcBef>
              <a:defRPr sz="1155"/>
            </a:lvl2pPr>
            <a:lvl3pPr>
              <a:lnSpc>
                <a:spcPct val="100000"/>
              </a:lnSpc>
              <a:spcBef>
                <a:spcPts val="0"/>
              </a:spcBef>
              <a:defRPr sz="1155"/>
            </a:lvl3pPr>
            <a:lvl4pPr>
              <a:lnSpc>
                <a:spcPct val="100000"/>
              </a:lnSpc>
              <a:spcBef>
                <a:spcPts val="0"/>
              </a:spcBef>
              <a:defRPr sz="1155"/>
            </a:lvl4pPr>
            <a:lvl5pPr>
              <a:lnSpc>
                <a:spcPct val="100000"/>
              </a:lnSpc>
              <a:spcBef>
                <a:spcPts val="0"/>
              </a:spcBef>
              <a:defRPr sz="1155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16904" y="1610455"/>
            <a:ext cx="2918707" cy="84318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32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90"/>
            </a:lvl2pPr>
            <a:lvl3pPr>
              <a:lnSpc>
                <a:spcPct val="100000"/>
              </a:lnSpc>
              <a:defRPr sz="990"/>
            </a:lvl3pPr>
            <a:lvl4pPr>
              <a:lnSpc>
                <a:spcPct val="100000"/>
              </a:lnSpc>
              <a:defRPr sz="990"/>
            </a:lvl4pPr>
            <a:lvl5pPr>
              <a:lnSpc>
                <a:spcPct val="100000"/>
              </a:lnSpc>
              <a:defRPr sz="990"/>
            </a:lvl5pPr>
          </a:lstStyle>
          <a:p>
            <a:pPr marL="0" lvl="0" indent="0" algn="l" defTabSz="754380" rtl="0" eaLnBrk="1" latinLnBrk="0" hangingPunct="1">
              <a:lnSpc>
                <a:spcPct val="100000"/>
              </a:lnSpc>
              <a:spcBef>
                <a:spcPts val="825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1461789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310" y="1800"/>
          <a:ext cx="1309" cy="17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10" y="1800"/>
                        <a:ext cx="1309" cy="17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1"/>
            <a:ext cx="758998" cy="4857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85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758998" cy="1298997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75438" tIns="37719" rIns="75438" bIns="37719" numCol="1" anchor="t" anchorCtr="0" compatLnSpc="1">
            <a:prstTxWarp prst="textNoShape">
              <a:avLst/>
            </a:prstTxWarp>
          </a:bodyPr>
          <a:lstStyle/>
          <a:p>
            <a:endParaRPr lang="en-GB" sz="1485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4270" y="0"/>
            <a:ext cx="8561612" cy="125222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87561" y="2057398"/>
            <a:ext cx="9652500" cy="506328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804270" y="1301755"/>
            <a:ext cx="9026245" cy="5712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21712502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4293310" cy="3535680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485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6082" y="5982216"/>
            <a:ext cx="2719734" cy="376251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320" b="1">
                <a:solidFill>
                  <a:schemeClr val="accent2"/>
                </a:solidFill>
              </a:defRPr>
            </a:lvl1pPr>
            <a:lvl2pPr>
              <a:defRPr sz="1155"/>
            </a:lvl2pPr>
            <a:lvl3pPr>
              <a:defRPr sz="990"/>
            </a:lvl3pPr>
            <a:lvl4pPr>
              <a:defRPr sz="907"/>
            </a:lvl4pPr>
            <a:lvl5pPr>
              <a:defRPr sz="907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6082" y="4438530"/>
            <a:ext cx="2719734" cy="467345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50" b="1">
                <a:solidFill>
                  <a:schemeClr val="accent2"/>
                </a:solidFill>
              </a:defRPr>
            </a:lvl1pPr>
            <a:lvl2pPr>
              <a:defRPr sz="1155"/>
            </a:lvl2pPr>
            <a:lvl3pPr>
              <a:defRPr sz="990"/>
            </a:lvl3pPr>
            <a:lvl4pPr>
              <a:defRPr sz="907"/>
            </a:lvl4pPr>
            <a:lvl5pPr>
              <a:defRPr sz="907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5217" y="4923310"/>
            <a:ext cx="2725919" cy="1014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55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55"/>
            </a:lvl2pPr>
            <a:lvl3pPr>
              <a:lnSpc>
                <a:spcPct val="100000"/>
              </a:lnSpc>
              <a:defRPr sz="1155"/>
            </a:lvl3pPr>
            <a:lvl4pPr>
              <a:lnSpc>
                <a:spcPct val="100000"/>
              </a:lnSpc>
              <a:defRPr sz="1155"/>
            </a:lvl4pPr>
            <a:lvl5pPr>
              <a:lnSpc>
                <a:spcPct val="100000"/>
              </a:lnSpc>
              <a:defRPr sz="1155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5217" y="6348250"/>
            <a:ext cx="2720598" cy="80904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55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55"/>
            </a:lvl2pPr>
            <a:lvl3pPr>
              <a:lnSpc>
                <a:spcPct val="100000"/>
              </a:lnSpc>
              <a:defRPr sz="1155"/>
            </a:lvl3pPr>
            <a:lvl4pPr>
              <a:lnSpc>
                <a:spcPct val="100000"/>
              </a:lnSpc>
              <a:defRPr sz="1155"/>
            </a:lvl4pPr>
            <a:lvl5pPr>
              <a:lnSpc>
                <a:spcPct val="100000"/>
              </a:lnSpc>
              <a:defRPr sz="1155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139483" y="1299972"/>
            <a:ext cx="2152608" cy="279445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485"/>
          </a:p>
        </p:txBody>
      </p:sp>
    </p:spTree>
    <p:extLst>
      <p:ext uri="{BB962C8B-B14F-4D97-AF65-F5344CB8AC3E}">
        <p14:creationId xmlns:p14="http://schemas.microsoft.com/office/powerpoint/2010/main" val="9292562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310" y="1800"/>
          <a:ext cx="1309" cy="17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10" y="1800"/>
                        <a:ext cx="1309" cy="17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7470457" y="7354993"/>
            <a:ext cx="2587943" cy="4174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85"/>
          </a:p>
        </p:txBody>
      </p:sp>
      <p:sp>
        <p:nvSpPr>
          <p:cNvPr id="3" name="Freeform: Shape 9">
            <a:extLst>
              <a:ext uri="{FF2B5EF4-FFF2-40B4-BE49-F238E27FC236}">
                <a16:creationId xmlns:a16="http://schemas.microsoft.com/office/drawing/2014/main" id="{531E77B6-0DD5-446F-A826-892DFC23D785}"/>
              </a:ext>
            </a:extLst>
          </p:cNvPr>
          <p:cNvSpPr>
            <a:spLocks/>
          </p:cNvSpPr>
          <p:nvPr userDrawn="1"/>
        </p:nvSpPr>
        <p:spPr bwMode="auto">
          <a:xfrm rot="16200000" flipH="1">
            <a:off x="3559570" y="1290019"/>
            <a:ext cx="7788848" cy="5208812"/>
          </a:xfrm>
          <a:custGeom>
            <a:avLst/>
            <a:gdLst>
              <a:gd name="connsiteX0" fmla="*/ 1393480 w 6857999"/>
              <a:gd name="connsiteY0" fmla="*/ 6240016 h 6240016"/>
              <a:gd name="connsiteX1" fmla="*/ 6857999 w 6857999"/>
              <a:gd name="connsiteY1" fmla="*/ 6240016 h 6240016"/>
              <a:gd name="connsiteX2" fmla="*/ 6857999 w 6857999"/>
              <a:gd name="connsiteY2" fmla="*/ 4248395 h 6240016"/>
              <a:gd name="connsiteX3" fmla="*/ 6815497 w 6857999"/>
              <a:gd name="connsiteY3" fmla="*/ 4209614 h 6240016"/>
              <a:gd name="connsiteX4" fmla="*/ 2767903 w 6857999"/>
              <a:gd name="connsiteY4" fmla="*/ 5342723 h 6240016"/>
              <a:gd name="connsiteX5" fmla="*/ 1497189 w 6857999"/>
              <a:gd name="connsiteY5" fmla="*/ 6201822 h 6240016"/>
              <a:gd name="connsiteX6" fmla="*/ 0 w 6857999"/>
              <a:gd name="connsiteY6" fmla="*/ 618342 h 6240016"/>
              <a:gd name="connsiteX7" fmla="*/ 0 w 6857999"/>
              <a:gd name="connsiteY7" fmla="*/ 6240016 h 6240016"/>
              <a:gd name="connsiteX8" fmla="*/ 921827 w 6857999"/>
              <a:gd name="connsiteY8" fmla="*/ 6240016 h 6240016"/>
              <a:gd name="connsiteX9" fmla="*/ 877464 w 6857999"/>
              <a:gd name="connsiteY9" fmla="*/ 6206986 h 6240016"/>
              <a:gd name="connsiteX10" fmla="*/ 1720124 w 6857999"/>
              <a:gd name="connsiteY10" fmla="*/ 3319666 h 6240016"/>
              <a:gd name="connsiteX11" fmla="*/ 1778012 w 6857999"/>
              <a:gd name="connsiteY11" fmla="*/ 0 h 6240016"/>
              <a:gd name="connsiteX12" fmla="*/ 36658 w 6857999"/>
              <a:gd name="connsiteY12" fmla="*/ 619001 h 6240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857999" h="6240016">
                <a:moveTo>
                  <a:pt x="1393480" y="6240016"/>
                </a:moveTo>
                <a:lnTo>
                  <a:pt x="6857999" y="6240016"/>
                </a:lnTo>
                <a:lnTo>
                  <a:pt x="6857999" y="4248395"/>
                </a:lnTo>
                <a:lnTo>
                  <a:pt x="6815497" y="4209614"/>
                </a:lnTo>
                <a:cubicBezTo>
                  <a:pt x="6548465" y="3983120"/>
                  <a:pt x="5320780" y="3210409"/>
                  <a:pt x="2767903" y="5342723"/>
                </a:cubicBezTo>
                <a:cubicBezTo>
                  <a:pt x="2220316" y="5799647"/>
                  <a:pt x="1804503" y="6071896"/>
                  <a:pt x="1497189" y="6201822"/>
                </a:cubicBezTo>
                <a:close/>
                <a:moveTo>
                  <a:pt x="0" y="618342"/>
                </a:moveTo>
                <a:lnTo>
                  <a:pt x="0" y="6240016"/>
                </a:lnTo>
                <a:lnTo>
                  <a:pt x="921827" y="6240016"/>
                </a:lnTo>
                <a:lnTo>
                  <a:pt x="877464" y="6206986"/>
                </a:lnTo>
                <a:cubicBezTo>
                  <a:pt x="498816" y="5832433"/>
                  <a:pt x="1067071" y="4347112"/>
                  <a:pt x="1720124" y="3319666"/>
                </a:cubicBezTo>
                <a:cubicBezTo>
                  <a:pt x="2767903" y="1675751"/>
                  <a:pt x="2938674" y="700400"/>
                  <a:pt x="1778012" y="0"/>
                </a:cubicBezTo>
                <a:cubicBezTo>
                  <a:pt x="950209" y="451498"/>
                  <a:pt x="400993" y="607786"/>
                  <a:pt x="36658" y="61900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75438" tIns="37719" rIns="75438" bIns="37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485" dirty="0"/>
          </a:p>
        </p:txBody>
      </p: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9724964" y="7556395"/>
            <a:ext cx="145874" cy="101566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660" smtClean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660" dirty="0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7483570" y="7537416"/>
            <a:ext cx="2198045" cy="13952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754380" rtl="0" eaLnBrk="1" fontAlgn="auto" latinLnBrk="0" hangingPunct="1">
              <a:lnSpc>
                <a:spcPct val="100000"/>
              </a:lnSpc>
              <a:spcBef>
                <a:spcPts val="82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660" dirty="0">
                <a:solidFill>
                  <a:schemeClr val="bg1">
                    <a:lumMod val="50000"/>
                  </a:schemeClr>
                </a:solidFill>
              </a:rPr>
              <a:t>© Capgemini 2020. All rights reserved |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563" y="0"/>
            <a:ext cx="4650048" cy="2023291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4" name="Freeform 13"/>
          <p:cNvSpPr>
            <a:spLocks/>
          </p:cNvSpPr>
          <p:nvPr userDrawn="1"/>
        </p:nvSpPr>
        <p:spPr bwMode="auto">
          <a:xfrm>
            <a:off x="9606830" y="378960"/>
            <a:ext cx="227614" cy="256343"/>
          </a:xfrm>
          <a:custGeom>
            <a:avLst/>
            <a:gdLst/>
            <a:ahLst/>
            <a:cxnLst>
              <a:cxn ang="0">
                <a:pos x="125" y="107"/>
              </a:cxn>
              <a:cxn ang="0">
                <a:pos x="188" y="43"/>
              </a:cxn>
              <a:cxn ang="0">
                <a:pos x="141" y="0"/>
              </a:cxn>
              <a:cxn ang="0">
                <a:pos x="49" y="99"/>
              </a:cxn>
              <a:cxn ang="0">
                <a:pos x="0" y="144"/>
              </a:cxn>
              <a:cxn ang="0">
                <a:pos x="37" y="154"/>
              </a:cxn>
              <a:cxn ang="0">
                <a:pos x="125" y="125"/>
              </a:cxn>
              <a:cxn ang="0">
                <a:pos x="81" y="86"/>
              </a:cxn>
              <a:cxn ang="0">
                <a:pos x="125" y="107"/>
              </a:cxn>
            </a:cxnLst>
            <a:rect l="0" t="0" r="r" b="b"/>
            <a:pathLst>
              <a:path w="188" h="154">
                <a:moveTo>
                  <a:pt x="125" y="107"/>
                </a:moveTo>
                <a:cubicBezTo>
                  <a:pt x="160" y="107"/>
                  <a:pt x="188" y="78"/>
                  <a:pt x="188" y="43"/>
                </a:cubicBezTo>
                <a:cubicBezTo>
                  <a:pt x="186" y="28"/>
                  <a:pt x="181" y="0"/>
                  <a:pt x="141" y="0"/>
                </a:cubicBezTo>
                <a:cubicBezTo>
                  <a:pt x="99" y="0"/>
                  <a:pt x="84" y="60"/>
                  <a:pt x="49" y="99"/>
                </a:cubicBezTo>
                <a:cubicBezTo>
                  <a:pt x="47" y="121"/>
                  <a:pt x="26" y="140"/>
                  <a:pt x="0" y="144"/>
                </a:cubicBezTo>
                <a:cubicBezTo>
                  <a:pt x="6" y="150"/>
                  <a:pt x="20" y="154"/>
                  <a:pt x="37" y="154"/>
                </a:cubicBezTo>
                <a:cubicBezTo>
                  <a:pt x="68" y="154"/>
                  <a:pt x="106" y="145"/>
                  <a:pt x="125" y="125"/>
                </a:cubicBezTo>
                <a:cubicBezTo>
                  <a:pt x="99" y="126"/>
                  <a:pt x="82" y="109"/>
                  <a:pt x="81" y="86"/>
                </a:cubicBezTo>
                <a:cubicBezTo>
                  <a:pt x="93" y="101"/>
                  <a:pt x="108" y="107"/>
                  <a:pt x="125" y="107"/>
                </a:cubicBezTo>
              </a:path>
            </a:pathLst>
          </a:custGeom>
          <a:solidFill>
            <a:srgbClr val="12ABDB"/>
          </a:solidFill>
          <a:ln w="9525">
            <a:noFill/>
            <a:round/>
            <a:headEnd/>
            <a:tailEnd/>
          </a:ln>
        </p:spPr>
        <p:txBody>
          <a:bodyPr vert="horz" wrap="square" lIns="75438" tIns="37719" rIns="75438" bIns="37719" numCol="1" anchor="t" anchorCtr="0" compatLnSpc="1">
            <a:prstTxWarp prst="textNoShape">
              <a:avLst/>
            </a:prstTxWarp>
          </a:bodyPr>
          <a:lstStyle/>
          <a:p>
            <a:endParaRPr lang="en-GB" sz="1485"/>
          </a:p>
        </p:txBody>
      </p:sp>
      <p:sp>
        <p:nvSpPr>
          <p:cNvPr id="5" name="Freeform 14"/>
          <p:cNvSpPr>
            <a:spLocks/>
          </p:cNvSpPr>
          <p:nvPr userDrawn="1"/>
        </p:nvSpPr>
        <p:spPr bwMode="auto">
          <a:xfrm>
            <a:off x="9488409" y="194449"/>
            <a:ext cx="346035" cy="404233"/>
          </a:xfrm>
          <a:custGeom>
            <a:avLst/>
            <a:gdLst/>
            <a:ahLst/>
            <a:cxnLst>
              <a:cxn ang="0">
                <a:pos x="286" y="152"/>
              </a:cxn>
              <a:cxn ang="0">
                <a:pos x="237" y="51"/>
              </a:cxn>
              <a:cxn ang="0">
                <a:pos x="160" y="3"/>
              </a:cxn>
              <a:cxn ang="0">
                <a:pos x="153" y="0"/>
              </a:cxn>
              <a:cxn ang="0">
                <a:pos x="153" y="0"/>
              </a:cxn>
              <a:cxn ang="0">
                <a:pos x="0" y="158"/>
              </a:cxn>
              <a:cxn ang="0">
                <a:pos x="53" y="236"/>
              </a:cxn>
              <a:cxn ang="0">
                <a:pos x="107" y="237"/>
              </a:cxn>
              <a:cxn ang="0">
                <a:pos x="147" y="210"/>
              </a:cxn>
              <a:cxn ang="0">
                <a:pos x="239" y="111"/>
              </a:cxn>
              <a:cxn ang="0">
                <a:pos x="286" y="154"/>
              </a:cxn>
              <a:cxn ang="0">
                <a:pos x="286" y="152"/>
              </a:cxn>
            </a:cxnLst>
            <a:rect l="0" t="0" r="r" b="b"/>
            <a:pathLst>
              <a:path w="286" h="243">
                <a:moveTo>
                  <a:pt x="286" y="152"/>
                </a:moveTo>
                <a:cubicBezTo>
                  <a:pt x="286" y="112"/>
                  <a:pt x="266" y="78"/>
                  <a:pt x="237" y="51"/>
                </a:cubicBezTo>
                <a:cubicBezTo>
                  <a:pt x="215" y="30"/>
                  <a:pt x="188" y="15"/>
                  <a:pt x="160" y="3"/>
                </a:cubicBezTo>
                <a:cubicBezTo>
                  <a:pt x="158" y="2"/>
                  <a:pt x="156" y="1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19" y="41"/>
                  <a:pt x="0" y="72"/>
                  <a:pt x="0" y="158"/>
                </a:cubicBezTo>
                <a:cubicBezTo>
                  <a:pt x="0" y="192"/>
                  <a:pt x="21" y="224"/>
                  <a:pt x="53" y="236"/>
                </a:cubicBezTo>
                <a:cubicBezTo>
                  <a:pt x="71" y="243"/>
                  <a:pt x="89" y="243"/>
                  <a:pt x="107" y="237"/>
                </a:cubicBezTo>
                <a:cubicBezTo>
                  <a:pt x="123" y="232"/>
                  <a:pt x="136" y="222"/>
                  <a:pt x="147" y="210"/>
                </a:cubicBezTo>
                <a:cubicBezTo>
                  <a:pt x="182" y="171"/>
                  <a:pt x="197" y="111"/>
                  <a:pt x="239" y="111"/>
                </a:cubicBezTo>
                <a:cubicBezTo>
                  <a:pt x="279" y="111"/>
                  <a:pt x="284" y="139"/>
                  <a:pt x="286" y="154"/>
                </a:cubicBezTo>
                <a:cubicBezTo>
                  <a:pt x="286" y="154"/>
                  <a:pt x="286" y="153"/>
                  <a:pt x="286" y="152"/>
                </a:cubicBezTo>
              </a:path>
            </a:pathLst>
          </a:custGeom>
          <a:solidFill>
            <a:srgbClr val="0070AD"/>
          </a:solidFill>
          <a:ln w="9525">
            <a:noFill/>
            <a:round/>
            <a:headEnd/>
            <a:tailEnd/>
          </a:ln>
        </p:spPr>
        <p:txBody>
          <a:bodyPr vert="horz" wrap="square" lIns="75438" tIns="37719" rIns="75438" bIns="37719" numCol="1" anchor="t" anchorCtr="0" compatLnSpc="1">
            <a:prstTxWarp prst="textNoShape">
              <a:avLst/>
            </a:prstTxWarp>
          </a:bodyPr>
          <a:lstStyle/>
          <a:p>
            <a:endParaRPr lang="en-GB" sz="1485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>
          <a:xfrm>
            <a:off x="187286" y="2907000"/>
            <a:ext cx="7634168" cy="444799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7064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310" y="1800"/>
          <a:ext cx="1309" cy="17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10" y="1800"/>
                        <a:ext cx="1309" cy="17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9455EBB8-DB3C-45D2-B02F-0B36A58E555B}"/>
              </a:ext>
            </a:extLst>
          </p:cNvPr>
          <p:cNvSpPr/>
          <p:nvPr userDrawn="1"/>
        </p:nvSpPr>
        <p:spPr>
          <a:xfrm>
            <a:off x="-1" y="0"/>
            <a:ext cx="3918172" cy="7772400"/>
          </a:xfrm>
          <a:prstGeom prst="rect">
            <a:avLst/>
          </a:prstGeom>
          <a:solidFill>
            <a:srgbClr val="E6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485"/>
          </a:p>
        </p:txBody>
      </p:sp>
      <p:sp>
        <p:nvSpPr>
          <p:cNvPr id="74761" name="Freeform 9"/>
          <p:cNvSpPr>
            <a:spLocks/>
          </p:cNvSpPr>
          <p:nvPr userDrawn="1"/>
        </p:nvSpPr>
        <p:spPr bwMode="auto">
          <a:xfrm>
            <a:off x="0" y="0"/>
            <a:ext cx="3642809" cy="3599773"/>
          </a:xfrm>
          <a:custGeom>
            <a:avLst/>
            <a:gdLst/>
            <a:ahLst/>
            <a:cxnLst>
              <a:cxn ang="0">
                <a:pos x="0" y="877"/>
              </a:cxn>
              <a:cxn ang="0">
                <a:pos x="0" y="852"/>
              </a:cxn>
              <a:cxn ang="0">
                <a:pos x="0" y="10"/>
              </a:cxn>
              <a:cxn ang="0">
                <a:pos x="0" y="0"/>
              </a:cxn>
              <a:cxn ang="0">
                <a:pos x="37" y="0"/>
              </a:cxn>
              <a:cxn ang="0">
                <a:pos x="1233" y="0"/>
              </a:cxn>
              <a:cxn ang="0">
                <a:pos x="1250" y="9"/>
              </a:cxn>
              <a:cxn ang="0">
                <a:pos x="1350" y="178"/>
              </a:cxn>
              <a:cxn ang="0">
                <a:pos x="1373" y="380"/>
              </a:cxn>
              <a:cxn ang="0">
                <a:pos x="1277" y="541"/>
              </a:cxn>
              <a:cxn ang="0">
                <a:pos x="1269" y="544"/>
              </a:cxn>
              <a:cxn ang="0">
                <a:pos x="1160" y="550"/>
              </a:cxn>
              <a:cxn ang="0">
                <a:pos x="1007" y="624"/>
              </a:cxn>
              <a:cxn ang="0">
                <a:pos x="772" y="775"/>
              </a:cxn>
              <a:cxn ang="0">
                <a:pos x="516" y="921"/>
              </a:cxn>
              <a:cxn ang="0">
                <a:pos x="289" y="988"/>
              </a:cxn>
              <a:cxn ang="0">
                <a:pos x="1" y="879"/>
              </a:cxn>
              <a:cxn ang="0">
                <a:pos x="0" y="877"/>
              </a:cxn>
            </a:cxnLst>
            <a:rect l="0" t="0" r="r" b="b"/>
            <a:pathLst>
              <a:path w="1388" h="998">
                <a:moveTo>
                  <a:pt x="0" y="877"/>
                </a:moveTo>
                <a:cubicBezTo>
                  <a:pt x="0" y="869"/>
                  <a:pt x="0" y="860"/>
                  <a:pt x="0" y="852"/>
                </a:cubicBezTo>
                <a:cubicBezTo>
                  <a:pt x="0" y="571"/>
                  <a:pt x="0" y="290"/>
                  <a:pt x="0" y="10"/>
                </a:cubicBezTo>
                <a:cubicBezTo>
                  <a:pt x="0" y="7"/>
                  <a:pt x="0" y="3"/>
                  <a:pt x="0" y="0"/>
                </a:cubicBezTo>
                <a:cubicBezTo>
                  <a:pt x="12" y="0"/>
                  <a:pt x="25" y="0"/>
                  <a:pt x="37" y="0"/>
                </a:cubicBezTo>
                <a:cubicBezTo>
                  <a:pt x="435" y="0"/>
                  <a:pt x="834" y="0"/>
                  <a:pt x="1233" y="0"/>
                </a:cubicBezTo>
                <a:cubicBezTo>
                  <a:pt x="1241" y="0"/>
                  <a:pt x="1245" y="3"/>
                  <a:pt x="1250" y="9"/>
                </a:cubicBezTo>
                <a:cubicBezTo>
                  <a:pt x="1290" y="61"/>
                  <a:pt x="1325" y="116"/>
                  <a:pt x="1350" y="178"/>
                </a:cubicBezTo>
                <a:cubicBezTo>
                  <a:pt x="1376" y="243"/>
                  <a:pt x="1388" y="310"/>
                  <a:pt x="1373" y="380"/>
                </a:cubicBezTo>
                <a:cubicBezTo>
                  <a:pt x="1359" y="445"/>
                  <a:pt x="1324" y="496"/>
                  <a:pt x="1277" y="541"/>
                </a:cubicBezTo>
                <a:cubicBezTo>
                  <a:pt x="1275" y="543"/>
                  <a:pt x="1273" y="545"/>
                  <a:pt x="1269" y="544"/>
                </a:cubicBezTo>
                <a:cubicBezTo>
                  <a:pt x="1232" y="532"/>
                  <a:pt x="1196" y="539"/>
                  <a:pt x="1160" y="550"/>
                </a:cubicBezTo>
                <a:cubicBezTo>
                  <a:pt x="1106" y="568"/>
                  <a:pt x="1056" y="595"/>
                  <a:pt x="1007" y="624"/>
                </a:cubicBezTo>
                <a:cubicBezTo>
                  <a:pt x="927" y="672"/>
                  <a:pt x="850" y="725"/>
                  <a:pt x="772" y="775"/>
                </a:cubicBezTo>
                <a:cubicBezTo>
                  <a:pt x="689" y="828"/>
                  <a:pt x="605" y="879"/>
                  <a:pt x="516" y="921"/>
                </a:cubicBezTo>
                <a:cubicBezTo>
                  <a:pt x="443" y="954"/>
                  <a:pt x="369" y="980"/>
                  <a:pt x="289" y="988"/>
                </a:cubicBezTo>
                <a:cubicBezTo>
                  <a:pt x="175" y="998"/>
                  <a:pt x="79" y="962"/>
                  <a:pt x="1" y="879"/>
                </a:cubicBezTo>
                <a:cubicBezTo>
                  <a:pt x="0" y="879"/>
                  <a:pt x="0" y="878"/>
                  <a:pt x="0" y="87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75438" tIns="37719" rIns="75438" bIns="37719" numCol="1" anchor="t" anchorCtr="0" compatLnSpc="1">
            <a:prstTxWarp prst="textNoShape">
              <a:avLst/>
            </a:prstTxWarp>
          </a:bodyPr>
          <a:lstStyle/>
          <a:p>
            <a:endParaRPr lang="en-GB" sz="1485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563" y="0"/>
            <a:ext cx="2997597" cy="26154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0865" y="3876322"/>
            <a:ext cx="3536440" cy="339231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320"/>
            </a:lvl1pPr>
            <a:lvl2pPr>
              <a:lnSpc>
                <a:spcPct val="100000"/>
              </a:lnSpc>
              <a:defRPr sz="1320"/>
            </a:lvl2pPr>
            <a:lvl3pPr>
              <a:lnSpc>
                <a:spcPct val="100000"/>
              </a:lnSpc>
              <a:defRPr sz="1320"/>
            </a:lvl3pPr>
            <a:lvl4pPr>
              <a:lnSpc>
                <a:spcPct val="100000"/>
              </a:lnSpc>
              <a:defRPr sz="1320"/>
            </a:lvl4pPr>
            <a:lvl5pPr>
              <a:lnSpc>
                <a:spcPct val="100000"/>
              </a:lnSpc>
              <a:defRPr sz="99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F6EE60C-2261-45A0-AD6F-B5F767C57B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759631" y="587083"/>
            <a:ext cx="3316878" cy="467345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320" b="1">
                <a:solidFill>
                  <a:srgbClr val="0070AD"/>
                </a:solidFill>
              </a:defRPr>
            </a:lvl1pPr>
            <a:lvl2pPr>
              <a:defRPr sz="1155"/>
            </a:lvl2pPr>
            <a:lvl3pPr>
              <a:defRPr sz="990"/>
            </a:lvl3pPr>
            <a:lvl4pPr>
              <a:defRPr sz="907"/>
            </a:lvl4pPr>
            <a:lvl5pPr>
              <a:defRPr sz="907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759632" y="1061898"/>
            <a:ext cx="3316878" cy="133463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90"/>
            </a:lvl1pPr>
            <a:lvl2pPr>
              <a:lnSpc>
                <a:spcPct val="100000"/>
              </a:lnSpc>
              <a:defRPr sz="990"/>
            </a:lvl2pPr>
            <a:lvl3pPr>
              <a:lnSpc>
                <a:spcPct val="100000"/>
              </a:lnSpc>
              <a:defRPr sz="990"/>
            </a:lvl3pPr>
            <a:lvl4pPr>
              <a:lnSpc>
                <a:spcPct val="100000"/>
              </a:lnSpc>
              <a:defRPr sz="990"/>
            </a:lvl4pPr>
            <a:lvl5pPr>
              <a:lnSpc>
                <a:spcPct val="100000"/>
              </a:lnSpc>
              <a:defRPr sz="99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83D9B326-443F-495A-B788-21C48AC85A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759631" y="5266897"/>
            <a:ext cx="3316878" cy="467345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320" b="1">
                <a:solidFill>
                  <a:srgbClr val="0070AD"/>
                </a:solidFill>
              </a:defRPr>
            </a:lvl1pPr>
            <a:lvl2pPr>
              <a:defRPr sz="1155"/>
            </a:lvl2pPr>
            <a:lvl3pPr>
              <a:defRPr sz="990"/>
            </a:lvl3pPr>
            <a:lvl4pPr>
              <a:defRPr sz="907"/>
            </a:lvl4pPr>
            <a:lvl5pPr>
              <a:defRPr sz="907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00358894-025F-4D0E-AF6E-F99EDF29800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759632" y="5741713"/>
            <a:ext cx="3316878" cy="133463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90"/>
            </a:lvl1pPr>
            <a:lvl2pPr>
              <a:lnSpc>
                <a:spcPct val="100000"/>
              </a:lnSpc>
              <a:defRPr sz="990"/>
            </a:lvl2pPr>
            <a:lvl3pPr>
              <a:lnSpc>
                <a:spcPct val="100000"/>
              </a:lnSpc>
              <a:defRPr sz="990"/>
            </a:lvl3pPr>
            <a:lvl4pPr>
              <a:lnSpc>
                <a:spcPct val="100000"/>
              </a:lnSpc>
              <a:defRPr sz="990"/>
            </a:lvl4pPr>
            <a:lvl5pPr>
              <a:lnSpc>
                <a:spcPct val="100000"/>
              </a:lnSpc>
              <a:defRPr sz="99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E5AF299-5A92-48E3-B18F-F7FE7AB9EED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759631" y="2905166"/>
            <a:ext cx="3316878" cy="467345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320" b="1">
                <a:solidFill>
                  <a:srgbClr val="0070AD"/>
                </a:solidFill>
              </a:defRPr>
            </a:lvl1pPr>
            <a:lvl2pPr>
              <a:defRPr sz="1155"/>
            </a:lvl2pPr>
            <a:lvl3pPr>
              <a:defRPr sz="990"/>
            </a:lvl3pPr>
            <a:lvl4pPr>
              <a:defRPr sz="907"/>
            </a:lvl4pPr>
            <a:lvl5pPr>
              <a:defRPr sz="907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F951F368-6540-4675-9A52-0824638E0EF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759632" y="3379981"/>
            <a:ext cx="3316878" cy="133463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90"/>
            </a:lvl1pPr>
            <a:lvl2pPr>
              <a:lnSpc>
                <a:spcPct val="100000"/>
              </a:lnSpc>
              <a:defRPr sz="990"/>
            </a:lvl2pPr>
            <a:lvl3pPr>
              <a:lnSpc>
                <a:spcPct val="100000"/>
              </a:lnSpc>
              <a:defRPr sz="990"/>
            </a:lvl3pPr>
            <a:lvl4pPr>
              <a:lnSpc>
                <a:spcPct val="100000"/>
              </a:lnSpc>
              <a:defRPr sz="990"/>
            </a:lvl4pPr>
            <a:lvl5pPr>
              <a:lnSpc>
                <a:spcPct val="100000"/>
              </a:lnSpc>
              <a:defRPr sz="99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B7C16A20-D927-494E-94A9-49AF2E1FA0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713947" y="1179216"/>
            <a:ext cx="712192" cy="547066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970" b="0">
                <a:solidFill>
                  <a:srgbClr val="2C004B"/>
                </a:solidFill>
              </a:defRPr>
            </a:lvl1pPr>
            <a:lvl2pPr>
              <a:defRPr sz="1155"/>
            </a:lvl2pPr>
            <a:lvl3pPr>
              <a:defRPr sz="990"/>
            </a:lvl3pPr>
            <a:lvl4pPr>
              <a:defRPr sz="907"/>
            </a:lvl4pPr>
            <a:lvl5pPr>
              <a:defRPr sz="907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936BACCD-6FBF-486E-81CB-3462560DA2C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713947" y="3395718"/>
            <a:ext cx="712192" cy="547066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970" b="0">
                <a:solidFill>
                  <a:srgbClr val="2C004B"/>
                </a:solidFill>
              </a:defRPr>
            </a:lvl1pPr>
            <a:lvl2pPr>
              <a:defRPr sz="1155"/>
            </a:lvl2pPr>
            <a:lvl3pPr>
              <a:defRPr sz="990"/>
            </a:lvl3pPr>
            <a:lvl4pPr>
              <a:defRPr sz="907"/>
            </a:lvl4pPr>
            <a:lvl5pPr>
              <a:defRPr sz="907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48E9C506-31EA-4D04-B660-3B4DB070411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713947" y="5788887"/>
            <a:ext cx="712192" cy="547066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970" b="0">
                <a:solidFill>
                  <a:srgbClr val="2C004B"/>
                </a:solidFill>
              </a:defRPr>
            </a:lvl1pPr>
            <a:lvl2pPr>
              <a:defRPr sz="1155"/>
            </a:lvl2pPr>
            <a:lvl3pPr>
              <a:defRPr sz="990"/>
            </a:lvl3pPr>
            <a:lvl4pPr>
              <a:defRPr sz="907"/>
            </a:lvl4pPr>
            <a:lvl5pPr>
              <a:defRPr sz="907"/>
            </a:lvl5pPr>
          </a:lstStyle>
          <a:p>
            <a:pPr lvl="0"/>
            <a:r>
              <a:rPr lang="en-US" dirty="0"/>
              <a:t>Nº</a:t>
            </a:r>
          </a:p>
        </p:txBody>
      </p:sp>
    </p:spTree>
    <p:extLst>
      <p:ext uri="{BB962C8B-B14F-4D97-AF65-F5344CB8AC3E}">
        <p14:creationId xmlns:p14="http://schemas.microsoft.com/office/powerpoint/2010/main" val="41634157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310" y="1800"/>
          <a:ext cx="1309" cy="17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10" y="1800"/>
                        <a:ext cx="1309" cy="17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14">
            <a:extLst>
              <a:ext uri="{FF2B5EF4-FFF2-40B4-BE49-F238E27FC236}">
                <a16:creationId xmlns:a16="http://schemas.microsoft.com/office/drawing/2014/main" id="{BC7B1739-0A0D-46F0-AD6B-0A89B73796E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696200" y="7086600"/>
            <a:ext cx="2187144" cy="487618"/>
            <a:chOff x="728663" y="4465638"/>
            <a:chExt cx="5354637" cy="1193801"/>
          </a:xfrm>
        </p:grpSpPr>
        <p:sp>
          <p:nvSpPr>
            <p:cNvPr id="6" name="Freeform 11">
              <a:extLst>
                <a:ext uri="{FF2B5EF4-FFF2-40B4-BE49-F238E27FC236}">
                  <a16:creationId xmlns:a16="http://schemas.microsoft.com/office/drawing/2014/main" id="{31FFAC4C-3781-4B1B-8F8D-D8335BFF68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Freeform 12">
              <a:extLst>
                <a:ext uri="{FF2B5EF4-FFF2-40B4-BE49-F238E27FC236}">
                  <a16:creationId xmlns:a16="http://schemas.microsoft.com/office/drawing/2014/main" id="{4D3B3FD5-8A3F-43F9-9955-29946C1FA54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3">
              <a:extLst>
                <a:ext uri="{FF2B5EF4-FFF2-40B4-BE49-F238E27FC236}">
                  <a16:creationId xmlns:a16="http://schemas.microsoft.com/office/drawing/2014/main" id="{E2041950-D5E1-472E-BB57-6CB38CF8BB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14">
              <a:extLst>
                <a:ext uri="{FF2B5EF4-FFF2-40B4-BE49-F238E27FC236}">
                  <a16:creationId xmlns:a16="http://schemas.microsoft.com/office/drawing/2014/main" id="{7490E9C4-6DFE-46FD-9E80-32355F37FA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DDB552FC-AD0A-4586-A0B3-F3BD689305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7345821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310" y="1800"/>
          <a:ext cx="1309" cy="17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10" y="1800"/>
                        <a:ext cx="1309" cy="17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9488409" y="194449"/>
            <a:ext cx="346035" cy="440853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85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85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9694726" y="7556395"/>
            <a:ext cx="145874" cy="101566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66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66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7439209" y="7537416"/>
            <a:ext cx="2198045" cy="13952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754380" rtl="0" eaLnBrk="1" fontAlgn="auto" latinLnBrk="0" hangingPunct="1">
              <a:lnSpc>
                <a:spcPct val="100000"/>
              </a:lnSpc>
              <a:spcBef>
                <a:spcPts val="82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660" dirty="0">
                <a:solidFill>
                  <a:schemeClr val="bg1">
                    <a:lumMod val="65000"/>
                  </a:schemeClr>
                </a:solidFill>
              </a:rPr>
              <a:t>© Capgemini 2020. All rights reserved  </a:t>
            </a:r>
            <a:r>
              <a:rPr lang="en-US" sz="660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187562" y="7537416"/>
            <a:ext cx="3891132" cy="139526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60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187562" y="2057400"/>
            <a:ext cx="9652500" cy="506169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187563" y="0"/>
            <a:ext cx="9178320" cy="125222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75438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0192908" y="37582"/>
            <a:ext cx="297000" cy="204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248"/>
                </a:spcAft>
              </a:pPr>
              <a:endParaRPr lang="en-GB" sz="743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248"/>
                </a:spcAft>
              </a:pPr>
              <a:endParaRPr lang="en-GB" sz="743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248"/>
                </a:spcAft>
              </a:pPr>
              <a:endParaRPr lang="en-GB" sz="743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248"/>
                </a:spcAft>
              </a:pPr>
              <a:endParaRPr lang="en-GB" sz="743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248"/>
                </a:spcAft>
              </a:pPr>
              <a:endParaRPr lang="en-GB" sz="743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0192908" y="2215076"/>
            <a:ext cx="297000" cy="5525875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8459" algn="ctr">
                <a:spcAft>
                  <a:spcPts val="248"/>
                </a:spcAft>
              </a:pPr>
              <a:endParaRPr lang="en-GB" sz="743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8459" algn="ctr">
                <a:spcAft>
                  <a:spcPts val="248"/>
                </a:spcAft>
              </a:pPr>
              <a:endParaRPr lang="en-GB" sz="743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248"/>
                </a:spcAft>
              </a:pPr>
              <a:endParaRPr lang="en-GB" sz="743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248"/>
                </a:spcAft>
              </a:pPr>
              <a:endParaRPr lang="en-GB" sz="743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248"/>
                </a:spcAft>
              </a:pPr>
              <a:endParaRPr lang="en-GB" sz="743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248"/>
                </a:spcAft>
              </a:pPr>
              <a:endParaRPr lang="en-GB" sz="743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248"/>
                </a:spcAft>
              </a:pPr>
              <a:endParaRPr lang="en-GB" sz="743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248"/>
                </a:spcAft>
              </a:pPr>
              <a:endParaRPr lang="en-GB" sz="743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248"/>
                </a:spcAft>
              </a:pPr>
              <a:endParaRPr lang="en-GB" sz="743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248"/>
                </a:spcAft>
              </a:pPr>
              <a:endParaRPr lang="en-GB" sz="743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248"/>
                </a:spcAft>
              </a:pPr>
              <a:endParaRPr lang="en-GB" sz="743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248"/>
                </a:spcAft>
              </a:pPr>
              <a:endParaRPr lang="en-GB" sz="743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248"/>
                </a:spcAft>
              </a:pPr>
              <a:endParaRPr lang="en-GB" sz="743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248"/>
                </a:spcAft>
              </a:pPr>
              <a:endParaRPr lang="en-GB" sz="743" dirty="0"/>
            </a:p>
          </p:txBody>
        </p:sp>
      </p:grpSp>
    </p:spTree>
    <p:extLst>
      <p:ext uri="{BB962C8B-B14F-4D97-AF65-F5344CB8AC3E}">
        <p14:creationId xmlns:p14="http://schemas.microsoft.com/office/powerpoint/2010/main" val="2902836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</p:sldLayoutIdLst>
  <p:txStyles>
    <p:titleStyle>
      <a:lvl1pPr marL="0" marR="0" indent="0" algn="l" defTabSz="75438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475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754380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None/>
        <a:defRPr sz="1650" kern="1200">
          <a:solidFill>
            <a:schemeClr val="tx1"/>
          </a:solidFill>
          <a:latin typeface="+mj-lt"/>
          <a:ea typeface="+mn-ea"/>
          <a:cs typeface="+mn-cs"/>
        </a:defRPr>
      </a:lvl1pPr>
      <a:lvl2pPr marL="220028" indent="-146685" algn="l" defTabSz="754380" rtl="0" eaLnBrk="1" latinLnBrk="0" hangingPunct="1">
        <a:lnSpc>
          <a:spcPct val="90000"/>
        </a:lnSpc>
        <a:spcBef>
          <a:spcPts val="413"/>
        </a:spcBef>
        <a:buClr>
          <a:schemeClr val="accent1"/>
        </a:buClr>
        <a:buFont typeface="Wingdings" panose="05000000000000000000" pitchFamily="2" charset="2"/>
        <a:buChar char="§"/>
        <a:defRPr sz="1485" kern="1200">
          <a:solidFill>
            <a:schemeClr val="tx1"/>
          </a:solidFill>
          <a:latin typeface="+mj-lt"/>
          <a:ea typeface="+mn-ea"/>
          <a:cs typeface="+mn-cs"/>
        </a:defRPr>
      </a:lvl2pPr>
      <a:lvl3pPr marL="366713" indent="-146685" algn="l" defTabSz="754380" rtl="0" eaLnBrk="1" latinLnBrk="0" hangingPunct="1">
        <a:lnSpc>
          <a:spcPct val="90000"/>
        </a:lnSpc>
        <a:spcBef>
          <a:spcPts val="413"/>
        </a:spcBef>
        <a:buClr>
          <a:schemeClr val="accent2"/>
        </a:buClr>
        <a:buFont typeface="Arial" panose="020B0604020202020204" pitchFamily="34" charset="0"/>
        <a:buChar char="•"/>
        <a:defRPr sz="1320" kern="1200">
          <a:solidFill>
            <a:schemeClr val="tx1"/>
          </a:solidFill>
          <a:latin typeface="+mj-lt"/>
          <a:ea typeface="+mn-ea"/>
          <a:cs typeface="+mn-cs"/>
        </a:defRPr>
      </a:lvl3pPr>
      <a:lvl4pPr marL="513398" indent="-146685" algn="l" defTabSz="754380" rtl="0" eaLnBrk="1" latinLnBrk="0" hangingPunct="1">
        <a:lnSpc>
          <a:spcPct val="90000"/>
        </a:lnSpc>
        <a:spcBef>
          <a:spcPts val="413"/>
        </a:spcBef>
        <a:buClr>
          <a:schemeClr val="accent3"/>
        </a:buClr>
        <a:buFont typeface="Verdana" panose="020B0604030504040204" pitchFamily="34" charset="0"/>
        <a:buChar char="‒"/>
        <a:defRPr sz="1155" kern="1200">
          <a:solidFill>
            <a:schemeClr val="tx1"/>
          </a:solidFill>
          <a:latin typeface="+mj-lt"/>
          <a:ea typeface="+mn-ea"/>
          <a:cs typeface="+mn-cs"/>
        </a:defRPr>
      </a:lvl4pPr>
      <a:lvl5pPr marL="670560" indent="-157163" algn="l" defTabSz="754380" rtl="0" eaLnBrk="1" latinLnBrk="0" hangingPunct="1">
        <a:lnSpc>
          <a:spcPct val="90000"/>
        </a:lnSpc>
        <a:spcBef>
          <a:spcPts val="413"/>
        </a:spcBef>
        <a:buClr>
          <a:schemeClr val="accent5"/>
        </a:buClr>
        <a:buFont typeface="Arial" panose="020B0604020202020204" pitchFamily="34" charset="0"/>
        <a:buChar char="•"/>
        <a:defRPr sz="1155" kern="1200">
          <a:solidFill>
            <a:schemeClr val="tx1"/>
          </a:solidFill>
          <a:latin typeface="+mj-lt"/>
          <a:ea typeface="+mn-ea"/>
          <a:cs typeface="+mn-cs"/>
        </a:defRPr>
      </a:lvl5pPr>
      <a:lvl6pPr marL="2074545" indent="-188595" algn="l" defTabSz="754380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5" kern="1200">
          <a:solidFill>
            <a:schemeClr val="tx1"/>
          </a:solidFill>
          <a:latin typeface="+mn-lt"/>
          <a:ea typeface="+mn-ea"/>
          <a:cs typeface="+mn-cs"/>
        </a:defRPr>
      </a:lvl6pPr>
      <a:lvl7pPr marL="2451735" indent="-188595" algn="l" defTabSz="754380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5" kern="1200">
          <a:solidFill>
            <a:schemeClr val="tx1"/>
          </a:solidFill>
          <a:latin typeface="+mn-lt"/>
          <a:ea typeface="+mn-ea"/>
          <a:cs typeface="+mn-cs"/>
        </a:defRPr>
      </a:lvl7pPr>
      <a:lvl8pPr marL="2828925" indent="-188595" algn="l" defTabSz="754380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5" kern="1200">
          <a:solidFill>
            <a:schemeClr val="tx1"/>
          </a:solidFill>
          <a:latin typeface="+mn-lt"/>
          <a:ea typeface="+mn-ea"/>
          <a:cs typeface="+mn-cs"/>
        </a:defRPr>
      </a:lvl8pPr>
      <a:lvl9pPr marL="3206115" indent="-188595" algn="l" defTabSz="754380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1pPr>
      <a:lvl2pPr marL="37719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2pPr>
      <a:lvl3pPr marL="75438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3pPr>
      <a:lvl4pPr marL="113157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4pPr>
      <a:lvl5pPr marL="150876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6pPr>
      <a:lvl7pPr marL="226314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7pPr>
      <a:lvl8pPr marL="264033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8pPr>
      <a:lvl9pPr marL="301752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1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12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12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12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11.xml"/></Relationships>
</file>

<file path=ppt/slides/_rels/slide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12.xml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13.png"/><Relationship Id="rId4" Type="http://schemas.openxmlformats.org/officeDocument/2006/relationships/image" Target="../media/image112.png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12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1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1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8.jp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jpg"/><Relationship Id="rId1" Type="http://schemas.openxmlformats.org/officeDocument/2006/relationships/slideLayout" Target="../slideLayouts/slideLayout1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1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jpg"/><Relationship Id="rId1" Type="http://schemas.openxmlformats.org/officeDocument/2006/relationships/slideLayout" Target="../slideLayouts/slideLayout1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1.xml"/><Relationship Id="rId1" Type="http://schemas.openxmlformats.org/officeDocument/2006/relationships/themeOverride" Target="../theme/themeOverride1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8.png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1.jpg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2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1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2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2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jpg"/><Relationship Id="rId1" Type="http://schemas.openxmlformats.org/officeDocument/2006/relationships/slideLayout" Target="../slideLayouts/slideLayout1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81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4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7.png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12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2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11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3.jpg"/><Relationship Id="rId1" Type="http://schemas.openxmlformats.org/officeDocument/2006/relationships/slideLayout" Target="../slideLayouts/slideLayout12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jpg"/><Relationship Id="rId1" Type="http://schemas.openxmlformats.org/officeDocument/2006/relationships/slideLayout" Target="../slideLayouts/slideLayout12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jpg"/><Relationship Id="rId1" Type="http://schemas.openxmlformats.org/officeDocument/2006/relationships/slideLayout" Target="../slideLayouts/slideLayout12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jpg"/><Relationship Id="rId1" Type="http://schemas.openxmlformats.org/officeDocument/2006/relationships/slideLayout" Target="../slideLayouts/slideLayout12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322834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Training</a:t>
            </a:r>
            <a:r>
              <a:rPr spc="-95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Agenda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010332" y="1828646"/>
            <a:ext cx="5771468" cy="329256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756285" lvl="1" indent="-287655">
              <a:lnSpc>
                <a:spcPct val="100000"/>
              </a:lnSpc>
              <a:spcBef>
                <a:spcPts val="1405"/>
              </a:spcBef>
              <a:buClr>
                <a:srgbClr val="323299"/>
              </a:buClr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z="1800" b="1" spc="-5" dirty="0">
                <a:solidFill>
                  <a:srgbClr val="5E5E5E"/>
                </a:solidFill>
                <a:latin typeface="Arial"/>
                <a:cs typeface="Arial"/>
              </a:rPr>
              <a:t>Introduction</a:t>
            </a:r>
            <a:r>
              <a:rPr lang="en-IN" sz="1800" b="1" spc="-5" dirty="0">
                <a:solidFill>
                  <a:srgbClr val="5E5E5E"/>
                </a:solidFill>
                <a:latin typeface="Arial"/>
                <a:cs typeface="Arial"/>
              </a:rPr>
              <a:t> – Time management </a:t>
            </a:r>
            <a:r>
              <a:rPr lang="en-IN" sz="1800" b="1" spc="-5" dirty="0" err="1">
                <a:solidFill>
                  <a:srgbClr val="5E5E5E"/>
                </a:solidFill>
                <a:latin typeface="Arial"/>
                <a:cs typeface="Arial"/>
              </a:rPr>
              <a:t>infotypes</a:t>
            </a:r>
            <a:endParaRPr sz="1800" dirty="0">
              <a:latin typeface="Arial"/>
              <a:cs typeface="Arial"/>
            </a:endParaRPr>
          </a:p>
          <a:p>
            <a:pPr marL="756285" lvl="1" indent="-287655">
              <a:lnSpc>
                <a:spcPct val="100000"/>
              </a:lnSpc>
              <a:spcBef>
                <a:spcPts val="1080"/>
              </a:spcBef>
              <a:buClr>
                <a:srgbClr val="323299"/>
              </a:buClr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z="1800" b="1" spc="-5" dirty="0">
                <a:solidFill>
                  <a:srgbClr val="5E5E5E"/>
                </a:solidFill>
                <a:latin typeface="Arial"/>
                <a:cs typeface="Arial"/>
              </a:rPr>
              <a:t>Holiday</a:t>
            </a:r>
            <a:r>
              <a:rPr sz="1800" b="1" spc="-3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b="1" spc="-5" dirty="0">
                <a:solidFill>
                  <a:srgbClr val="5E5E5E"/>
                </a:solidFill>
                <a:latin typeface="Arial"/>
                <a:cs typeface="Arial"/>
              </a:rPr>
              <a:t>Calendar</a:t>
            </a:r>
            <a:endParaRPr lang="en-IN" sz="1800" b="1" spc="-5" dirty="0">
              <a:solidFill>
                <a:srgbClr val="5E5E5E"/>
              </a:solidFill>
              <a:latin typeface="Arial"/>
              <a:cs typeface="Arial"/>
            </a:endParaRPr>
          </a:p>
          <a:p>
            <a:pPr marL="756285" lvl="1" indent="-287655">
              <a:lnSpc>
                <a:spcPct val="100000"/>
              </a:lnSpc>
              <a:spcBef>
                <a:spcPts val="1080"/>
              </a:spcBef>
              <a:buClr>
                <a:srgbClr val="323299"/>
              </a:buClr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lang="en-IN" b="1" spc="-5" dirty="0">
                <a:solidFill>
                  <a:srgbClr val="5E5E5E"/>
                </a:solidFill>
                <a:latin typeface="Arial"/>
                <a:cs typeface="Arial"/>
              </a:rPr>
              <a:t>Time </a:t>
            </a:r>
            <a:r>
              <a:rPr lang="en-IN" b="1" spc="-5" dirty="0" err="1">
                <a:solidFill>
                  <a:srgbClr val="5E5E5E"/>
                </a:solidFill>
                <a:latin typeface="Arial"/>
                <a:cs typeface="Arial"/>
              </a:rPr>
              <a:t>Mgt</a:t>
            </a:r>
            <a:r>
              <a:rPr lang="en-IN" b="1" spc="-5" dirty="0">
                <a:solidFill>
                  <a:srgbClr val="5E5E5E"/>
                </a:solidFill>
                <a:latin typeface="Arial"/>
                <a:cs typeface="Arial"/>
              </a:rPr>
              <a:t> - Groupings</a:t>
            </a:r>
            <a:endParaRPr sz="1800" dirty="0">
              <a:latin typeface="Arial"/>
              <a:cs typeface="Arial"/>
            </a:endParaRPr>
          </a:p>
          <a:p>
            <a:pPr marL="756285" lvl="1" indent="-287655">
              <a:lnSpc>
                <a:spcPct val="100000"/>
              </a:lnSpc>
              <a:spcBef>
                <a:spcPts val="1080"/>
              </a:spcBef>
              <a:buClr>
                <a:srgbClr val="323299"/>
              </a:buClr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z="1800" b="1" dirty="0">
                <a:solidFill>
                  <a:srgbClr val="5E5E5E"/>
                </a:solidFill>
                <a:latin typeface="Arial"/>
                <a:cs typeface="Arial"/>
              </a:rPr>
              <a:t>Work</a:t>
            </a:r>
            <a:r>
              <a:rPr sz="1800" b="1" spc="-2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b="1" spc="-5" dirty="0">
                <a:solidFill>
                  <a:srgbClr val="5E5E5E"/>
                </a:solidFill>
                <a:latin typeface="Arial"/>
                <a:cs typeface="Arial"/>
              </a:rPr>
              <a:t>Schedule</a:t>
            </a:r>
            <a:endParaRPr lang="en-IN" sz="1800" b="1" spc="-5" dirty="0">
              <a:solidFill>
                <a:srgbClr val="5E5E5E"/>
              </a:solidFill>
              <a:latin typeface="Arial"/>
              <a:cs typeface="Arial"/>
            </a:endParaRPr>
          </a:p>
          <a:p>
            <a:pPr marL="756285" lvl="1" indent="-287655">
              <a:lnSpc>
                <a:spcPct val="100000"/>
              </a:lnSpc>
              <a:spcBef>
                <a:spcPts val="1080"/>
              </a:spcBef>
              <a:buClr>
                <a:srgbClr val="323299"/>
              </a:buClr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lang="en-IN" b="1" spc="-5" dirty="0">
                <a:solidFill>
                  <a:srgbClr val="5E5E5E"/>
                </a:solidFill>
                <a:latin typeface="Arial"/>
                <a:cs typeface="Arial"/>
              </a:rPr>
              <a:t>Time Recording Methods</a:t>
            </a:r>
            <a:endParaRPr sz="1800" dirty="0">
              <a:latin typeface="Arial"/>
              <a:cs typeface="Arial"/>
            </a:endParaRPr>
          </a:p>
          <a:p>
            <a:pPr marL="756285" lvl="1" indent="-287655">
              <a:lnSpc>
                <a:spcPct val="100000"/>
              </a:lnSpc>
              <a:spcBef>
                <a:spcPts val="1405"/>
              </a:spcBef>
              <a:buClr>
                <a:srgbClr val="323299"/>
              </a:buClr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z="1800" b="1" spc="-15" dirty="0">
                <a:solidFill>
                  <a:srgbClr val="5E5E5E"/>
                </a:solidFill>
                <a:latin typeface="Arial"/>
                <a:cs typeface="Arial"/>
              </a:rPr>
              <a:t>Absence</a:t>
            </a:r>
            <a:r>
              <a:rPr sz="1800" b="1" spc="4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b="1" spc="-5" dirty="0">
                <a:solidFill>
                  <a:srgbClr val="5E5E5E"/>
                </a:solidFill>
                <a:latin typeface="Arial"/>
                <a:cs typeface="Arial"/>
              </a:rPr>
              <a:t>Infotype</a:t>
            </a:r>
            <a:endParaRPr sz="1800" dirty="0">
              <a:latin typeface="Arial"/>
              <a:cs typeface="Arial"/>
            </a:endParaRPr>
          </a:p>
          <a:p>
            <a:pPr marL="756285" lvl="1" indent="-287655">
              <a:lnSpc>
                <a:spcPct val="100000"/>
              </a:lnSpc>
              <a:spcBef>
                <a:spcPts val="1080"/>
              </a:spcBef>
              <a:buClr>
                <a:srgbClr val="323299"/>
              </a:buClr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z="1800" b="1" spc="-15" dirty="0">
                <a:solidFill>
                  <a:srgbClr val="5E5E5E"/>
                </a:solidFill>
                <a:latin typeface="Arial"/>
                <a:cs typeface="Arial"/>
              </a:rPr>
              <a:t>Absence </a:t>
            </a:r>
            <a:r>
              <a:rPr sz="1800" b="1" dirty="0">
                <a:solidFill>
                  <a:srgbClr val="5E5E5E"/>
                </a:solidFill>
                <a:latin typeface="Arial"/>
                <a:cs typeface="Arial"/>
              </a:rPr>
              <a:t>Quota </a:t>
            </a:r>
            <a:r>
              <a:rPr sz="1800" b="1" spc="-5" dirty="0">
                <a:solidFill>
                  <a:srgbClr val="5E5E5E"/>
                </a:solidFill>
                <a:latin typeface="Arial"/>
                <a:cs typeface="Arial"/>
              </a:rPr>
              <a:t>Generation</a:t>
            </a:r>
            <a:r>
              <a:rPr sz="1800" b="1" spc="-1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b="1" spc="-5" dirty="0">
                <a:solidFill>
                  <a:srgbClr val="5E5E5E"/>
                </a:solidFill>
                <a:latin typeface="Arial"/>
                <a:cs typeface="Arial"/>
              </a:rPr>
              <a:t>Rules</a:t>
            </a:r>
            <a:endParaRPr sz="1800" dirty="0">
              <a:latin typeface="Arial"/>
              <a:cs typeface="Arial"/>
            </a:endParaRPr>
          </a:p>
          <a:p>
            <a:pPr marL="756285" lvl="1" indent="-287655">
              <a:lnSpc>
                <a:spcPct val="100000"/>
              </a:lnSpc>
              <a:spcBef>
                <a:spcPts val="1410"/>
              </a:spcBef>
              <a:buClr>
                <a:srgbClr val="323299"/>
              </a:buClr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z="1800" b="1" spc="-15" dirty="0">
                <a:solidFill>
                  <a:srgbClr val="5E5E5E"/>
                </a:solidFill>
                <a:latin typeface="Arial"/>
                <a:cs typeface="Arial"/>
              </a:rPr>
              <a:t>CATS</a:t>
            </a:r>
            <a:endParaRPr sz="18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51276" y="853367"/>
            <a:ext cx="573405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Time Management</a:t>
            </a:r>
            <a:r>
              <a:rPr spc="-9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Groupings</a:t>
            </a:r>
          </a:p>
        </p:txBody>
      </p:sp>
      <p:sp>
        <p:nvSpPr>
          <p:cNvPr id="4" name="object 4"/>
          <p:cNvSpPr/>
          <p:nvPr/>
        </p:nvSpPr>
        <p:spPr>
          <a:xfrm>
            <a:off x="304714" y="3200400"/>
            <a:ext cx="9143365" cy="3429000"/>
          </a:xfrm>
          <a:custGeom>
            <a:avLst/>
            <a:gdLst/>
            <a:ahLst/>
            <a:cxnLst/>
            <a:rect l="l" t="t" r="r" b="b"/>
            <a:pathLst>
              <a:path w="9143365" h="3429000">
                <a:moveTo>
                  <a:pt x="0" y="3428722"/>
                </a:moveTo>
                <a:lnTo>
                  <a:pt x="9143238" y="3428722"/>
                </a:lnTo>
                <a:lnTo>
                  <a:pt x="9143238" y="0"/>
                </a:lnTo>
                <a:lnTo>
                  <a:pt x="0" y="0"/>
                </a:lnTo>
                <a:lnTo>
                  <a:pt x="0" y="342872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998142" y="1697600"/>
            <a:ext cx="7714615" cy="3987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9539" indent="-117475">
              <a:lnSpc>
                <a:spcPct val="100000"/>
              </a:lnSpc>
              <a:spcBef>
                <a:spcPts val="100"/>
              </a:spcBef>
              <a:buClr>
                <a:srgbClr val="323299"/>
              </a:buClr>
              <a:buSzPct val="95000"/>
              <a:buFont typeface="Wingdings"/>
              <a:buChar char=""/>
              <a:tabLst>
                <a:tab pos="130175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SAP provides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the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following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groupings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in </a:t>
            </a:r>
            <a:r>
              <a:rPr sz="2000" spc="-20" dirty="0">
                <a:solidFill>
                  <a:srgbClr val="5E5E5E"/>
                </a:solidFill>
                <a:latin typeface="Arial"/>
                <a:cs typeface="Arial"/>
              </a:rPr>
              <a:t>Time</a:t>
            </a:r>
            <a:r>
              <a:rPr sz="2000" spc="-14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recording</a:t>
            </a:r>
            <a:endParaRPr sz="2000">
              <a:latin typeface="Arial"/>
              <a:cs typeface="Arial"/>
            </a:endParaRPr>
          </a:p>
          <a:p>
            <a:pPr marL="570230" lvl="1" indent="-292100">
              <a:lnSpc>
                <a:spcPct val="100000"/>
              </a:lnSpc>
              <a:spcBef>
                <a:spcPts val="1605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Personnel Subarea</a:t>
            </a:r>
            <a:r>
              <a:rPr sz="1800" spc="2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Groupings</a:t>
            </a:r>
            <a:endParaRPr sz="1800">
              <a:latin typeface="Arial"/>
              <a:cs typeface="Arial"/>
            </a:endParaRPr>
          </a:p>
          <a:p>
            <a:pPr marL="570230" lvl="1" indent="-292100">
              <a:lnSpc>
                <a:spcPct val="100000"/>
              </a:lnSpc>
              <a:spcBef>
                <a:spcPts val="1515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Employee Subgroup</a:t>
            </a:r>
            <a:r>
              <a:rPr sz="1800" spc="4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Groupings</a:t>
            </a:r>
            <a:endParaRPr sz="1800">
              <a:latin typeface="Arial"/>
              <a:cs typeface="Arial"/>
            </a:endParaRPr>
          </a:p>
          <a:p>
            <a:pPr lvl="1">
              <a:lnSpc>
                <a:spcPct val="100000"/>
              </a:lnSpc>
              <a:buClr>
                <a:srgbClr val="323299"/>
              </a:buClr>
              <a:buFont typeface="Wingdings"/>
              <a:buChar char=""/>
            </a:pPr>
            <a:endParaRPr sz="2000">
              <a:latin typeface="Arial"/>
              <a:cs typeface="Arial"/>
            </a:endParaRPr>
          </a:p>
          <a:p>
            <a:pPr lvl="1">
              <a:lnSpc>
                <a:spcPct val="100000"/>
              </a:lnSpc>
              <a:spcBef>
                <a:spcPts val="25"/>
              </a:spcBef>
              <a:buClr>
                <a:srgbClr val="323299"/>
              </a:buClr>
              <a:buFont typeface="Wingdings"/>
              <a:buChar char=""/>
            </a:pPr>
            <a:endParaRPr sz="2550">
              <a:latin typeface="Arial"/>
              <a:cs typeface="Arial"/>
            </a:endParaRPr>
          </a:p>
          <a:p>
            <a:pPr marL="129539" indent="-117475">
              <a:lnSpc>
                <a:spcPct val="100000"/>
              </a:lnSpc>
              <a:buClr>
                <a:srgbClr val="323299"/>
              </a:buClr>
              <a:buSzPct val="95000"/>
              <a:buFont typeface="Wingdings"/>
              <a:buChar char=""/>
              <a:tabLst>
                <a:tab pos="130175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Groupings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allow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the user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to, for</a:t>
            </a:r>
            <a:r>
              <a:rPr sz="2000" spc="-12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example</a:t>
            </a:r>
            <a:endParaRPr sz="2000">
              <a:latin typeface="Arial"/>
              <a:cs typeface="Arial"/>
            </a:endParaRPr>
          </a:p>
          <a:p>
            <a:pPr marL="570230" lvl="1" indent="-292100">
              <a:lnSpc>
                <a:spcPct val="100000"/>
              </a:lnSpc>
              <a:spcBef>
                <a:spcPts val="1605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Define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different </a:t>
            </a:r>
            <a:r>
              <a:rPr sz="1800" spc="-15" dirty="0">
                <a:solidFill>
                  <a:srgbClr val="5E5E5E"/>
                </a:solidFill>
                <a:latin typeface="Arial"/>
                <a:cs typeface="Arial"/>
              </a:rPr>
              <a:t>work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schedules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for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groups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of</a:t>
            </a:r>
            <a:r>
              <a:rPr sz="1800" spc="14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15" dirty="0">
                <a:solidFill>
                  <a:srgbClr val="5E5E5E"/>
                </a:solidFill>
                <a:latin typeface="Arial"/>
                <a:cs typeface="Arial"/>
              </a:rPr>
              <a:t>employee’s</a:t>
            </a:r>
            <a:endParaRPr sz="1800">
              <a:latin typeface="Arial"/>
              <a:cs typeface="Arial"/>
            </a:endParaRPr>
          </a:p>
          <a:p>
            <a:pPr marL="570230" lvl="1" indent="-292100">
              <a:lnSpc>
                <a:spcPct val="100000"/>
              </a:lnSpc>
              <a:spcBef>
                <a:spcPts val="1510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Assign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different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rules for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deviations </a:t>
            </a:r>
            <a:r>
              <a:rPr sz="1800" dirty="0">
                <a:solidFill>
                  <a:srgbClr val="5E5E5E"/>
                </a:solidFill>
                <a:latin typeface="Arial"/>
                <a:cs typeface="Arial"/>
              </a:rPr>
              <a:t>to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planned working</a:t>
            </a:r>
            <a:r>
              <a:rPr sz="1800" spc="12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time</a:t>
            </a:r>
            <a:endParaRPr sz="1800">
              <a:latin typeface="Arial"/>
              <a:cs typeface="Arial"/>
            </a:endParaRPr>
          </a:p>
          <a:p>
            <a:pPr marL="570230" marR="5080" lvl="1" indent="-291465">
              <a:lnSpc>
                <a:spcPct val="120000"/>
              </a:lnSpc>
              <a:spcBef>
                <a:spcPts val="1080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Permit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only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certain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attendance’s and absences </a:t>
            </a:r>
            <a:r>
              <a:rPr sz="1800" dirty="0">
                <a:solidFill>
                  <a:srgbClr val="5E5E5E"/>
                </a:solidFill>
                <a:latin typeface="Arial"/>
                <a:cs typeface="Arial"/>
              </a:rPr>
              <a:t>to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be posted for certain 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groups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of</a:t>
            </a:r>
            <a:r>
              <a:rPr sz="1800" spc="1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15" dirty="0">
                <a:solidFill>
                  <a:srgbClr val="5E5E5E"/>
                </a:solidFill>
                <a:latin typeface="Arial"/>
                <a:cs typeface="Arial"/>
              </a:rPr>
              <a:t>employee’s</a:t>
            </a:r>
            <a:endParaRPr sz="18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289052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Accrual</a:t>
            </a:r>
            <a:r>
              <a:rPr spc="-9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Period</a:t>
            </a:r>
          </a:p>
        </p:txBody>
      </p:sp>
      <p:sp>
        <p:nvSpPr>
          <p:cNvPr id="4" name="object 4"/>
          <p:cNvSpPr/>
          <p:nvPr/>
        </p:nvSpPr>
        <p:spPr>
          <a:xfrm>
            <a:off x="1004748" y="1661528"/>
            <a:ext cx="7559923" cy="262868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1226729" y="4567050"/>
            <a:ext cx="8061959" cy="2219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Arial"/>
                <a:cs typeface="Arial"/>
              </a:rPr>
              <a:t>In </a:t>
            </a:r>
            <a:r>
              <a:rPr sz="1800" spc="-5" dirty="0">
                <a:latin typeface="Arial"/>
                <a:cs typeface="Arial"/>
              </a:rPr>
              <a:t>the Accrual Period section, select </a:t>
            </a:r>
            <a:r>
              <a:rPr sz="1800" spc="-10" dirty="0">
                <a:latin typeface="Arial"/>
                <a:cs typeface="Arial"/>
              </a:rPr>
              <a:t>one </a:t>
            </a:r>
            <a:r>
              <a:rPr sz="1800" spc="-5" dirty="0">
                <a:latin typeface="Arial"/>
                <a:cs typeface="Arial"/>
              </a:rPr>
              <a:t>of the </a:t>
            </a:r>
            <a:r>
              <a:rPr sz="1800" spc="-10" dirty="0">
                <a:latin typeface="Arial"/>
                <a:cs typeface="Arial"/>
              </a:rPr>
              <a:t>following</a:t>
            </a:r>
            <a:r>
              <a:rPr sz="1800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options:</a:t>
            </a:r>
            <a:endParaRPr sz="1800">
              <a:latin typeface="Arial"/>
              <a:cs typeface="Arial"/>
            </a:endParaRPr>
          </a:p>
          <a:p>
            <a:pPr marL="12700" marR="313690">
              <a:lnSpc>
                <a:spcPct val="100000"/>
              </a:lnSpc>
              <a:buSzPct val="94444"/>
              <a:buChar char="•"/>
              <a:tabLst>
                <a:tab pos="93980" algn="l"/>
              </a:tabLst>
            </a:pPr>
            <a:r>
              <a:rPr sz="1800" spc="-10" dirty="0">
                <a:solidFill>
                  <a:srgbClr val="FF0000"/>
                </a:solidFill>
                <a:latin typeface="Arial"/>
                <a:cs typeface="Arial"/>
              </a:rPr>
              <a:t>Daily: </a:t>
            </a:r>
            <a:r>
              <a:rPr sz="1800" spc="-5" dirty="0">
                <a:solidFill>
                  <a:srgbClr val="FF0000"/>
                </a:solidFill>
                <a:latin typeface="Arial"/>
                <a:cs typeface="Arial"/>
              </a:rPr>
              <a:t>Entitlements are calculated </a:t>
            </a:r>
            <a:r>
              <a:rPr sz="1800" spc="-35" dirty="0">
                <a:solidFill>
                  <a:srgbClr val="FF0000"/>
                </a:solidFill>
                <a:latin typeface="Arial"/>
                <a:cs typeface="Arial"/>
              </a:rPr>
              <a:t>daily. </a:t>
            </a:r>
            <a:r>
              <a:rPr sz="1800" dirty="0">
                <a:solidFill>
                  <a:srgbClr val="FF0000"/>
                </a:solidFill>
                <a:latin typeface="Arial"/>
                <a:cs typeface="Arial"/>
              </a:rPr>
              <a:t>This </a:t>
            </a:r>
            <a:r>
              <a:rPr sz="1800" spc="-10" dirty="0">
                <a:solidFill>
                  <a:srgbClr val="FF0000"/>
                </a:solidFill>
                <a:latin typeface="Arial"/>
                <a:cs typeface="Arial"/>
              </a:rPr>
              <a:t>means </a:t>
            </a:r>
            <a:r>
              <a:rPr sz="1800" spc="-5" dirty="0">
                <a:solidFill>
                  <a:srgbClr val="FF0000"/>
                </a:solidFill>
                <a:latin typeface="Arial"/>
                <a:cs typeface="Arial"/>
              </a:rPr>
              <a:t>the base </a:t>
            </a:r>
            <a:r>
              <a:rPr sz="1800" spc="-10" dirty="0">
                <a:solidFill>
                  <a:srgbClr val="FF0000"/>
                </a:solidFill>
                <a:latin typeface="Arial"/>
                <a:cs typeface="Arial"/>
              </a:rPr>
              <a:t>entitlement </a:t>
            </a:r>
            <a:r>
              <a:rPr sz="1800" spc="-5" dirty="0">
                <a:solidFill>
                  <a:srgbClr val="FF0000"/>
                </a:solidFill>
                <a:latin typeface="Arial"/>
                <a:cs typeface="Arial"/>
              </a:rPr>
              <a:t>for  the </a:t>
            </a:r>
            <a:r>
              <a:rPr sz="1800" spc="-15" dirty="0">
                <a:solidFill>
                  <a:srgbClr val="FF0000"/>
                </a:solidFill>
                <a:latin typeface="Arial"/>
                <a:cs typeface="Arial"/>
              </a:rPr>
              <a:t>year </a:t>
            </a:r>
            <a:r>
              <a:rPr sz="1800" spc="-5" dirty="0">
                <a:solidFill>
                  <a:srgbClr val="FF0000"/>
                </a:solidFill>
                <a:latin typeface="Arial"/>
                <a:cs typeface="Arial"/>
              </a:rPr>
              <a:t>is </a:t>
            </a:r>
            <a:r>
              <a:rPr sz="1800" spc="-10" dirty="0">
                <a:solidFill>
                  <a:srgbClr val="FF0000"/>
                </a:solidFill>
                <a:latin typeface="Arial"/>
                <a:cs typeface="Arial"/>
              </a:rPr>
              <a:t>divided </a:t>
            </a:r>
            <a:r>
              <a:rPr sz="1800" spc="-5" dirty="0">
                <a:solidFill>
                  <a:srgbClr val="FF0000"/>
                </a:solidFill>
                <a:latin typeface="Arial"/>
                <a:cs typeface="Arial"/>
              </a:rPr>
              <a:t>by </a:t>
            </a:r>
            <a:r>
              <a:rPr sz="1800" spc="-10" dirty="0">
                <a:solidFill>
                  <a:srgbClr val="FF0000"/>
                </a:solidFill>
                <a:latin typeface="Arial"/>
                <a:cs typeface="Arial"/>
              </a:rPr>
              <a:t>365 </a:t>
            </a:r>
            <a:r>
              <a:rPr sz="1800" dirty="0">
                <a:solidFill>
                  <a:srgbClr val="FF0000"/>
                </a:solidFill>
                <a:latin typeface="Arial"/>
                <a:cs typeface="Arial"/>
              </a:rPr>
              <a:t>to </a:t>
            </a:r>
            <a:r>
              <a:rPr sz="1800" spc="-5" dirty="0">
                <a:solidFill>
                  <a:srgbClr val="FF0000"/>
                </a:solidFill>
                <a:latin typeface="Arial"/>
                <a:cs typeface="Arial"/>
              </a:rPr>
              <a:t>calculate the </a:t>
            </a:r>
            <a:r>
              <a:rPr sz="1800" spc="-10" dirty="0">
                <a:solidFill>
                  <a:srgbClr val="FF0000"/>
                </a:solidFill>
                <a:latin typeface="Arial"/>
                <a:cs typeface="Arial"/>
              </a:rPr>
              <a:t>daily</a:t>
            </a:r>
            <a:r>
              <a:rPr sz="1800" spc="114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800" spc="-5" dirty="0">
                <a:solidFill>
                  <a:srgbClr val="FF0000"/>
                </a:solidFill>
                <a:latin typeface="Arial"/>
                <a:cs typeface="Arial"/>
              </a:rPr>
              <a:t>accrual.</a:t>
            </a:r>
            <a:endParaRPr sz="1800">
              <a:latin typeface="Arial"/>
              <a:cs typeface="Arial"/>
            </a:endParaRPr>
          </a:p>
          <a:p>
            <a:pPr marL="12700" marR="297180">
              <a:lnSpc>
                <a:spcPct val="100000"/>
              </a:lnSpc>
              <a:buSzPct val="94444"/>
              <a:buChar char="•"/>
              <a:tabLst>
                <a:tab pos="93980" algn="l"/>
              </a:tabLst>
            </a:pPr>
            <a:r>
              <a:rPr sz="1800" spc="-5" dirty="0">
                <a:solidFill>
                  <a:srgbClr val="0A2164"/>
                </a:solidFill>
                <a:latin typeface="Arial"/>
                <a:cs typeface="Arial"/>
              </a:rPr>
              <a:t>Month: Period from first </a:t>
            </a:r>
            <a:r>
              <a:rPr sz="1800" spc="-10" dirty="0">
                <a:solidFill>
                  <a:srgbClr val="0A2164"/>
                </a:solidFill>
                <a:latin typeface="Arial"/>
                <a:cs typeface="Arial"/>
              </a:rPr>
              <a:t>day </a:t>
            </a:r>
            <a:r>
              <a:rPr sz="1800" dirty="0">
                <a:solidFill>
                  <a:srgbClr val="0A2164"/>
                </a:solidFill>
                <a:latin typeface="Arial"/>
                <a:cs typeface="Arial"/>
              </a:rPr>
              <a:t>to </a:t>
            </a:r>
            <a:r>
              <a:rPr sz="1800" spc="-5" dirty="0">
                <a:solidFill>
                  <a:srgbClr val="0A2164"/>
                </a:solidFill>
                <a:latin typeface="Arial"/>
                <a:cs typeface="Arial"/>
              </a:rPr>
              <a:t>last </a:t>
            </a:r>
            <a:r>
              <a:rPr sz="1800" spc="-10" dirty="0">
                <a:solidFill>
                  <a:srgbClr val="0A2164"/>
                </a:solidFill>
                <a:latin typeface="Arial"/>
                <a:cs typeface="Arial"/>
              </a:rPr>
              <a:t>day </a:t>
            </a:r>
            <a:r>
              <a:rPr sz="1800" spc="-5" dirty="0">
                <a:solidFill>
                  <a:srgbClr val="0A2164"/>
                </a:solidFill>
                <a:latin typeface="Arial"/>
                <a:cs typeface="Arial"/>
              </a:rPr>
              <a:t>of the month. </a:t>
            </a:r>
            <a:r>
              <a:rPr sz="1800" dirty="0">
                <a:solidFill>
                  <a:srgbClr val="0A2164"/>
                </a:solidFill>
                <a:latin typeface="Arial"/>
                <a:cs typeface="Arial"/>
              </a:rPr>
              <a:t>This </a:t>
            </a:r>
            <a:r>
              <a:rPr sz="1800" spc="-10" dirty="0">
                <a:solidFill>
                  <a:srgbClr val="0A2164"/>
                </a:solidFill>
                <a:latin typeface="Arial"/>
                <a:cs typeface="Arial"/>
              </a:rPr>
              <a:t>means </a:t>
            </a:r>
            <a:r>
              <a:rPr sz="1800" spc="-5" dirty="0">
                <a:solidFill>
                  <a:srgbClr val="0A2164"/>
                </a:solidFill>
                <a:latin typeface="Arial"/>
                <a:cs typeface="Arial"/>
              </a:rPr>
              <a:t>the base  </a:t>
            </a:r>
            <a:r>
              <a:rPr sz="1800" spc="-10" dirty="0">
                <a:solidFill>
                  <a:srgbClr val="0A2164"/>
                </a:solidFill>
                <a:latin typeface="Arial"/>
                <a:cs typeface="Arial"/>
              </a:rPr>
              <a:t>entitlement </a:t>
            </a:r>
            <a:r>
              <a:rPr sz="1800" spc="-5" dirty="0">
                <a:solidFill>
                  <a:srgbClr val="0A2164"/>
                </a:solidFill>
                <a:latin typeface="Arial"/>
                <a:cs typeface="Arial"/>
              </a:rPr>
              <a:t>for the </a:t>
            </a:r>
            <a:r>
              <a:rPr sz="1800" spc="-15" dirty="0">
                <a:solidFill>
                  <a:srgbClr val="0A2164"/>
                </a:solidFill>
                <a:latin typeface="Arial"/>
                <a:cs typeface="Arial"/>
              </a:rPr>
              <a:t>year </a:t>
            </a:r>
            <a:r>
              <a:rPr sz="1800" spc="-5" dirty="0">
                <a:solidFill>
                  <a:srgbClr val="0A2164"/>
                </a:solidFill>
                <a:latin typeface="Arial"/>
                <a:cs typeface="Arial"/>
              </a:rPr>
              <a:t>is </a:t>
            </a:r>
            <a:r>
              <a:rPr sz="1800" spc="-10" dirty="0">
                <a:solidFill>
                  <a:srgbClr val="0A2164"/>
                </a:solidFill>
                <a:latin typeface="Arial"/>
                <a:cs typeface="Arial"/>
              </a:rPr>
              <a:t>divided </a:t>
            </a:r>
            <a:r>
              <a:rPr sz="1800" spc="-5" dirty="0">
                <a:solidFill>
                  <a:srgbClr val="0A2164"/>
                </a:solidFill>
                <a:latin typeface="Arial"/>
                <a:cs typeface="Arial"/>
              </a:rPr>
              <a:t>by 12 </a:t>
            </a:r>
            <a:r>
              <a:rPr sz="1800" dirty="0">
                <a:solidFill>
                  <a:srgbClr val="0A2164"/>
                </a:solidFill>
                <a:latin typeface="Arial"/>
                <a:cs typeface="Arial"/>
              </a:rPr>
              <a:t>to </a:t>
            </a:r>
            <a:r>
              <a:rPr sz="1800" spc="-5" dirty="0">
                <a:solidFill>
                  <a:srgbClr val="0A2164"/>
                </a:solidFill>
                <a:latin typeface="Arial"/>
                <a:cs typeface="Arial"/>
              </a:rPr>
              <a:t>calculate the monthly accrual, </a:t>
            </a:r>
            <a:r>
              <a:rPr sz="1800" spc="-10" dirty="0">
                <a:solidFill>
                  <a:srgbClr val="0A2164"/>
                </a:solidFill>
                <a:latin typeface="Arial"/>
                <a:cs typeface="Arial"/>
              </a:rPr>
              <a:t>and  </a:t>
            </a:r>
            <a:r>
              <a:rPr sz="1800" spc="-5" dirty="0">
                <a:solidFill>
                  <a:srgbClr val="0A2164"/>
                </a:solidFill>
                <a:latin typeface="Arial"/>
                <a:cs typeface="Arial"/>
              </a:rPr>
              <a:t>the accrual takes place at the </a:t>
            </a:r>
            <a:r>
              <a:rPr sz="1800" i="1" spc="-10" dirty="0">
                <a:solidFill>
                  <a:srgbClr val="0A2164"/>
                </a:solidFill>
                <a:latin typeface="Arial"/>
                <a:cs typeface="Arial"/>
              </a:rPr>
              <a:t>end </a:t>
            </a:r>
            <a:r>
              <a:rPr sz="1800" i="1" spc="-5" dirty="0">
                <a:solidFill>
                  <a:srgbClr val="0A2164"/>
                </a:solidFill>
                <a:latin typeface="Arial"/>
                <a:cs typeface="Arial"/>
              </a:rPr>
              <a:t>of the</a:t>
            </a:r>
            <a:r>
              <a:rPr sz="1800" i="1" spc="35" dirty="0">
                <a:solidFill>
                  <a:srgbClr val="0A2164"/>
                </a:solidFill>
                <a:latin typeface="Arial"/>
                <a:cs typeface="Arial"/>
              </a:rPr>
              <a:t> </a:t>
            </a:r>
            <a:r>
              <a:rPr sz="1800" i="1" spc="-10" dirty="0">
                <a:solidFill>
                  <a:srgbClr val="0A2164"/>
                </a:solidFill>
                <a:latin typeface="Arial"/>
                <a:cs typeface="Arial"/>
              </a:rPr>
              <a:t>month.</a:t>
            </a:r>
            <a:endParaRPr sz="180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  <a:buSzPct val="94444"/>
              <a:buChar char="•"/>
              <a:tabLst>
                <a:tab pos="93980" algn="l"/>
              </a:tabLst>
            </a:pPr>
            <a:r>
              <a:rPr sz="1800" spc="-10" dirty="0">
                <a:latin typeface="Arial"/>
                <a:cs typeface="Arial"/>
              </a:rPr>
              <a:t>Calendar </a:t>
            </a:r>
            <a:r>
              <a:rPr sz="1800" spc="-40" dirty="0">
                <a:latin typeface="Arial"/>
                <a:cs typeface="Arial"/>
              </a:rPr>
              <a:t>Year: </a:t>
            </a:r>
            <a:r>
              <a:rPr sz="1800" spc="-5" dirty="0">
                <a:latin typeface="Arial"/>
                <a:cs typeface="Arial"/>
              </a:rPr>
              <a:t>Period of </a:t>
            </a:r>
            <a:r>
              <a:rPr sz="1800" spc="-10" dirty="0">
                <a:latin typeface="Arial"/>
                <a:cs typeface="Arial"/>
              </a:rPr>
              <a:t>one </a:t>
            </a:r>
            <a:r>
              <a:rPr sz="1800" spc="-30" dirty="0">
                <a:latin typeface="Arial"/>
                <a:cs typeface="Arial"/>
              </a:rPr>
              <a:t>year, </a:t>
            </a:r>
            <a:r>
              <a:rPr sz="1800" spc="-5" dirty="0">
                <a:latin typeface="Arial"/>
                <a:cs typeface="Arial"/>
              </a:rPr>
              <a:t>from </a:t>
            </a:r>
            <a:r>
              <a:rPr sz="1800" spc="-10" dirty="0">
                <a:latin typeface="Arial"/>
                <a:cs typeface="Arial"/>
              </a:rPr>
              <a:t>01/01/XX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10" dirty="0">
                <a:latin typeface="Arial"/>
                <a:cs typeface="Arial"/>
              </a:rPr>
              <a:t>12/31/XX. </a:t>
            </a:r>
            <a:r>
              <a:rPr sz="1800" dirty="0">
                <a:latin typeface="Arial"/>
                <a:cs typeface="Arial"/>
              </a:rPr>
              <a:t>This </a:t>
            </a:r>
            <a:r>
              <a:rPr sz="1800" spc="-10" dirty="0">
                <a:latin typeface="Arial"/>
                <a:cs typeface="Arial"/>
              </a:rPr>
              <a:t>means </a:t>
            </a:r>
            <a:r>
              <a:rPr sz="1800" spc="-5" dirty="0">
                <a:latin typeface="Arial"/>
                <a:cs typeface="Arial"/>
              </a:rPr>
              <a:t>the  base </a:t>
            </a:r>
            <a:r>
              <a:rPr sz="1800" spc="-10" dirty="0">
                <a:latin typeface="Arial"/>
                <a:cs typeface="Arial"/>
              </a:rPr>
              <a:t>entitlement </a:t>
            </a:r>
            <a:r>
              <a:rPr sz="1800" spc="-5" dirty="0">
                <a:latin typeface="Arial"/>
                <a:cs typeface="Arial"/>
              </a:rPr>
              <a:t>for the </a:t>
            </a:r>
            <a:r>
              <a:rPr sz="1800" spc="-15" dirty="0">
                <a:latin typeface="Arial"/>
                <a:cs typeface="Arial"/>
              </a:rPr>
              <a:t>year </a:t>
            </a:r>
            <a:r>
              <a:rPr sz="1800" spc="-5" dirty="0">
                <a:latin typeface="Arial"/>
                <a:cs typeface="Arial"/>
              </a:rPr>
              <a:t>is accrued at the </a:t>
            </a:r>
            <a:r>
              <a:rPr sz="1800" i="1" spc="-10" dirty="0">
                <a:latin typeface="Arial"/>
                <a:cs typeface="Arial"/>
              </a:rPr>
              <a:t>end </a:t>
            </a:r>
            <a:r>
              <a:rPr sz="1800" i="1" spc="-5" dirty="0">
                <a:latin typeface="Arial"/>
                <a:cs typeface="Arial"/>
              </a:rPr>
              <a:t>of the </a:t>
            </a:r>
            <a:r>
              <a:rPr sz="1800" i="1" spc="-10" dirty="0">
                <a:latin typeface="Arial"/>
                <a:cs typeface="Arial"/>
              </a:rPr>
              <a:t>calendar</a:t>
            </a:r>
            <a:r>
              <a:rPr sz="1800" i="1" spc="165" dirty="0">
                <a:latin typeface="Arial"/>
                <a:cs typeface="Arial"/>
              </a:rPr>
              <a:t> </a:t>
            </a:r>
            <a:r>
              <a:rPr sz="1800" i="1" spc="-20" dirty="0">
                <a:latin typeface="Arial"/>
                <a:cs typeface="Arial"/>
              </a:rPr>
              <a:t>year.</a:t>
            </a:r>
            <a:endParaRPr sz="18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426402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Accrual Period Cont</a:t>
            </a:r>
            <a:r>
              <a:rPr spc="-105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..</a:t>
            </a:r>
          </a:p>
        </p:txBody>
      </p:sp>
      <p:sp>
        <p:nvSpPr>
          <p:cNvPr id="4" name="object 4"/>
          <p:cNvSpPr/>
          <p:nvPr/>
        </p:nvSpPr>
        <p:spPr>
          <a:xfrm>
            <a:off x="463771" y="3892479"/>
            <a:ext cx="9052117" cy="3117921"/>
          </a:xfrm>
          <a:custGeom>
            <a:avLst/>
            <a:gdLst/>
            <a:ahLst/>
            <a:cxnLst/>
            <a:rect l="l" t="t" r="r" b="b"/>
            <a:pathLst>
              <a:path w="9143365" h="3429000">
                <a:moveTo>
                  <a:pt x="0" y="3428722"/>
                </a:moveTo>
                <a:lnTo>
                  <a:pt x="9143238" y="3428722"/>
                </a:lnTo>
                <a:lnTo>
                  <a:pt x="9143238" y="0"/>
                </a:lnTo>
                <a:lnTo>
                  <a:pt x="0" y="0"/>
                </a:lnTo>
                <a:lnTo>
                  <a:pt x="0" y="342872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542512" y="2322374"/>
            <a:ext cx="8888730" cy="44145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38100">
              <a:lnSpc>
                <a:spcPct val="100000"/>
              </a:lnSpc>
              <a:spcBef>
                <a:spcPts val="100"/>
              </a:spcBef>
              <a:buSzPct val="94444"/>
              <a:buChar char="•"/>
              <a:tabLst>
                <a:tab pos="93980" algn="l"/>
              </a:tabLst>
            </a:pPr>
            <a:r>
              <a:rPr sz="1800" spc="-20" dirty="0">
                <a:latin typeface="Arial"/>
                <a:cs typeface="Arial"/>
              </a:rPr>
              <a:t>Time </a:t>
            </a:r>
            <a:r>
              <a:rPr sz="1800" spc="-10" dirty="0">
                <a:latin typeface="Arial"/>
                <a:cs typeface="Arial"/>
              </a:rPr>
              <a:t>evaluation period: </a:t>
            </a:r>
            <a:r>
              <a:rPr sz="1800" spc="-5" dirty="0">
                <a:latin typeface="Arial"/>
                <a:cs typeface="Arial"/>
              </a:rPr>
              <a:t>Period </a:t>
            </a:r>
            <a:r>
              <a:rPr sz="1800" spc="-10" dirty="0">
                <a:latin typeface="Arial"/>
                <a:cs typeface="Arial"/>
              </a:rPr>
              <a:t>determined </a:t>
            </a:r>
            <a:r>
              <a:rPr sz="1800" spc="-5" dirty="0">
                <a:latin typeface="Arial"/>
                <a:cs typeface="Arial"/>
              </a:rPr>
              <a:t>in time </a:t>
            </a:r>
            <a:r>
              <a:rPr sz="1800" spc="-10" dirty="0">
                <a:latin typeface="Arial"/>
                <a:cs typeface="Arial"/>
              </a:rPr>
              <a:t>evaluation, defined </a:t>
            </a:r>
            <a:r>
              <a:rPr sz="1800" spc="-5" dirty="0">
                <a:latin typeface="Arial"/>
                <a:cs typeface="Arial"/>
              </a:rPr>
              <a:t>in the Determine  time </a:t>
            </a:r>
            <a:r>
              <a:rPr sz="1800" spc="-10" dirty="0">
                <a:latin typeface="Arial"/>
                <a:cs typeface="Arial"/>
              </a:rPr>
              <a:t>evaluation period </a:t>
            </a:r>
            <a:r>
              <a:rPr sz="1800" spc="-5" dirty="0">
                <a:latin typeface="Arial"/>
                <a:cs typeface="Arial"/>
              </a:rPr>
              <a:t>step in the </a:t>
            </a:r>
            <a:r>
              <a:rPr sz="1800" dirty="0">
                <a:latin typeface="Arial"/>
                <a:cs typeface="Arial"/>
              </a:rPr>
              <a:t>IMG. The </a:t>
            </a:r>
            <a:r>
              <a:rPr sz="1800" spc="-5" dirty="0">
                <a:latin typeface="Arial"/>
                <a:cs typeface="Arial"/>
              </a:rPr>
              <a:t>accrual takes place at the </a:t>
            </a:r>
            <a:r>
              <a:rPr sz="1800" i="1" spc="-10" dirty="0">
                <a:latin typeface="Arial"/>
                <a:cs typeface="Arial"/>
              </a:rPr>
              <a:t>end </a:t>
            </a:r>
            <a:r>
              <a:rPr sz="1800" i="1" spc="-5" dirty="0">
                <a:latin typeface="Arial"/>
                <a:cs typeface="Arial"/>
              </a:rPr>
              <a:t>of the time  </a:t>
            </a:r>
            <a:r>
              <a:rPr sz="1800" i="1" spc="-10" dirty="0">
                <a:latin typeface="Arial"/>
                <a:cs typeface="Arial"/>
              </a:rPr>
              <a:t>evaluation</a:t>
            </a:r>
            <a:r>
              <a:rPr sz="1800" i="1" dirty="0">
                <a:latin typeface="Arial"/>
                <a:cs typeface="Arial"/>
              </a:rPr>
              <a:t> </a:t>
            </a:r>
            <a:r>
              <a:rPr sz="1800" i="1" spc="-10" dirty="0">
                <a:latin typeface="Arial"/>
                <a:cs typeface="Arial"/>
              </a:rPr>
              <a:t>period.</a:t>
            </a:r>
            <a:endParaRPr sz="18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"/>
              </a:spcBef>
              <a:buFont typeface="Arial"/>
              <a:buChar char="•"/>
            </a:pPr>
            <a:endParaRPr sz="1850" dirty="0">
              <a:latin typeface="Arial"/>
              <a:cs typeface="Arial"/>
            </a:endParaRPr>
          </a:p>
          <a:p>
            <a:pPr marL="12700" marR="139700">
              <a:lnSpc>
                <a:spcPct val="100000"/>
              </a:lnSpc>
              <a:buSzPct val="94444"/>
              <a:buChar char="•"/>
              <a:tabLst>
                <a:tab pos="154940" algn="l"/>
              </a:tabLst>
            </a:pPr>
            <a:r>
              <a:rPr sz="1800" spc="-10" dirty="0">
                <a:latin typeface="Arial"/>
                <a:cs typeface="Arial"/>
              </a:rPr>
              <a:t>Payroll period: </a:t>
            </a:r>
            <a:r>
              <a:rPr sz="1800" spc="-5" dirty="0">
                <a:latin typeface="Arial"/>
                <a:cs typeface="Arial"/>
              </a:rPr>
              <a:t>Period </a:t>
            </a:r>
            <a:r>
              <a:rPr sz="1800" spc="-10" dirty="0">
                <a:latin typeface="Arial"/>
                <a:cs typeface="Arial"/>
              </a:rPr>
              <a:t>determined </a:t>
            </a:r>
            <a:r>
              <a:rPr sz="1800" spc="-5" dirty="0">
                <a:latin typeface="Arial"/>
                <a:cs typeface="Arial"/>
              </a:rPr>
              <a:t>in </a:t>
            </a:r>
            <a:r>
              <a:rPr sz="1800" spc="-10" dirty="0">
                <a:latin typeface="Arial"/>
                <a:cs typeface="Arial"/>
              </a:rPr>
              <a:t>payroll; </a:t>
            </a:r>
            <a:r>
              <a:rPr sz="1800" spc="-5" dirty="0">
                <a:latin typeface="Arial"/>
                <a:cs typeface="Arial"/>
              </a:rPr>
              <a:t>valid </a:t>
            </a:r>
            <a:r>
              <a:rPr sz="1800" spc="-10" dirty="0">
                <a:latin typeface="Arial"/>
                <a:cs typeface="Arial"/>
              </a:rPr>
              <a:t>payroll period </a:t>
            </a:r>
            <a:r>
              <a:rPr sz="1800" spc="-5" dirty="0">
                <a:latin typeface="Arial"/>
                <a:cs typeface="Arial"/>
              </a:rPr>
              <a:t>of the </a:t>
            </a:r>
            <a:r>
              <a:rPr sz="1800" spc="-10" dirty="0">
                <a:latin typeface="Arial"/>
                <a:cs typeface="Arial"/>
              </a:rPr>
              <a:t>day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5" dirty="0">
                <a:latin typeface="Arial"/>
                <a:cs typeface="Arial"/>
              </a:rPr>
              <a:t>be  </a:t>
            </a:r>
            <a:r>
              <a:rPr sz="1800" spc="-10" dirty="0">
                <a:latin typeface="Arial"/>
                <a:cs typeface="Arial"/>
              </a:rPr>
              <a:t>evaluated </a:t>
            </a:r>
            <a:r>
              <a:rPr sz="1800" spc="-5" dirty="0">
                <a:latin typeface="Arial"/>
                <a:cs typeface="Arial"/>
              </a:rPr>
              <a:t>of the </a:t>
            </a:r>
            <a:r>
              <a:rPr sz="1800" spc="-10" dirty="0">
                <a:latin typeface="Arial"/>
                <a:cs typeface="Arial"/>
              </a:rPr>
              <a:t>payroll </a:t>
            </a:r>
            <a:r>
              <a:rPr sz="1800" spc="-5" dirty="0">
                <a:latin typeface="Arial"/>
                <a:cs typeface="Arial"/>
              </a:rPr>
              <a:t>area of the </a:t>
            </a:r>
            <a:r>
              <a:rPr sz="1800" spc="-10" dirty="0">
                <a:latin typeface="Arial"/>
                <a:cs typeface="Arial"/>
              </a:rPr>
              <a:t>employee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5" dirty="0">
                <a:latin typeface="Arial"/>
                <a:cs typeface="Arial"/>
              </a:rPr>
              <a:t>be </a:t>
            </a:r>
            <a:r>
              <a:rPr sz="1800" spc="-10" dirty="0">
                <a:latin typeface="Arial"/>
                <a:cs typeface="Arial"/>
              </a:rPr>
              <a:t>evaluated.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accrual takes place  at the </a:t>
            </a:r>
            <a:r>
              <a:rPr sz="1800" i="1" spc="-10" dirty="0">
                <a:latin typeface="Arial"/>
                <a:cs typeface="Arial"/>
              </a:rPr>
              <a:t>end </a:t>
            </a:r>
            <a:r>
              <a:rPr sz="1800" i="1" spc="-5" dirty="0">
                <a:latin typeface="Arial"/>
                <a:cs typeface="Arial"/>
              </a:rPr>
              <a:t>of the payroll</a:t>
            </a:r>
            <a:r>
              <a:rPr sz="1800" i="1" spc="20" dirty="0">
                <a:latin typeface="Arial"/>
                <a:cs typeface="Arial"/>
              </a:rPr>
              <a:t> </a:t>
            </a:r>
            <a:r>
              <a:rPr sz="1800" i="1" spc="-10" dirty="0">
                <a:latin typeface="Arial"/>
                <a:cs typeface="Arial"/>
              </a:rPr>
              <a:t>period.</a:t>
            </a:r>
            <a:endParaRPr sz="18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"/>
              </a:spcBef>
              <a:buFont typeface="Arial"/>
              <a:buChar char="•"/>
            </a:pPr>
            <a:endParaRPr sz="1850" dirty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  <a:buSzPct val="94444"/>
              <a:buChar char="•"/>
              <a:tabLst>
                <a:tab pos="154940" algn="l"/>
              </a:tabLst>
            </a:pPr>
            <a:r>
              <a:rPr sz="1800" spc="-5" dirty="0">
                <a:latin typeface="Arial"/>
                <a:cs typeface="Arial"/>
              </a:rPr>
              <a:t>Other </a:t>
            </a:r>
            <a:r>
              <a:rPr sz="1800" spc="-10" dirty="0">
                <a:latin typeface="Arial"/>
                <a:cs typeface="Arial"/>
              </a:rPr>
              <a:t>period: </a:t>
            </a:r>
            <a:r>
              <a:rPr sz="1800" spc="-5" dirty="0">
                <a:latin typeface="Arial"/>
                <a:cs typeface="Arial"/>
              </a:rPr>
              <a:t>Individually specified </a:t>
            </a:r>
            <a:r>
              <a:rPr sz="1800" spc="-10" dirty="0">
                <a:latin typeface="Arial"/>
                <a:cs typeface="Arial"/>
              </a:rPr>
              <a:t>period; period </a:t>
            </a:r>
            <a:r>
              <a:rPr sz="1800" spc="-5" dirty="0">
                <a:latin typeface="Arial"/>
                <a:cs typeface="Arial"/>
              </a:rPr>
              <a:t>parameters are </a:t>
            </a:r>
            <a:r>
              <a:rPr sz="1800" spc="-10" dirty="0">
                <a:latin typeface="Arial"/>
                <a:cs typeface="Arial"/>
              </a:rPr>
              <a:t>defined </a:t>
            </a:r>
            <a:r>
              <a:rPr sz="1800" spc="-5" dirty="0">
                <a:latin typeface="Arial"/>
                <a:cs typeface="Arial"/>
              </a:rPr>
              <a:t>in the Define  </a:t>
            </a:r>
            <a:r>
              <a:rPr sz="1800" spc="-10" dirty="0">
                <a:latin typeface="Arial"/>
                <a:cs typeface="Arial"/>
              </a:rPr>
              <a:t>period </a:t>
            </a:r>
            <a:r>
              <a:rPr sz="1800" spc="-5" dirty="0">
                <a:latin typeface="Arial"/>
                <a:cs typeface="Arial"/>
              </a:rPr>
              <a:t>parameters step in the </a:t>
            </a:r>
            <a:r>
              <a:rPr sz="1800" dirty="0">
                <a:latin typeface="Arial"/>
                <a:cs typeface="Arial"/>
              </a:rPr>
              <a:t>IMG. This </a:t>
            </a:r>
            <a:r>
              <a:rPr sz="1800" spc="-10" dirty="0">
                <a:latin typeface="Arial"/>
                <a:cs typeface="Arial"/>
              </a:rPr>
              <a:t>period </a:t>
            </a:r>
            <a:r>
              <a:rPr sz="1800" spc="-5" dirty="0">
                <a:latin typeface="Arial"/>
                <a:cs typeface="Arial"/>
              </a:rPr>
              <a:t>is particularly useful if </a:t>
            </a:r>
            <a:r>
              <a:rPr sz="1800" spc="-15" dirty="0">
                <a:latin typeface="Arial"/>
                <a:cs typeface="Arial"/>
              </a:rPr>
              <a:t>you </a:t>
            </a:r>
            <a:r>
              <a:rPr sz="1800" spc="-5" dirty="0">
                <a:latin typeface="Arial"/>
                <a:cs typeface="Arial"/>
              </a:rPr>
              <a:t>have </a:t>
            </a:r>
            <a:r>
              <a:rPr sz="1800" spc="-10" dirty="0">
                <a:latin typeface="Arial"/>
                <a:cs typeface="Arial"/>
              </a:rPr>
              <a:t>irregular  </a:t>
            </a:r>
            <a:r>
              <a:rPr sz="1800" spc="-5" dirty="0">
                <a:latin typeface="Arial"/>
                <a:cs typeface="Arial"/>
              </a:rPr>
              <a:t>accrual </a:t>
            </a:r>
            <a:r>
              <a:rPr sz="1800" spc="-10" dirty="0">
                <a:latin typeface="Arial"/>
                <a:cs typeface="Arial"/>
              </a:rPr>
              <a:t>periods </a:t>
            </a:r>
            <a:r>
              <a:rPr sz="1800" spc="-5" dirty="0">
                <a:latin typeface="Arial"/>
                <a:cs typeface="Arial"/>
              </a:rPr>
              <a:t>that may </a:t>
            </a:r>
            <a:r>
              <a:rPr sz="1800" spc="-10" dirty="0">
                <a:latin typeface="Arial"/>
                <a:cs typeface="Arial"/>
              </a:rPr>
              <a:t>begin </a:t>
            </a:r>
            <a:r>
              <a:rPr sz="1800" spc="-5" dirty="0">
                <a:latin typeface="Arial"/>
                <a:cs typeface="Arial"/>
              </a:rPr>
              <a:t>in the middle of the month.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accrual takes place at  the </a:t>
            </a:r>
            <a:r>
              <a:rPr sz="1800" i="1" spc="-10" dirty="0">
                <a:latin typeface="Arial"/>
                <a:cs typeface="Arial"/>
              </a:rPr>
              <a:t>end </a:t>
            </a:r>
            <a:r>
              <a:rPr sz="1800" i="1" spc="-5" dirty="0">
                <a:latin typeface="Arial"/>
                <a:cs typeface="Arial"/>
              </a:rPr>
              <a:t>of the</a:t>
            </a:r>
            <a:r>
              <a:rPr sz="1800" i="1" dirty="0">
                <a:latin typeface="Arial"/>
                <a:cs typeface="Arial"/>
              </a:rPr>
              <a:t> </a:t>
            </a:r>
            <a:r>
              <a:rPr sz="1800" i="1" spc="-10" dirty="0">
                <a:latin typeface="Arial"/>
                <a:cs typeface="Arial"/>
              </a:rPr>
              <a:t>period.</a:t>
            </a:r>
            <a:endParaRPr sz="18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5"/>
              </a:spcBef>
              <a:buFont typeface="Arial"/>
              <a:buChar char="•"/>
            </a:pPr>
            <a:endParaRPr sz="1850" dirty="0">
              <a:latin typeface="Arial"/>
              <a:cs typeface="Arial"/>
            </a:endParaRPr>
          </a:p>
          <a:p>
            <a:pPr marL="12700" marR="226060">
              <a:lnSpc>
                <a:spcPct val="100000"/>
              </a:lnSpc>
              <a:buSzPct val="94444"/>
              <a:buChar char="•"/>
              <a:tabLst>
                <a:tab pos="154940" algn="l"/>
              </a:tabLst>
            </a:pPr>
            <a:r>
              <a:rPr sz="1800" spc="-5" dirty="0">
                <a:latin typeface="Arial"/>
                <a:cs typeface="Arial"/>
              </a:rPr>
              <a:t>Rel.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5" dirty="0">
                <a:latin typeface="Arial"/>
                <a:cs typeface="Arial"/>
              </a:rPr>
              <a:t>date </a:t>
            </a:r>
            <a:r>
              <a:rPr sz="1800" spc="-10" dirty="0">
                <a:latin typeface="Arial"/>
                <a:cs typeface="Arial"/>
              </a:rPr>
              <a:t>type: </a:t>
            </a:r>
            <a:r>
              <a:rPr sz="1800" spc="-5" dirty="0">
                <a:latin typeface="Arial"/>
                <a:cs typeface="Arial"/>
              </a:rPr>
              <a:t>Period is </a:t>
            </a:r>
            <a:r>
              <a:rPr sz="1800" spc="-10" dirty="0">
                <a:latin typeface="Arial"/>
                <a:cs typeface="Arial"/>
              </a:rPr>
              <a:t>defined </a:t>
            </a:r>
            <a:r>
              <a:rPr sz="1800" spc="-5" dirty="0">
                <a:latin typeface="Arial"/>
                <a:cs typeface="Arial"/>
              </a:rPr>
              <a:t>in relation </a:t>
            </a:r>
            <a:r>
              <a:rPr sz="1800" dirty="0">
                <a:latin typeface="Arial"/>
                <a:cs typeface="Arial"/>
              </a:rPr>
              <a:t>to a </a:t>
            </a:r>
            <a:r>
              <a:rPr sz="1800" spc="-5" dirty="0">
                <a:latin typeface="Arial"/>
                <a:cs typeface="Arial"/>
              </a:rPr>
              <a:t>date </a:t>
            </a:r>
            <a:r>
              <a:rPr sz="1800" spc="-10" dirty="0">
                <a:latin typeface="Arial"/>
                <a:cs typeface="Arial"/>
              </a:rPr>
              <a:t>type </a:t>
            </a:r>
            <a:r>
              <a:rPr sz="1800" spc="-5" dirty="0">
                <a:latin typeface="Arial"/>
                <a:cs typeface="Arial"/>
              </a:rPr>
              <a:t>from the Date  Specifications </a:t>
            </a:r>
            <a:r>
              <a:rPr sz="1800" spc="-10" dirty="0">
                <a:latin typeface="Arial"/>
                <a:cs typeface="Arial"/>
              </a:rPr>
              <a:t>Infotype (0041). </a:t>
            </a:r>
            <a:r>
              <a:rPr sz="1800" spc="-60" dirty="0">
                <a:latin typeface="Arial"/>
                <a:cs typeface="Arial"/>
              </a:rPr>
              <a:t>You </a:t>
            </a:r>
            <a:r>
              <a:rPr sz="1800" spc="-5" dirty="0">
                <a:latin typeface="Arial"/>
                <a:cs typeface="Arial"/>
              </a:rPr>
              <a:t>determine the accrual </a:t>
            </a:r>
            <a:r>
              <a:rPr sz="1800" spc="-10" dirty="0">
                <a:latin typeface="Arial"/>
                <a:cs typeface="Arial"/>
              </a:rPr>
              <a:t>period </a:t>
            </a:r>
            <a:r>
              <a:rPr sz="1800" spc="-5" dirty="0">
                <a:latin typeface="Arial"/>
                <a:cs typeface="Arial"/>
              </a:rPr>
              <a:t>using the </a:t>
            </a:r>
            <a:r>
              <a:rPr sz="1800" spc="-10" dirty="0">
                <a:latin typeface="Arial"/>
                <a:cs typeface="Arial"/>
              </a:rPr>
              <a:t>length </a:t>
            </a:r>
            <a:r>
              <a:rPr sz="1800" spc="-5" dirty="0">
                <a:latin typeface="Arial"/>
                <a:cs typeface="Arial"/>
              </a:rPr>
              <a:t>field  (for </a:t>
            </a:r>
            <a:r>
              <a:rPr sz="1800" spc="-10" dirty="0">
                <a:latin typeface="Arial"/>
                <a:cs typeface="Arial"/>
              </a:rPr>
              <a:t>example, </a:t>
            </a:r>
            <a:r>
              <a:rPr sz="1800" spc="-5" dirty="0">
                <a:latin typeface="Arial"/>
                <a:cs typeface="Arial"/>
              </a:rPr>
              <a:t>the date the </a:t>
            </a:r>
            <a:r>
              <a:rPr sz="1800" spc="-10" dirty="0">
                <a:latin typeface="Arial"/>
                <a:cs typeface="Arial"/>
              </a:rPr>
              <a:t>employee joined </a:t>
            </a:r>
            <a:r>
              <a:rPr sz="1800" spc="-5" dirty="0">
                <a:latin typeface="Arial"/>
                <a:cs typeface="Arial"/>
              </a:rPr>
              <a:t>the </a:t>
            </a:r>
            <a:r>
              <a:rPr sz="1800" spc="-25" dirty="0">
                <a:latin typeface="Arial"/>
                <a:cs typeface="Arial"/>
              </a:rPr>
              <a:t>company, </a:t>
            </a:r>
            <a:r>
              <a:rPr sz="1800" spc="-15" dirty="0">
                <a:latin typeface="Arial"/>
                <a:cs typeface="Arial"/>
              </a:rPr>
              <a:t>with </a:t>
            </a:r>
            <a:r>
              <a:rPr sz="1800" dirty="0">
                <a:latin typeface="Arial"/>
                <a:cs typeface="Arial"/>
              </a:rPr>
              <a:t>a </a:t>
            </a:r>
            <a:r>
              <a:rPr sz="1800" spc="-10" dirty="0">
                <a:latin typeface="Arial"/>
                <a:cs typeface="Arial"/>
              </a:rPr>
              <a:t>period </a:t>
            </a:r>
            <a:r>
              <a:rPr sz="1800" spc="-5" dirty="0">
                <a:latin typeface="Arial"/>
                <a:cs typeface="Arial"/>
              </a:rPr>
              <a:t>of </a:t>
            </a:r>
            <a:r>
              <a:rPr sz="1800" spc="-10" dirty="0">
                <a:latin typeface="Arial"/>
                <a:cs typeface="Arial"/>
              </a:rPr>
              <a:t>one</a:t>
            </a:r>
            <a:r>
              <a:rPr sz="1800" spc="280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month.)</a:t>
            </a:r>
            <a:endParaRPr sz="18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331851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Base</a:t>
            </a:r>
            <a:r>
              <a:rPr spc="-10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Entitlement</a:t>
            </a:r>
          </a:p>
        </p:txBody>
      </p:sp>
      <p:grpSp>
        <p:nvGrpSpPr>
          <p:cNvPr id="3" name="object 3"/>
          <p:cNvGrpSpPr/>
          <p:nvPr/>
        </p:nvGrpSpPr>
        <p:grpSpPr>
          <a:xfrm>
            <a:off x="859981" y="2040974"/>
            <a:ext cx="8280714" cy="4876400"/>
            <a:chOff x="859981" y="2040974"/>
            <a:chExt cx="8280714" cy="4876400"/>
          </a:xfrm>
        </p:grpSpPr>
        <p:sp>
          <p:nvSpPr>
            <p:cNvPr id="4" name="object 4"/>
            <p:cNvSpPr/>
            <p:nvPr/>
          </p:nvSpPr>
          <p:spPr>
            <a:xfrm>
              <a:off x="859981" y="2040974"/>
              <a:ext cx="8280714" cy="1851504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859981" y="3892478"/>
              <a:ext cx="8280714" cy="3024896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446786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Base Entitlement</a:t>
            </a:r>
            <a:r>
              <a:rPr spc="-10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Cont.</a:t>
            </a:r>
          </a:p>
        </p:txBody>
      </p:sp>
      <p:grpSp>
        <p:nvGrpSpPr>
          <p:cNvPr id="3" name="object 3"/>
          <p:cNvGrpSpPr/>
          <p:nvPr/>
        </p:nvGrpSpPr>
        <p:grpSpPr>
          <a:xfrm>
            <a:off x="1292760" y="1876394"/>
            <a:ext cx="7415174" cy="5133938"/>
            <a:chOff x="1292760" y="1876394"/>
            <a:chExt cx="7415174" cy="5133938"/>
          </a:xfrm>
        </p:grpSpPr>
        <p:sp>
          <p:nvSpPr>
            <p:cNvPr id="4" name="object 4"/>
            <p:cNvSpPr/>
            <p:nvPr/>
          </p:nvSpPr>
          <p:spPr>
            <a:xfrm>
              <a:off x="1292760" y="1876394"/>
              <a:ext cx="7415174" cy="2016084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292760" y="3892479"/>
              <a:ext cx="7415174" cy="3117853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446786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Base Entitlement</a:t>
            </a:r>
            <a:r>
              <a:rPr spc="-10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Cont.</a:t>
            </a:r>
          </a:p>
        </p:txBody>
      </p:sp>
      <p:sp>
        <p:nvSpPr>
          <p:cNvPr id="4" name="object 4"/>
          <p:cNvSpPr/>
          <p:nvPr/>
        </p:nvSpPr>
        <p:spPr>
          <a:xfrm>
            <a:off x="463771" y="3892479"/>
            <a:ext cx="8985029" cy="3064011"/>
          </a:xfrm>
          <a:custGeom>
            <a:avLst/>
            <a:gdLst/>
            <a:ahLst/>
            <a:cxnLst/>
            <a:rect l="l" t="t" r="r" b="b"/>
            <a:pathLst>
              <a:path w="9143365" h="3429000">
                <a:moveTo>
                  <a:pt x="0" y="3428722"/>
                </a:moveTo>
                <a:lnTo>
                  <a:pt x="9143238" y="3428722"/>
                </a:lnTo>
                <a:lnTo>
                  <a:pt x="9143238" y="0"/>
                </a:lnTo>
                <a:lnTo>
                  <a:pt x="0" y="0"/>
                </a:lnTo>
                <a:lnTo>
                  <a:pt x="0" y="342872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4841345" y="6956490"/>
            <a:ext cx="38798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spc="-5" dirty="0">
                <a:solidFill>
                  <a:srgbClr val="4D84C4"/>
                </a:solidFill>
                <a:latin typeface="Arial"/>
                <a:cs typeface="Arial"/>
              </a:rPr>
              <a:t>- </a:t>
            </a:r>
            <a:r>
              <a:rPr sz="1000" spc="-10" dirty="0">
                <a:solidFill>
                  <a:srgbClr val="4D84C4"/>
                </a:solidFill>
                <a:latin typeface="Arial"/>
                <a:cs typeface="Arial"/>
              </a:rPr>
              <a:t>138</a:t>
            </a:r>
            <a:r>
              <a:rPr sz="1000" spc="-95" dirty="0">
                <a:solidFill>
                  <a:srgbClr val="4D84C4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4D84C4"/>
                </a:solidFill>
                <a:latin typeface="Arial"/>
                <a:cs typeface="Arial"/>
              </a:rPr>
              <a:t>-</a:t>
            </a:r>
            <a:endParaRPr sz="10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793948" y="1472058"/>
            <a:ext cx="8536305" cy="559127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just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Arial"/>
                <a:cs typeface="Arial"/>
              </a:rPr>
              <a:t>If </a:t>
            </a:r>
            <a:r>
              <a:rPr sz="1800" spc="-5" dirty="0">
                <a:latin typeface="Arial"/>
                <a:cs typeface="Arial"/>
              </a:rPr>
              <a:t>the </a:t>
            </a:r>
            <a:r>
              <a:rPr sz="1800" spc="-10" dirty="0">
                <a:latin typeface="Arial"/>
                <a:cs typeface="Arial"/>
              </a:rPr>
              <a:t>quota </a:t>
            </a:r>
            <a:r>
              <a:rPr sz="1800" spc="-5" dirty="0">
                <a:latin typeface="Arial"/>
                <a:cs typeface="Arial"/>
              </a:rPr>
              <a:t>is </a:t>
            </a:r>
            <a:r>
              <a:rPr sz="1800" spc="-10" dirty="0">
                <a:latin typeface="Arial"/>
                <a:cs typeface="Arial"/>
              </a:rPr>
              <a:t>based </a:t>
            </a:r>
            <a:r>
              <a:rPr sz="1800" spc="-5" dirty="0">
                <a:latin typeface="Arial"/>
                <a:cs typeface="Arial"/>
              </a:rPr>
              <a:t>on </a:t>
            </a:r>
            <a:r>
              <a:rPr sz="1800" spc="-20" dirty="0">
                <a:latin typeface="Arial"/>
                <a:cs typeface="Arial"/>
              </a:rPr>
              <a:t>seniority, </a:t>
            </a:r>
            <a:r>
              <a:rPr sz="1800" spc="-15" dirty="0">
                <a:latin typeface="Arial"/>
                <a:cs typeface="Arial"/>
              </a:rPr>
              <a:t>you </a:t>
            </a:r>
            <a:r>
              <a:rPr sz="1800" spc="-5" dirty="0">
                <a:latin typeface="Arial"/>
                <a:cs typeface="Arial"/>
              </a:rPr>
              <a:t>must choose </a:t>
            </a:r>
            <a:r>
              <a:rPr sz="1800" spc="-10" dirty="0">
                <a:latin typeface="Arial"/>
                <a:cs typeface="Arial"/>
              </a:rPr>
              <a:t>one </a:t>
            </a:r>
            <a:r>
              <a:rPr sz="1800" spc="-5" dirty="0">
                <a:latin typeface="Arial"/>
                <a:cs typeface="Arial"/>
              </a:rPr>
              <a:t>of the </a:t>
            </a:r>
            <a:r>
              <a:rPr sz="1800" spc="-10" dirty="0">
                <a:latin typeface="Arial"/>
                <a:cs typeface="Arial"/>
              </a:rPr>
              <a:t>following</a:t>
            </a:r>
            <a:r>
              <a:rPr sz="1800" spc="229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options:</a:t>
            </a:r>
            <a:endParaRPr sz="18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850" dirty="0">
              <a:latin typeface="Arial"/>
              <a:cs typeface="Arial"/>
            </a:endParaRPr>
          </a:p>
          <a:p>
            <a:pPr marL="12700" marR="5080" algn="just">
              <a:lnSpc>
                <a:spcPct val="100000"/>
              </a:lnSpc>
            </a:pPr>
            <a:r>
              <a:rPr sz="1800" spc="-5" dirty="0">
                <a:solidFill>
                  <a:srgbClr val="0A2164"/>
                </a:solidFill>
                <a:latin typeface="Arial"/>
                <a:cs typeface="Arial"/>
              </a:rPr>
              <a:t>For </a:t>
            </a:r>
            <a:r>
              <a:rPr sz="1800" spc="-10" dirty="0">
                <a:solidFill>
                  <a:srgbClr val="0A2164"/>
                </a:solidFill>
                <a:latin typeface="Arial"/>
                <a:cs typeface="Arial"/>
              </a:rPr>
              <a:t>exact </a:t>
            </a:r>
            <a:r>
              <a:rPr sz="1800" spc="-15" dirty="0">
                <a:solidFill>
                  <a:srgbClr val="0A2164"/>
                </a:solidFill>
                <a:latin typeface="Arial"/>
                <a:cs typeface="Arial"/>
              </a:rPr>
              <a:t>day: </a:t>
            </a:r>
            <a:r>
              <a:rPr sz="1800" dirty="0">
                <a:solidFill>
                  <a:srgbClr val="0A2164"/>
                </a:solidFill>
                <a:latin typeface="Arial"/>
                <a:cs typeface="Arial"/>
              </a:rPr>
              <a:t>This </a:t>
            </a:r>
            <a:r>
              <a:rPr sz="1800" spc="-10" dirty="0">
                <a:solidFill>
                  <a:srgbClr val="0A2164"/>
                </a:solidFill>
                <a:latin typeface="Arial"/>
                <a:cs typeface="Arial"/>
              </a:rPr>
              <a:t>option </a:t>
            </a:r>
            <a:r>
              <a:rPr sz="1800" spc="-15" dirty="0">
                <a:solidFill>
                  <a:srgbClr val="0A2164"/>
                </a:solidFill>
                <a:latin typeface="Arial"/>
                <a:cs typeface="Arial"/>
              </a:rPr>
              <a:t>will </a:t>
            </a:r>
            <a:r>
              <a:rPr sz="1800" spc="-5" dirty="0">
                <a:solidFill>
                  <a:srgbClr val="0A2164"/>
                </a:solidFill>
                <a:latin typeface="Arial"/>
                <a:cs typeface="Arial"/>
              </a:rPr>
              <a:t>use the </a:t>
            </a:r>
            <a:r>
              <a:rPr sz="1800" spc="-15" dirty="0">
                <a:solidFill>
                  <a:srgbClr val="0A2164"/>
                </a:solidFill>
                <a:latin typeface="Arial"/>
                <a:cs typeface="Arial"/>
              </a:rPr>
              <a:t>employee’s </a:t>
            </a:r>
            <a:r>
              <a:rPr sz="1800" spc="-5" dirty="0">
                <a:solidFill>
                  <a:srgbClr val="0A2164"/>
                </a:solidFill>
                <a:latin typeface="Arial"/>
                <a:cs typeface="Arial"/>
              </a:rPr>
              <a:t>entry date from IT0000 as the key  date for </a:t>
            </a:r>
            <a:r>
              <a:rPr sz="1800" spc="-10" dirty="0">
                <a:solidFill>
                  <a:srgbClr val="0A2164"/>
                </a:solidFill>
                <a:latin typeface="Arial"/>
                <a:cs typeface="Arial"/>
              </a:rPr>
              <a:t>determining </a:t>
            </a:r>
            <a:r>
              <a:rPr sz="1800" spc="-20" dirty="0">
                <a:solidFill>
                  <a:srgbClr val="0A2164"/>
                </a:solidFill>
                <a:latin typeface="Arial"/>
                <a:cs typeface="Arial"/>
              </a:rPr>
              <a:t>seniority. </a:t>
            </a:r>
            <a:r>
              <a:rPr sz="1800" dirty="0">
                <a:solidFill>
                  <a:srgbClr val="0A2164"/>
                </a:solidFill>
                <a:latin typeface="Arial"/>
                <a:cs typeface="Arial"/>
              </a:rPr>
              <a:t>This </a:t>
            </a:r>
            <a:r>
              <a:rPr sz="1800" spc="-10" dirty="0">
                <a:solidFill>
                  <a:srgbClr val="0A2164"/>
                </a:solidFill>
                <a:latin typeface="Arial"/>
                <a:cs typeface="Arial"/>
              </a:rPr>
              <a:t>means any change </a:t>
            </a:r>
            <a:r>
              <a:rPr sz="1800" spc="-5" dirty="0">
                <a:solidFill>
                  <a:srgbClr val="0A2164"/>
                </a:solidFill>
                <a:latin typeface="Arial"/>
                <a:cs typeface="Arial"/>
              </a:rPr>
              <a:t>in the </a:t>
            </a:r>
            <a:r>
              <a:rPr sz="1800" spc="-15" dirty="0">
                <a:solidFill>
                  <a:srgbClr val="0A2164"/>
                </a:solidFill>
                <a:latin typeface="Arial"/>
                <a:cs typeface="Arial"/>
              </a:rPr>
              <a:t>employee’s </a:t>
            </a:r>
            <a:r>
              <a:rPr sz="1800" spc="-5" dirty="0">
                <a:solidFill>
                  <a:srgbClr val="0A2164"/>
                </a:solidFill>
                <a:latin typeface="Arial"/>
                <a:cs typeface="Arial"/>
              </a:rPr>
              <a:t>seniority is  taken into </a:t>
            </a:r>
            <a:r>
              <a:rPr sz="1800" spc="-10" dirty="0">
                <a:solidFill>
                  <a:srgbClr val="0A2164"/>
                </a:solidFill>
                <a:latin typeface="Arial"/>
                <a:cs typeface="Arial"/>
              </a:rPr>
              <a:t>account within </a:t>
            </a:r>
            <a:r>
              <a:rPr sz="1800" spc="-5" dirty="0">
                <a:solidFill>
                  <a:srgbClr val="0A2164"/>
                </a:solidFill>
                <a:latin typeface="Arial"/>
                <a:cs typeface="Arial"/>
              </a:rPr>
              <a:t>the accrual</a:t>
            </a:r>
            <a:r>
              <a:rPr sz="1800" spc="65" dirty="0">
                <a:solidFill>
                  <a:srgbClr val="0A2164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A2164"/>
                </a:solidFill>
                <a:latin typeface="Arial"/>
                <a:cs typeface="Arial"/>
              </a:rPr>
              <a:t>period.</a:t>
            </a:r>
            <a:endParaRPr sz="18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850" dirty="0">
              <a:latin typeface="Arial"/>
              <a:cs typeface="Arial"/>
            </a:endParaRPr>
          </a:p>
          <a:p>
            <a:pPr marL="12700" marR="473075" algn="just">
              <a:lnSpc>
                <a:spcPct val="100000"/>
              </a:lnSpc>
              <a:spcBef>
                <a:spcPts val="5"/>
              </a:spcBef>
            </a:pPr>
            <a:r>
              <a:rPr sz="1800" spc="-5" dirty="0">
                <a:solidFill>
                  <a:srgbClr val="C00000"/>
                </a:solidFill>
                <a:latin typeface="Arial"/>
                <a:cs typeface="Arial"/>
              </a:rPr>
              <a:t>Start/End of accrual </a:t>
            </a:r>
            <a:r>
              <a:rPr sz="1800" spc="-10" dirty="0">
                <a:solidFill>
                  <a:srgbClr val="C00000"/>
                </a:solidFill>
                <a:latin typeface="Arial"/>
                <a:cs typeface="Arial"/>
              </a:rPr>
              <a:t>period: </a:t>
            </a:r>
            <a:r>
              <a:rPr sz="1800" dirty="0">
                <a:solidFill>
                  <a:srgbClr val="C00000"/>
                </a:solidFill>
                <a:latin typeface="Arial"/>
                <a:cs typeface="Arial"/>
              </a:rPr>
              <a:t>This </a:t>
            </a:r>
            <a:r>
              <a:rPr sz="1800" spc="-10" dirty="0">
                <a:solidFill>
                  <a:srgbClr val="C00000"/>
                </a:solidFill>
                <a:latin typeface="Arial"/>
                <a:cs typeface="Arial"/>
              </a:rPr>
              <a:t>option </a:t>
            </a:r>
            <a:r>
              <a:rPr sz="1800" spc="-15" dirty="0">
                <a:solidFill>
                  <a:srgbClr val="C00000"/>
                </a:solidFill>
                <a:latin typeface="Arial"/>
                <a:cs typeface="Arial"/>
              </a:rPr>
              <a:t>will </a:t>
            </a:r>
            <a:r>
              <a:rPr sz="1800" spc="-5" dirty="0">
                <a:solidFill>
                  <a:srgbClr val="C00000"/>
                </a:solidFill>
                <a:latin typeface="Arial"/>
                <a:cs typeface="Arial"/>
              </a:rPr>
              <a:t>use the </a:t>
            </a:r>
            <a:r>
              <a:rPr sz="1800" spc="-15" dirty="0">
                <a:solidFill>
                  <a:srgbClr val="C00000"/>
                </a:solidFill>
                <a:latin typeface="Arial"/>
                <a:cs typeface="Arial"/>
              </a:rPr>
              <a:t>employee’s </a:t>
            </a:r>
            <a:r>
              <a:rPr sz="1800" spc="-5" dirty="0">
                <a:solidFill>
                  <a:srgbClr val="C00000"/>
                </a:solidFill>
                <a:latin typeface="Arial"/>
                <a:cs typeface="Arial"/>
              </a:rPr>
              <a:t>entry date from  IT0000 as the key date for </a:t>
            </a:r>
            <a:r>
              <a:rPr sz="1800" spc="-10" dirty="0">
                <a:solidFill>
                  <a:srgbClr val="C00000"/>
                </a:solidFill>
                <a:latin typeface="Arial"/>
                <a:cs typeface="Arial"/>
              </a:rPr>
              <a:t>determining </a:t>
            </a:r>
            <a:r>
              <a:rPr sz="1800" spc="-20" dirty="0">
                <a:solidFill>
                  <a:srgbClr val="C00000"/>
                </a:solidFill>
                <a:latin typeface="Arial"/>
                <a:cs typeface="Arial"/>
              </a:rPr>
              <a:t>seniority. </a:t>
            </a:r>
            <a:r>
              <a:rPr sz="1800" dirty="0">
                <a:solidFill>
                  <a:srgbClr val="C00000"/>
                </a:solidFill>
                <a:latin typeface="Arial"/>
                <a:cs typeface="Arial"/>
              </a:rPr>
              <a:t>This </a:t>
            </a:r>
            <a:r>
              <a:rPr sz="1800" spc="-10" dirty="0">
                <a:solidFill>
                  <a:srgbClr val="C00000"/>
                </a:solidFill>
                <a:latin typeface="Arial"/>
                <a:cs typeface="Arial"/>
              </a:rPr>
              <a:t>means any change </a:t>
            </a:r>
            <a:r>
              <a:rPr sz="1800" spc="-5" dirty="0">
                <a:solidFill>
                  <a:srgbClr val="C00000"/>
                </a:solidFill>
                <a:latin typeface="Arial"/>
                <a:cs typeface="Arial"/>
              </a:rPr>
              <a:t>in the  </a:t>
            </a:r>
            <a:r>
              <a:rPr sz="1800" spc="-15" dirty="0">
                <a:solidFill>
                  <a:srgbClr val="C00000"/>
                </a:solidFill>
                <a:latin typeface="Arial"/>
                <a:cs typeface="Arial"/>
              </a:rPr>
              <a:t>employee’s </a:t>
            </a:r>
            <a:r>
              <a:rPr sz="1800" spc="-5" dirty="0">
                <a:solidFill>
                  <a:srgbClr val="C00000"/>
                </a:solidFill>
                <a:latin typeface="Arial"/>
                <a:cs typeface="Arial"/>
              </a:rPr>
              <a:t>seniority is taken into </a:t>
            </a:r>
            <a:r>
              <a:rPr sz="1800" spc="-10" dirty="0">
                <a:solidFill>
                  <a:srgbClr val="C00000"/>
                </a:solidFill>
                <a:latin typeface="Arial"/>
                <a:cs typeface="Arial"/>
              </a:rPr>
              <a:t>account </a:t>
            </a:r>
            <a:r>
              <a:rPr sz="1800" spc="-5" dirty="0">
                <a:solidFill>
                  <a:srgbClr val="C00000"/>
                </a:solidFill>
                <a:latin typeface="Arial"/>
                <a:cs typeface="Arial"/>
              </a:rPr>
              <a:t>at the start of the </a:t>
            </a:r>
            <a:r>
              <a:rPr sz="1800" spc="-10" dirty="0">
                <a:solidFill>
                  <a:srgbClr val="C00000"/>
                </a:solidFill>
                <a:latin typeface="Arial"/>
                <a:cs typeface="Arial"/>
              </a:rPr>
              <a:t>next </a:t>
            </a:r>
            <a:r>
              <a:rPr sz="1800" spc="-5" dirty="0">
                <a:solidFill>
                  <a:srgbClr val="C00000"/>
                </a:solidFill>
                <a:latin typeface="Arial"/>
                <a:cs typeface="Arial"/>
              </a:rPr>
              <a:t>accrual</a:t>
            </a:r>
            <a:r>
              <a:rPr sz="1800" spc="204" dirty="0">
                <a:solidFill>
                  <a:srgbClr val="C00000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C00000"/>
                </a:solidFill>
                <a:latin typeface="Arial"/>
                <a:cs typeface="Arial"/>
              </a:rPr>
              <a:t>period.</a:t>
            </a:r>
            <a:endParaRPr sz="18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850" dirty="0">
              <a:latin typeface="Arial"/>
              <a:cs typeface="Arial"/>
            </a:endParaRPr>
          </a:p>
          <a:p>
            <a:pPr marL="12700" marR="28575">
              <a:lnSpc>
                <a:spcPct val="100000"/>
              </a:lnSpc>
            </a:pPr>
            <a:r>
              <a:rPr sz="1800" spc="-5" dirty="0">
                <a:solidFill>
                  <a:srgbClr val="0A2164"/>
                </a:solidFill>
                <a:latin typeface="Arial"/>
                <a:cs typeface="Arial"/>
              </a:rPr>
              <a:t>Start/End of base </a:t>
            </a:r>
            <a:r>
              <a:rPr sz="1800" spc="-10" dirty="0">
                <a:solidFill>
                  <a:srgbClr val="0A2164"/>
                </a:solidFill>
                <a:latin typeface="Arial"/>
                <a:cs typeface="Arial"/>
              </a:rPr>
              <a:t>period: </a:t>
            </a:r>
            <a:r>
              <a:rPr sz="1800" dirty="0">
                <a:solidFill>
                  <a:srgbClr val="0A2164"/>
                </a:solidFill>
                <a:latin typeface="Arial"/>
                <a:cs typeface="Arial"/>
              </a:rPr>
              <a:t>This </a:t>
            </a:r>
            <a:r>
              <a:rPr sz="1800" spc="-10" dirty="0">
                <a:solidFill>
                  <a:srgbClr val="0A2164"/>
                </a:solidFill>
                <a:latin typeface="Arial"/>
                <a:cs typeface="Arial"/>
              </a:rPr>
              <a:t>option </a:t>
            </a:r>
            <a:r>
              <a:rPr sz="1800" spc="-15" dirty="0">
                <a:solidFill>
                  <a:srgbClr val="0A2164"/>
                </a:solidFill>
                <a:latin typeface="Arial"/>
                <a:cs typeface="Arial"/>
              </a:rPr>
              <a:t>will </a:t>
            </a:r>
            <a:r>
              <a:rPr sz="1800" spc="-5" dirty="0">
                <a:solidFill>
                  <a:srgbClr val="0A2164"/>
                </a:solidFill>
                <a:latin typeface="Arial"/>
                <a:cs typeface="Arial"/>
              </a:rPr>
              <a:t>use the </a:t>
            </a:r>
            <a:r>
              <a:rPr sz="1800" spc="-15" dirty="0">
                <a:solidFill>
                  <a:srgbClr val="0A2164"/>
                </a:solidFill>
                <a:latin typeface="Arial"/>
                <a:cs typeface="Arial"/>
              </a:rPr>
              <a:t>employee’s </a:t>
            </a:r>
            <a:r>
              <a:rPr sz="1800" spc="-5" dirty="0">
                <a:solidFill>
                  <a:srgbClr val="0A2164"/>
                </a:solidFill>
                <a:latin typeface="Arial"/>
                <a:cs typeface="Arial"/>
              </a:rPr>
              <a:t>entry date from IT0000  as the key date for </a:t>
            </a:r>
            <a:r>
              <a:rPr sz="1800" spc="-10" dirty="0">
                <a:solidFill>
                  <a:srgbClr val="0A2164"/>
                </a:solidFill>
                <a:latin typeface="Arial"/>
                <a:cs typeface="Arial"/>
              </a:rPr>
              <a:t>determining </a:t>
            </a:r>
            <a:r>
              <a:rPr sz="1800" spc="-20" dirty="0">
                <a:solidFill>
                  <a:srgbClr val="0A2164"/>
                </a:solidFill>
                <a:latin typeface="Arial"/>
                <a:cs typeface="Arial"/>
              </a:rPr>
              <a:t>seniority. </a:t>
            </a:r>
            <a:r>
              <a:rPr sz="1800" dirty="0">
                <a:solidFill>
                  <a:srgbClr val="0A2164"/>
                </a:solidFill>
                <a:latin typeface="Arial"/>
                <a:cs typeface="Arial"/>
              </a:rPr>
              <a:t>This </a:t>
            </a:r>
            <a:r>
              <a:rPr sz="1800" spc="-10" dirty="0">
                <a:solidFill>
                  <a:srgbClr val="0A2164"/>
                </a:solidFill>
                <a:latin typeface="Arial"/>
                <a:cs typeface="Arial"/>
              </a:rPr>
              <a:t>means </a:t>
            </a:r>
            <a:r>
              <a:rPr sz="1800" spc="-5" dirty="0">
                <a:solidFill>
                  <a:srgbClr val="0A2164"/>
                </a:solidFill>
                <a:latin typeface="Arial"/>
                <a:cs typeface="Arial"/>
              </a:rPr>
              <a:t>any </a:t>
            </a:r>
            <a:r>
              <a:rPr sz="1800" spc="-10" dirty="0">
                <a:solidFill>
                  <a:srgbClr val="0A2164"/>
                </a:solidFill>
                <a:latin typeface="Arial"/>
                <a:cs typeface="Arial"/>
              </a:rPr>
              <a:t>change </a:t>
            </a:r>
            <a:r>
              <a:rPr sz="1800" spc="-5" dirty="0">
                <a:solidFill>
                  <a:srgbClr val="0A2164"/>
                </a:solidFill>
                <a:latin typeface="Arial"/>
                <a:cs typeface="Arial"/>
              </a:rPr>
              <a:t>in the </a:t>
            </a:r>
            <a:r>
              <a:rPr sz="1800" spc="-15" dirty="0">
                <a:solidFill>
                  <a:srgbClr val="0A2164"/>
                </a:solidFill>
                <a:latin typeface="Arial"/>
                <a:cs typeface="Arial"/>
              </a:rPr>
              <a:t>employee’s  </a:t>
            </a:r>
            <a:r>
              <a:rPr sz="1800" spc="-5" dirty="0">
                <a:solidFill>
                  <a:srgbClr val="0A2164"/>
                </a:solidFill>
                <a:latin typeface="Arial"/>
                <a:cs typeface="Arial"/>
              </a:rPr>
              <a:t>seniority is taken into </a:t>
            </a:r>
            <a:r>
              <a:rPr sz="1800" spc="-10" dirty="0">
                <a:solidFill>
                  <a:srgbClr val="0A2164"/>
                </a:solidFill>
                <a:latin typeface="Arial"/>
                <a:cs typeface="Arial"/>
              </a:rPr>
              <a:t>account </a:t>
            </a:r>
            <a:r>
              <a:rPr sz="1800" spc="-5" dirty="0">
                <a:solidFill>
                  <a:srgbClr val="0A2164"/>
                </a:solidFill>
                <a:latin typeface="Arial"/>
                <a:cs typeface="Arial"/>
              </a:rPr>
              <a:t>at the start of the </a:t>
            </a:r>
            <a:r>
              <a:rPr sz="1800" spc="-10" dirty="0">
                <a:solidFill>
                  <a:srgbClr val="0A2164"/>
                </a:solidFill>
                <a:latin typeface="Arial"/>
                <a:cs typeface="Arial"/>
              </a:rPr>
              <a:t>next </a:t>
            </a:r>
            <a:r>
              <a:rPr sz="1800" spc="-5" dirty="0">
                <a:solidFill>
                  <a:srgbClr val="0A2164"/>
                </a:solidFill>
                <a:latin typeface="Arial"/>
                <a:cs typeface="Arial"/>
              </a:rPr>
              <a:t>base</a:t>
            </a:r>
            <a:r>
              <a:rPr sz="1800" spc="100" dirty="0">
                <a:solidFill>
                  <a:srgbClr val="0A2164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A2164"/>
                </a:solidFill>
                <a:latin typeface="Arial"/>
                <a:cs typeface="Arial"/>
              </a:rPr>
              <a:t>period.</a:t>
            </a:r>
            <a:endParaRPr sz="18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850" dirty="0">
              <a:latin typeface="Arial"/>
              <a:cs typeface="Arial"/>
            </a:endParaRPr>
          </a:p>
          <a:p>
            <a:pPr marL="12700" marR="36195">
              <a:lnSpc>
                <a:spcPct val="100000"/>
              </a:lnSpc>
            </a:pPr>
            <a:r>
              <a:rPr sz="1800" spc="-5" dirty="0">
                <a:solidFill>
                  <a:srgbClr val="C00000"/>
                </a:solidFill>
                <a:latin typeface="Arial"/>
                <a:cs typeface="Arial"/>
              </a:rPr>
              <a:t>Date </a:t>
            </a:r>
            <a:r>
              <a:rPr sz="1800" spc="-25" dirty="0">
                <a:solidFill>
                  <a:srgbClr val="C00000"/>
                </a:solidFill>
                <a:latin typeface="Arial"/>
                <a:cs typeface="Arial"/>
              </a:rPr>
              <a:t>Type: </a:t>
            </a:r>
            <a:r>
              <a:rPr sz="1800" dirty="0">
                <a:solidFill>
                  <a:srgbClr val="C00000"/>
                </a:solidFill>
                <a:latin typeface="Arial"/>
                <a:cs typeface="Arial"/>
              </a:rPr>
              <a:t>This </a:t>
            </a:r>
            <a:r>
              <a:rPr sz="1800" spc="-10" dirty="0">
                <a:solidFill>
                  <a:srgbClr val="C00000"/>
                </a:solidFill>
                <a:latin typeface="Arial"/>
                <a:cs typeface="Arial"/>
              </a:rPr>
              <a:t>option </a:t>
            </a:r>
            <a:r>
              <a:rPr sz="1800" spc="-15" dirty="0">
                <a:solidFill>
                  <a:srgbClr val="C00000"/>
                </a:solidFill>
                <a:latin typeface="Arial"/>
                <a:cs typeface="Arial"/>
              </a:rPr>
              <a:t>will </a:t>
            </a:r>
            <a:r>
              <a:rPr sz="1800" spc="-5" dirty="0">
                <a:solidFill>
                  <a:srgbClr val="C00000"/>
                </a:solidFill>
                <a:latin typeface="Arial"/>
                <a:cs typeface="Arial"/>
              </a:rPr>
              <a:t>use </a:t>
            </a:r>
            <a:r>
              <a:rPr sz="1800" dirty="0">
                <a:solidFill>
                  <a:srgbClr val="C00000"/>
                </a:solidFill>
                <a:latin typeface="Arial"/>
                <a:cs typeface="Arial"/>
              </a:rPr>
              <a:t>a </a:t>
            </a:r>
            <a:r>
              <a:rPr sz="1800" spc="-5" dirty="0">
                <a:solidFill>
                  <a:srgbClr val="C00000"/>
                </a:solidFill>
                <a:latin typeface="Arial"/>
                <a:cs typeface="Arial"/>
              </a:rPr>
              <a:t>specified date on the </a:t>
            </a:r>
            <a:r>
              <a:rPr sz="1800" spc="-15" dirty="0">
                <a:solidFill>
                  <a:srgbClr val="C00000"/>
                </a:solidFill>
                <a:latin typeface="Arial"/>
                <a:cs typeface="Arial"/>
              </a:rPr>
              <a:t>employee’s </a:t>
            </a:r>
            <a:r>
              <a:rPr sz="1800" spc="-5" dirty="0">
                <a:solidFill>
                  <a:srgbClr val="C00000"/>
                </a:solidFill>
                <a:latin typeface="Arial"/>
                <a:cs typeface="Arial"/>
              </a:rPr>
              <a:t>IT0041 record as  the key date for </a:t>
            </a:r>
            <a:r>
              <a:rPr sz="1800" spc="-10" dirty="0">
                <a:solidFill>
                  <a:srgbClr val="C00000"/>
                </a:solidFill>
                <a:latin typeface="Arial"/>
                <a:cs typeface="Arial"/>
              </a:rPr>
              <a:t>determining </a:t>
            </a:r>
            <a:r>
              <a:rPr sz="1800" spc="-20" dirty="0">
                <a:solidFill>
                  <a:srgbClr val="C00000"/>
                </a:solidFill>
                <a:latin typeface="Arial"/>
                <a:cs typeface="Arial"/>
              </a:rPr>
              <a:t>seniority. </a:t>
            </a:r>
            <a:r>
              <a:rPr sz="1800" dirty="0">
                <a:solidFill>
                  <a:srgbClr val="C00000"/>
                </a:solidFill>
                <a:latin typeface="Arial"/>
                <a:cs typeface="Arial"/>
              </a:rPr>
              <a:t>This </a:t>
            </a:r>
            <a:r>
              <a:rPr sz="1800" spc="-10" dirty="0">
                <a:solidFill>
                  <a:srgbClr val="C00000"/>
                </a:solidFill>
                <a:latin typeface="Arial"/>
                <a:cs typeface="Arial"/>
              </a:rPr>
              <a:t>means any change </a:t>
            </a:r>
            <a:r>
              <a:rPr sz="1800" spc="-5" dirty="0">
                <a:solidFill>
                  <a:srgbClr val="C00000"/>
                </a:solidFill>
                <a:latin typeface="Arial"/>
                <a:cs typeface="Arial"/>
              </a:rPr>
              <a:t>in the </a:t>
            </a:r>
            <a:r>
              <a:rPr sz="1800" spc="-15" dirty="0">
                <a:solidFill>
                  <a:srgbClr val="C00000"/>
                </a:solidFill>
                <a:latin typeface="Arial"/>
                <a:cs typeface="Arial"/>
              </a:rPr>
              <a:t>employee’s  </a:t>
            </a:r>
            <a:r>
              <a:rPr sz="1800" spc="-5" dirty="0">
                <a:solidFill>
                  <a:srgbClr val="C00000"/>
                </a:solidFill>
                <a:latin typeface="Arial"/>
                <a:cs typeface="Arial"/>
              </a:rPr>
              <a:t>seniority is taken into </a:t>
            </a:r>
            <a:r>
              <a:rPr sz="1800" spc="-10" dirty="0">
                <a:solidFill>
                  <a:srgbClr val="C00000"/>
                </a:solidFill>
                <a:latin typeface="Arial"/>
                <a:cs typeface="Arial"/>
              </a:rPr>
              <a:t>account </a:t>
            </a:r>
            <a:r>
              <a:rPr sz="1800" spc="-5" dirty="0">
                <a:solidFill>
                  <a:srgbClr val="C00000"/>
                </a:solidFill>
                <a:latin typeface="Arial"/>
                <a:cs typeface="Arial"/>
              </a:rPr>
              <a:t>on the date specified in the date </a:t>
            </a:r>
            <a:r>
              <a:rPr sz="1800" spc="-10" dirty="0">
                <a:solidFill>
                  <a:srgbClr val="C00000"/>
                </a:solidFill>
                <a:latin typeface="Arial"/>
                <a:cs typeface="Arial"/>
              </a:rPr>
              <a:t>type, </a:t>
            </a:r>
            <a:r>
              <a:rPr sz="1800" spc="-15" dirty="0">
                <a:solidFill>
                  <a:srgbClr val="C00000"/>
                </a:solidFill>
                <a:latin typeface="Arial"/>
                <a:cs typeface="Arial"/>
              </a:rPr>
              <a:t>with </a:t>
            </a:r>
            <a:r>
              <a:rPr sz="1800" spc="-5" dirty="0">
                <a:solidFill>
                  <a:srgbClr val="C00000"/>
                </a:solidFill>
                <a:latin typeface="Arial"/>
                <a:cs typeface="Arial"/>
              </a:rPr>
              <a:t>the current  </a:t>
            </a:r>
            <a:r>
              <a:rPr sz="1800" spc="-30" dirty="0">
                <a:solidFill>
                  <a:srgbClr val="C00000"/>
                </a:solidFill>
                <a:latin typeface="Arial"/>
                <a:cs typeface="Arial"/>
              </a:rPr>
              <a:t>year.</a:t>
            </a:r>
            <a:endParaRPr sz="18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85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800" spc="-5" dirty="0">
                <a:latin typeface="Arial"/>
                <a:cs typeface="Arial"/>
              </a:rPr>
              <a:t>Quota entitlements </a:t>
            </a:r>
            <a:r>
              <a:rPr sz="1800" spc="-10" dirty="0">
                <a:latin typeface="Arial"/>
                <a:cs typeface="Arial"/>
              </a:rPr>
              <a:t>based </a:t>
            </a:r>
            <a:r>
              <a:rPr sz="1800" spc="-5" dirty="0">
                <a:latin typeface="Arial"/>
                <a:cs typeface="Arial"/>
              </a:rPr>
              <a:t>on </a:t>
            </a:r>
            <a:r>
              <a:rPr sz="1800" spc="-10" dirty="0">
                <a:latin typeface="Arial"/>
                <a:cs typeface="Arial"/>
              </a:rPr>
              <a:t>age </a:t>
            </a:r>
            <a:r>
              <a:rPr sz="1800" spc="-5" dirty="0">
                <a:latin typeface="Arial"/>
                <a:cs typeface="Arial"/>
              </a:rPr>
              <a:t>are </a:t>
            </a:r>
            <a:r>
              <a:rPr sz="1800" spc="-10" dirty="0">
                <a:latin typeface="Arial"/>
                <a:cs typeface="Arial"/>
              </a:rPr>
              <a:t>handled </a:t>
            </a:r>
            <a:r>
              <a:rPr sz="1800" spc="-5" dirty="0">
                <a:latin typeface="Arial"/>
                <a:cs typeface="Arial"/>
              </a:rPr>
              <a:t>in </a:t>
            </a:r>
            <a:r>
              <a:rPr sz="1800" dirty="0">
                <a:latin typeface="Arial"/>
                <a:cs typeface="Arial"/>
              </a:rPr>
              <a:t>a </a:t>
            </a:r>
            <a:r>
              <a:rPr sz="1800" spc="-5" dirty="0">
                <a:latin typeface="Arial"/>
                <a:cs typeface="Arial"/>
              </a:rPr>
              <a:t>very similar </a:t>
            </a:r>
            <a:r>
              <a:rPr sz="1800" spc="-10" dirty="0">
                <a:latin typeface="Arial"/>
                <a:cs typeface="Arial"/>
              </a:rPr>
              <a:t>manner </a:t>
            </a:r>
            <a:r>
              <a:rPr sz="1800" dirty="0">
                <a:latin typeface="Arial"/>
                <a:cs typeface="Arial"/>
              </a:rPr>
              <a:t>– </a:t>
            </a:r>
            <a:r>
              <a:rPr sz="1800" spc="-5" dirty="0" err="1">
                <a:latin typeface="Arial"/>
                <a:cs typeface="Arial"/>
              </a:rPr>
              <a:t>thesame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793948" y="6958010"/>
            <a:ext cx="289750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Arial"/>
                <a:cs typeface="Arial"/>
              </a:rPr>
              <a:t>fields </a:t>
            </a:r>
            <a:r>
              <a:rPr sz="1800" spc="-10" dirty="0">
                <a:latin typeface="Arial"/>
                <a:cs typeface="Arial"/>
              </a:rPr>
              <a:t>apply </a:t>
            </a:r>
            <a:r>
              <a:rPr sz="1800" spc="-5" dirty="0">
                <a:latin typeface="Arial"/>
                <a:cs typeface="Arial"/>
              </a:rPr>
              <a:t>as </a:t>
            </a:r>
            <a:r>
              <a:rPr sz="1800" spc="-15" dirty="0">
                <a:latin typeface="Arial"/>
                <a:cs typeface="Arial"/>
              </a:rPr>
              <a:t>with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spc="-20" dirty="0">
                <a:latin typeface="Arial"/>
                <a:cs typeface="Arial"/>
              </a:rPr>
              <a:t>seniority.</a:t>
            </a:r>
            <a:endParaRPr sz="18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383857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Accrual</a:t>
            </a:r>
            <a:r>
              <a:rPr spc="-9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Entitlement</a:t>
            </a:r>
          </a:p>
        </p:txBody>
      </p:sp>
      <p:sp>
        <p:nvSpPr>
          <p:cNvPr id="5" name="object 5"/>
          <p:cNvSpPr txBox="1">
            <a:spLocks noGrp="1"/>
          </p:cNvSpPr>
          <p:nvPr>
            <p:ph type="sldNum" sz="quarter" idx="4294967295"/>
          </p:nvPr>
        </p:nvSpPr>
        <p:spPr>
          <a:xfrm>
            <a:off x="4267200" y="6557741"/>
            <a:ext cx="304800" cy="400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IN" sz="800" spc="-5" dirty="0"/>
              <a:t>- </a:t>
            </a:r>
            <a:fld id="{81D60167-4931-47E6-BA6A-407CBD079E47}" type="slidenum">
              <a:rPr sz="800" spc="-5" smtClean="0"/>
              <a:t>105</a:t>
            </a:fld>
            <a:r>
              <a:rPr sz="800" spc="-100" dirty="0"/>
              <a:t> </a:t>
            </a:r>
            <a:r>
              <a:rPr spc="-5" dirty="0"/>
              <a:t>-</a:t>
            </a:r>
          </a:p>
        </p:txBody>
      </p:sp>
      <p:sp>
        <p:nvSpPr>
          <p:cNvPr id="4" name="object 4"/>
          <p:cNvSpPr/>
          <p:nvPr/>
        </p:nvSpPr>
        <p:spPr>
          <a:xfrm>
            <a:off x="643591" y="1876397"/>
            <a:ext cx="8785128" cy="468134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521335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4047490" algn="l"/>
              </a:tabLst>
            </a:pPr>
            <a:r>
              <a:rPr spc="-5" dirty="0">
                <a:solidFill>
                  <a:schemeClr val="accent1"/>
                </a:solidFill>
              </a:rPr>
              <a:t>Accrual</a:t>
            </a:r>
            <a:r>
              <a:rPr spc="-2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Entitlement	Cont..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542512" y="1831697"/>
            <a:ext cx="8754110" cy="3591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Arial"/>
                <a:cs typeface="Arial"/>
              </a:rPr>
              <a:t>Pro rata calculation </a:t>
            </a:r>
            <a:r>
              <a:rPr sz="1800" spc="-10" dirty="0">
                <a:latin typeface="Arial"/>
                <a:cs typeface="Arial"/>
              </a:rPr>
              <a:t>means </a:t>
            </a:r>
            <a:r>
              <a:rPr sz="1800" spc="-5" dirty="0">
                <a:latin typeface="Arial"/>
                <a:cs typeface="Arial"/>
              </a:rPr>
              <a:t>in </a:t>
            </a:r>
            <a:r>
              <a:rPr sz="1800" spc="-10" dirty="0">
                <a:latin typeface="Arial"/>
                <a:cs typeface="Arial"/>
              </a:rPr>
              <a:t>order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5" dirty="0">
                <a:latin typeface="Arial"/>
                <a:cs typeface="Arial"/>
              </a:rPr>
              <a:t>determine the </a:t>
            </a:r>
            <a:r>
              <a:rPr sz="1800" spc="-10" dirty="0">
                <a:latin typeface="Arial"/>
                <a:cs typeface="Arial"/>
              </a:rPr>
              <a:t>appropriate entitlement based </a:t>
            </a:r>
            <a:r>
              <a:rPr sz="1800" spc="-5" dirty="0">
                <a:latin typeface="Arial"/>
                <a:cs typeface="Arial"/>
              </a:rPr>
              <a:t>on  the </a:t>
            </a:r>
            <a:r>
              <a:rPr sz="1800" spc="-10" dirty="0">
                <a:latin typeface="Arial"/>
                <a:cs typeface="Arial"/>
              </a:rPr>
              <a:t>period, </a:t>
            </a:r>
            <a:r>
              <a:rPr sz="1800" spc="-5" dirty="0">
                <a:latin typeface="Arial"/>
                <a:cs typeface="Arial"/>
              </a:rPr>
              <a:t>the accrual </a:t>
            </a:r>
            <a:r>
              <a:rPr sz="1800" spc="-10" dirty="0">
                <a:latin typeface="Arial"/>
                <a:cs typeface="Arial"/>
              </a:rPr>
              <a:t>period </a:t>
            </a:r>
            <a:r>
              <a:rPr sz="1800" spc="-5" dirty="0">
                <a:latin typeface="Arial"/>
                <a:cs typeface="Arial"/>
              </a:rPr>
              <a:t>is compared </a:t>
            </a:r>
            <a:r>
              <a:rPr sz="1800" spc="-15" dirty="0">
                <a:latin typeface="Arial"/>
                <a:cs typeface="Arial"/>
              </a:rPr>
              <a:t>with </a:t>
            </a:r>
            <a:r>
              <a:rPr sz="1800" spc="-5" dirty="0">
                <a:latin typeface="Arial"/>
                <a:cs typeface="Arial"/>
              </a:rPr>
              <a:t>the base </a:t>
            </a:r>
            <a:r>
              <a:rPr sz="1800" spc="-10" dirty="0">
                <a:latin typeface="Arial"/>
                <a:cs typeface="Arial"/>
              </a:rPr>
              <a:t>period </a:t>
            </a:r>
            <a:r>
              <a:rPr sz="1800" spc="-5" dirty="0">
                <a:latin typeface="Arial"/>
                <a:cs typeface="Arial"/>
              </a:rPr>
              <a:t>of the </a:t>
            </a:r>
            <a:r>
              <a:rPr sz="1800" spc="-10" dirty="0">
                <a:latin typeface="Arial"/>
                <a:cs typeface="Arial"/>
              </a:rPr>
              <a:t>quota type  </a:t>
            </a:r>
            <a:r>
              <a:rPr sz="1800" spc="-5" dirty="0">
                <a:latin typeface="Arial"/>
                <a:cs typeface="Arial"/>
              </a:rPr>
              <a:t>currently </a:t>
            </a:r>
            <a:r>
              <a:rPr sz="1800" spc="-10" dirty="0">
                <a:latin typeface="Arial"/>
                <a:cs typeface="Arial"/>
              </a:rPr>
              <a:t>being </a:t>
            </a:r>
            <a:r>
              <a:rPr sz="1800" spc="-5" dirty="0">
                <a:latin typeface="Arial"/>
                <a:cs typeface="Arial"/>
              </a:rPr>
              <a:t>processed, </a:t>
            </a:r>
            <a:r>
              <a:rPr sz="1800" spc="-10" dirty="0">
                <a:latin typeface="Arial"/>
                <a:cs typeface="Arial"/>
              </a:rPr>
              <a:t>and </a:t>
            </a:r>
            <a:r>
              <a:rPr sz="1800" dirty="0">
                <a:latin typeface="Arial"/>
                <a:cs typeface="Arial"/>
              </a:rPr>
              <a:t>a </a:t>
            </a:r>
            <a:r>
              <a:rPr sz="1800" spc="-10" dirty="0">
                <a:latin typeface="Arial"/>
                <a:cs typeface="Arial"/>
              </a:rPr>
              <a:t>proportionate </a:t>
            </a:r>
            <a:r>
              <a:rPr sz="1800" spc="-5" dirty="0">
                <a:latin typeface="Arial"/>
                <a:cs typeface="Arial"/>
              </a:rPr>
              <a:t>accrual entitlement is </a:t>
            </a:r>
            <a:r>
              <a:rPr sz="1800" spc="-10" dirty="0">
                <a:latin typeface="Arial"/>
                <a:cs typeface="Arial"/>
              </a:rPr>
              <a:t>determined. </a:t>
            </a:r>
            <a:r>
              <a:rPr sz="1800" dirty="0">
                <a:latin typeface="Arial"/>
                <a:cs typeface="Arial"/>
              </a:rPr>
              <a:t>It  </a:t>
            </a:r>
            <a:r>
              <a:rPr sz="1800" spc="-10" dirty="0">
                <a:latin typeface="Arial"/>
                <a:cs typeface="Arial"/>
              </a:rPr>
              <a:t>means </a:t>
            </a:r>
            <a:r>
              <a:rPr sz="1800" spc="-5" dirty="0">
                <a:latin typeface="Arial"/>
                <a:cs typeface="Arial"/>
              </a:rPr>
              <a:t>the total base </a:t>
            </a:r>
            <a:r>
              <a:rPr sz="1800" spc="-10" dirty="0">
                <a:latin typeface="Arial"/>
                <a:cs typeface="Arial"/>
              </a:rPr>
              <a:t>entitlement </a:t>
            </a:r>
            <a:r>
              <a:rPr sz="1800" spc="-5" dirty="0">
                <a:latin typeface="Arial"/>
                <a:cs typeface="Arial"/>
              </a:rPr>
              <a:t>of the </a:t>
            </a:r>
            <a:r>
              <a:rPr sz="1800" spc="-10" dirty="0">
                <a:latin typeface="Arial"/>
                <a:cs typeface="Arial"/>
              </a:rPr>
              <a:t>quota type </a:t>
            </a:r>
            <a:r>
              <a:rPr sz="1800" spc="-5" dirty="0">
                <a:latin typeface="Arial"/>
                <a:cs typeface="Arial"/>
              </a:rPr>
              <a:t>currently </a:t>
            </a:r>
            <a:r>
              <a:rPr sz="1800" spc="-10" dirty="0">
                <a:latin typeface="Arial"/>
                <a:cs typeface="Arial"/>
              </a:rPr>
              <a:t>being </a:t>
            </a:r>
            <a:r>
              <a:rPr sz="1800" spc="-5" dirty="0">
                <a:latin typeface="Arial"/>
                <a:cs typeface="Arial"/>
              </a:rPr>
              <a:t>processed is </a:t>
            </a:r>
            <a:r>
              <a:rPr sz="1800" spc="-15" dirty="0">
                <a:latin typeface="Arial"/>
                <a:cs typeface="Arial"/>
              </a:rPr>
              <a:t>always  </a:t>
            </a:r>
            <a:r>
              <a:rPr sz="1800" spc="-5" dirty="0">
                <a:latin typeface="Arial"/>
                <a:cs typeface="Arial"/>
              </a:rPr>
              <a:t>used as the basis for the accrual</a:t>
            </a:r>
            <a:r>
              <a:rPr sz="1800" spc="1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entitlement.</a:t>
            </a:r>
            <a:endParaRPr sz="18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850">
              <a:latin typeface="Arial"/>
              <a:cs typeface="Arial"/>
            </a:endParaRPr>
          </a:p>
          <a:p>
            <a:pPr marL="12700" marR="58419">
              <a:lnSpc>
                <a:spcPct val="100000"/>
              </a:lnSpc>
            </a:pPr>
            <a:r>
              <a:rPr sz="1800" spc="-60" dirty="0">
                <a:latin typeface="Arial"/>
                <a:cs typeface="Arial"/>
              </a:rPr>
              <a:t>You </a:t>
            </a:r>
            <a:r>
              <a:rPr sz="1800" spc="-5" dirty="0">
                <a:latin typeface="Arial"/>
                <a:cs typeface="Arial"/>
              </a:rPr>
              <a:t>can also choose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5" dirty="0">
                <a:latin typeface="Arial"/>
                <a:cs typeface="Arial"/>
              </a:rPr>
              <a:t>multiply the accrual by </a:t>
            </a:r>
            <a:r>
              <a:rPr sz="1800" dirty="0">
                <a:latin typeface="Arial"/>
                <a:cs typeface="Arial"/>
              </a:rPr>
              <a:t>a </a:t>
            </a:r>
            <a:r>
              <a:rPr sz="1800" spc="-5" dirty="0">
                <a:latin typeface="Arial"/>
                <a:cs typeface="Arial"/>
              </a:rPr>
              <a:t>time </a:t>
            </a:r>
            <a:r>
              <a:rPr sz="1800" spc="-10" dirty="0">
                <a:latin typeface="Arial"/>
                <a:cs typeface="Arial"/>
              </a:rPr>
              <a:t>balance. </a:t>
            </a:r>
            <a:r>
              <a:rPr sz="1800" dirty="0">
                <a:latin typeface="Arial"/>
                <a:cs typeface="Arial"/>
              </a:rPr>
              <a:t>If </a:t>
            </a:r>
            <a:r>
              <a:rPr sz="1800" spc="-15" dirty="0">
                <a:latin typeface="Arial"/>
                <a:cs typeface="Arial"/>
              </a:rPr>
              <a:t>you </a:t>
            </a:r>
            <a:r>
              <a:rPr sz="1800" spc="-20" dirty="0">
                <a:latin typeface="Arial"/>
                <a:cs typeface="Arial"/>
              </a:rPr>
              <a:t>want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10" dirty="0">
                <a:latin typeface="Arial"/>
                <a:cs typeface="Arial"/>
              </a:rPr>
              <a:t>generate  </a:t>
            </a:r>
            <a:r>
              <a:rPr sz="1800" spc="-5" dirty="0">
                <a:latin typeface="Arial"/>
                <a:cs typeface="Arial"/>
              </a:rPr>
              <a:t>the accrual entitlements on the basis of </a:t>
            </a:r>
            <a:r>
              <a:rPr sz="1800" spc="-10" dirty="0">
                <a:latin typeface="Arial"/>
                <a:cs typeface="Arial"/>
              </a:rPr>
              <a:t>accountable attendance </a:t>
            </a:r>
            <a:r>
              <a:rPr sz="1800" spc="-5" dirty="0">
                <a:latin typeface="Arial"/>
                <a:cs typeface="Arial"/>
              </a:rPr>
              <a:t>times, </a:t>
            </a:r>
            <a:r>
              <a:rPr sz="1800" spc="-10" dirty="0">
                <a:latin typeface="Arial"/>
                <a:cs typeface="Arial"/>
              </a:rPr>
              <a:t>enter either </a:t>
            </a:r>
            <a:r>
              <a:rPr sz="1800" dirty="0">
                <a:latin typeface="Arial"/>
                <a:cs typeface="Arial"/>
              </a:rPr>
              <a:t>a  </a:t>
            </a:r>
            <a:r>
              <a:rPr sz="1800" spc="-10" dirty="0">
                <a:latin typeface="Arial"/>
                <a:cs typeface="Arial"/>
              </a:rPr>
              <a:t>day balance </a:t>
            </a:r>
            <a:r>
              <a:rPr sz="1800" spc="-5" dirty="0">
                <a:latin typeface="Arial"/>
                <a:cs typeface="Arial"/>
              </a:rPr>
              <a:t>or </a:t>
            </a:r>
            <a:r>
              <a:rPr sz="1800" spc="-10" dirty="0">
                <a:latin typeface="Arial"/>
                <a:cs typeface="Arial"/>
              </a:rPr>
              <a:t>period balance </a:t>
            </a:r>
            <a:r>
              <a:rPr sz="1800" spc="-5" dirty="0">
                <a:latin typeface="Arial"/>
                <a:cs typeface="Arial"/>
              </a:rPr>
              <a:t>in the Multiplication by time </a:t>
            </a:r>
            <a:r>
              <a:rPr sz="1800" spc="-10" dirty="0">
                <a:latin typeface="Arial"/>
                <a:cs typeface="Arial"/>
              </a:rPr>
              <a:t>balance</a:t>
            </a:r>
            <a:r>
              <a:rPr sz="1800" spc="15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section.</a:t>
            </a:r>
            <a:endParaRPr sz="18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850">
              <a:latin typeface="Arial"/>
              <a:cs typeface="Arial"/>
            </a:endParaRPr>
          </a:p>
          <a:p>
            <a:pPr marL="12700" marR="179070">
              <a:lnSpc>
                <a:spcPct val="100000"/>
              </a:lnSpc>
            </a:pPr>
            <a:r>
              <a:rPr sz="1800" spc="-60" dirty="0">
                <a:latin typeface="Arial"/>
                <a:cs typeface="Arial"/>
              </a:rPr>
              <a:t>You </a:t>
            </a:r>
            <a:r>
              <a:rPr sz="1800" spc="-5" dirty="0">
                <a:latin typeface="Arial"/>
                <a:cs typeface="Arial"/>
              </a:rPr>
              <a:t>can use alternative </a:t>
            </a:r>
            <a:r>
              <a:rPr sz="1800" spc="-10" dirty="0">
                <a:latin typeface="Arial"/>
                <a:cs typeface="Arial"/>
              </a:rPr>
              <a:t>quotas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10" dirty="0">
                <a:latin typeface="Arial"/>
                <a:cs typeface="Arial"/>
              </a:rPr>
              <a:t>manage </a:t>
            </a:r>
            <a:r>
              <a:rPr sz="1800" spc="-5" dirty="0">
                <a:latin typeface="Arial"/>
                <a:cs typeface="Arial"/>
              </a:rPr>
              <a:t>the </a:t>
            </a:r>
            <a:r>
              <a:rPr sz="1800" spc="-10" dirty="0">
                <a:latin typeface="Arial"/>
                <a:cs typeface="Arial"/>
              </a:rPr>
              <a:t>capping differences </a:t>
            </a:r>
            <a:r>
              <a:rPr sz="1800" spc="-5" dirty="0">
                <a:latin typeface="Arial"/>
                <a:cs typeface="Arial"/>
              </a:rPr>
              <a:t>that result from  </a:t>
            </a:r>
            <a:r>
              <a:rPr sz="1800" spc="-10" dirty="0">
                <a:latin typeface="Arial"/>
                <a:cs typeface="Arial"/>
              </a:rPr>
              <a:t>deduction </a:t>
            </a:r>
            <a:r>
              <a:rPr sz="1800" spc="-5" dirty="0">
                <a:latin typeface="Arial"/>
                <a:cs typeface="Arial"/>
              </a:rPr>
              <a:t>or from the </a:t>
            </a:r>
            <a:r>
              <a:rPr sz="1800" spc="-10" dirty="0">
                <a:latin typeface="Arial"/>
                <a:cs typeface="Arial"/>
              </a:rPr>
              <a:t>maximum entitlement being exceeded. </a:t>
            </a:r>
            <a:r>
              <a:rPr sz="1800" spc="-5" dirty="0">
                <a:latin typeface="Arial"/>
                <a:cs typeface="Arial"/>
              </a:rPr>
              <a:t>Determine </a:t>
            </a:r>
            <a:r>
              <a:rPr sz="1800" spc="-15" dirty="0">
                <a:latin typeface="Arial"/>
                <a:cs typeface="Arial"/>
              </a:rPr>
              <a:t>whether you  </a:t>
            </a:r>
            <a:r>
              <a:rPr sz="1800" spc="-20" dirty="0">
                <a:latin typeface="Arial"/>
                <a:cs typeface="Arial"/>
              </a:rPr>
              <a:t>want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5" dirty="0">
                <a:latin typeface="Arial"/>
                <a:cs typeface="Arial"/>
              </a:rPr>
              <a:t>store the </a:t>
            </a:r>
            <a:r>
              <a:rPr sz="1800" spc="-10" dirty="0">
                <a:latin typeface="Arial"/>
                <a:cs typeface="Arial"/>
              </a:rPr>
              <a:t>capping differences and </a:t>
            </a:r>
            <a:r>
              <a:rPr sz="1800" spc="-5" dirty="0">
                <a:latin typeface="Arial"/>
                <a:cs typeface="Arial"/>
              </a:rPr>
              <a:t>assign the </a:t>
            </a:r>
            <a:r>
              <a:rPr sz="1800" spc="-10" dirty="0">
                <a:latin typeface="Arial"/>
                <a:cs typeface="Arial"/>
              </a:rPr>
              <a:t>applicable quota</a:t>
            </a:r>
            <a:r>
              <a:rPr sz="1800" spc="204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types.</a:t>
            </a:r>
            <a:endParaRPr sz="18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331724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Total</a:t>
            </a:r>
            <a:r>
              <a:rPr spc="-10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Entitlement</a:t>
            </a:r>
          </a:p>
        </p:txBody>
      </p:sp>
      <p:sp>
        <p:nvSpPr>
          <p:cNvPr id="3" name="object 3"/>
          <p:cNvSpPr/>
          <p:nvPr/>
        </p:nvSpPr>
        <p:spPr>
          <a:xfrm>
            <a:off x="788359" y="2164427"/>
            <a:ext cx="7343546" cy="122519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938717" y="3559774"/>
            <a:ext cx="7656195" cy="16713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60198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Arial"/>
                <a:cs typeface="Arial"/>
              </a:rPr>
              <a:t>The </a:t>
            </a:r>
            <a:r>
              <a:rPr sz="1800" spc="-10" dirty="0">
                <a:latin typeface="Arial"/>
                <a:cs typeface="Arial"/>
              </a:rPr>
              <a:t>maximum entitlement </a:t>
            </a:r>
            <a:r>
              <a:rPr sz="1800" spc="-5" dirty="0">
                <a:latin typeface="Arial"/>
                <a:cs typeface="Arial"/>
              </a:rPr>
              <a:t>specifies the </a:t>
            </a:r>
            <a:r>
              <a:rPr sz="1800" spc="-10" dirty="0">
                <a:latin typeface="Arial"/>
                <a:cs typeface="Arial"/>
              </a:rPr>
              <a:t>maximum amount </a:t>
            </a:r>
            <a:r>
              <a:rPr sz="1800" spc="-5" dirty="0">
                <a:latin typeface="Arial"/>
                <a:cs typeface="Arial"/>
              </a:rPr>
              <a:t>that can be  transferred </a:t>
            </a:r>
            <a:r>
              <a:rPr sz="1800" dirty="0">
                <a:latin typeface="Arial"/>
                <a:cs typeface="Arial"/>
              </a:rPr>
              <a:t>to a </a:t>
            </a:r>
            <a:r>
              <a:rPr sz="1800" spc="-10" dirty="0">
                <a:latin typeface="Arial"/>
                <a:cs typeface="Arial"/>
              </a:rPr>
              <a:t>quota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type.</a:t>
            </a:r>
            <a:endParaRPr sz="18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850">
              <a:latin typeface="Arial"/>
              <a:cs typeface="Arial"/>
            </a:endParaRPr>
          </a:p>
          <a:p>
            <a:pPr marL="12700" marR="5080" indent="62230">
              <a:lnSpc>
                <a:spcPct val="100000"/>
              </a:lnSpc>
            </a:pPr>
            <a:r>
              <a:rPr sz="1800" spc="-5" dirty="0">
                <a:latin typeface="Arial"/>
                <a:cs typeface="Arial"/>
              </a:rPr>
              <a:t>For </a:t>
            </a:r>
            <a:r>
              <a:rPr sz="1800" spc="-10" dirty="0">
                <a:latin typeface="Arial"/>
                <a:cs typeface="Arial"/>
              </a:rPr>
              <a:t>example, </a:t>
            </a:r>
            <a:r>
              <a:rPr sz="1800" spc="-5" dirty="0">
                <a:latin typeface="Arial"/>
                <a:cs typeface="Arial"/>
              </a:rPr>
              <a:t>if an </a:t>
            </a:r>
            <a:r>
              <a:rPr sz="1800" spc="-10" dirty="0">
                <a:latin typeface="Arial"/>
                <a:cs typeface="Arial"/>
              </a:rPr>
              <a:t>employee </a:t>
            </a:r>
            <a:r>
              <a:rPr sz="1800" spc="-5" dirty="0">
                <a:latin typeface="Arial"/>
                <a:cs typeface="Arial"/>
              </a:rPr>
              <a:t>accrues </a:t>
            </a:r>
            <a:r>
              <a:rPr sz="1800" dirty="0">
                <a:latin typeface="Arial"/>
                <a:cs typeface="Arial"/>
              </a:rPr>
              <a:t>7 </a:t>
            </a:r>
            <a:r>
              <a:rPr sz="1800" spc="-10" dirty="0">
                <a:latin typeface="Arial"/>
                <a:cs typeface="Arial"/>
              </a:rPr>
              <a:t>hours during </a:t>
            </a:r>
            <a:r>
              <a:rPr sz="1800" spc="-5" dirty="0">
                <a:latin typeface="Arial"/>
                <a:cs typeface="Arial"/>
              </a:rPr>
              <a:t>an accrual </a:t>
            </a:r>
            <a:r>
              <a:rPr sz="1800" spc="-10" dirty="0">
                <a:latin typeface="Arial"/>
                <a:cs typeface="Arial"/>
              </a:rPr>
              <a:t>period  based </a:t>
            </a:r>
            <a:r>
              <a:rPr sz="1800" spc="-5" dirty="0">
                <a:latin typeface="Arial"/>
                <a:cs typeface="Arial"/>
              </a:rPr>
              <a:t>on their time </a:t>
            </a:r>
            <a:r>
              <a:rPr sz="1800" spc="-15" dirty="0">
                <a:latin typeface="Arial"/>
                <a:cs typeface="Arial"/>
              </a:rPr>
              <a:t>worked, </a:t>
            </a:r>
            <a:r>
              <a:rPr sz="1800" spc="-10" dirty="0">
                <a:latin typeface="Arial"/>
                <a:cs typeface="Arial"/>
              </a:rPr>
              <a:t>and </a:t>
            </a:r>
            <a:r>
              <a:rPr sz="1800" spc="-5" dirty="0">
                <a:latin typeface="Arial"/>
                <a:cs typeface="Arial"/>
              </a:rPr>
              <a:t>this field is set </a:t>
            </a:r>
            <a:r>
              <a:rPr sz="1800" dirty="0">
                <a:latin typeface="Arial"/>
                <a:cs typeface="Arial"/>
              </a:rPr>
              <a:t>to 6 </a:t>
            </a:r>
            <a:r>
              <a:rPr sz="1800" spc="-5" dirty="0">
                <a:latin typeface="Arial"/>
                <a:cs typeface="Arial"/>
              </a:rPr>
              <a:t>hours, </a:t>
            </a:r>
            <a:r>
              <a:rPr sz="1800" spc="-10" dirty="0">
                <a:latin typeface="Arial"/>
                <a:cs typeface="Arial"/>
              </a:rPr>
              <a:t>only </a:t>
            </a:r>
            <a:r>
              <a:rPr sz="1800" dirty="0">
                <a:latin typeface="Arial"/>
                <a:cs typeface="Arial"/>
              </a:rPr>
              <a:t>6 </a:t>
            </a:r>
            <a:r>
              <a:rPr sz="1800" spc="-10" dirty="0">
                <a:latin typeface="Arial"/>
                <a:cs typeface="Arial"/>
              </a:rPr>
              <a:t>hours </a:t>
            </a:r>
            <a:r>
              <a:rPr sz="1800" spc="-5" dirty="0">
                <a:latin typeface="Arial"/>
                <a:cs typeface="Arial"/>
              </a:rPr>
              <a:t>can  be transferred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5" dirty="0">
                <a:latin typeface="Arial"/>
                <a:cs typeface="Arial"/>
              </a:rPr>
              <a:t>the</a:t>
            </a:r>
            <a:r>
              <a:rPr sz="1800" spc="-10" dirty="0">
                <a:latin typeface="Arial"/>
                <a:cs typeface="Arial"/>
              </a:rPr>
              <a:t> quota.</a:t>
            </a:r>
            <a:endParaRPr sz="18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314" y="627840"/>
            <a:ext cx="606615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Validity period </a:t>
            </a:r>
            <a:r>
              <a:rPr dirty="0">
                <a:solidFill>
                  <a:schemeClr val="accent1"/>
                </a:solidFill>
              </a:rPr>
              <a:t>for </a:t>
            </a:r>
            <a:r>
              <a:rPr spc="-5" dirty="0">
                <a:solidFill>
                  <a:schemeClr val="accent1"/>
                </a:solidFill>
              </a:rPr>
              <a:t>default</a:t>
            </a:r>
            <a:r>
              <a:rPr spc="-14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value</a:t>
            </a:r>
          </a:p>
        </p:txBody>
      </p:sp>
      <p:sp>
        <p:nvSpPr>
          <p:cNvPr id="4" name="object 4"/>
          <p:cNvSpPr/>
          <p:nvPr/>
        </p:nvSpPr>
        <p:spPr>
          <a:xfrm>
            <a:off x="1219614" y="2021165"/>
            <a:ext cx="7843387" cy="451981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602551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RPTQTA00 </a:t>
            </a:r>
            <a:r>
              <a:rPr dirty="0">
                <a:solidFill>
                  <a:schemeClr val="accent1"/>
                </a:solidFill>
              </a:rPr>
              <a:t>– Quota</a:t>
            </a:r>
            <a:r>
              <a:rPr spc="-135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Generation</a:t>
            </a:r>
          </a:p>
        </p:txBody>
      </p:sp>
      <p:sp>
        <p:nvSpPr>
          <p:cNvPr id="3" name="object 3"/>
          <p:cNvSpPr/>
          <p:nvPr/>
        </p:nvSpPr>
        <p:spPr>
          <a:xfrm>
            <a:off x="1076370" y="1516761"/>
            <a:ext cx="8244138" cy="237571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076370" y="3892479"/>
            <a:ext cx="8067630" cy="304172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760771" y="1447800"/>
            <a:ext cx="5873115" cy="2160905"/>
            <a:chOff x="699979" y="1731629"/>
            <a:chExt cx="5873115" cy="2160905"/>
          </a:xfrm>
        </p:grpSpPr>
        <p:sp>
          <p:nvSpPr>
            <p:cNvPr id="3" name="object 3"/>
            <p:cNvSpPr/>
            <p:nvPr/>
          </p:nvSpPr>
          <p:spPr>
            <a:xfrm>
              <a:off x="3397239" y="1877915"/>
              <a:ext cx="3162300" cy="2014855"/>
            </a:xfrm>
            <a:custGeom>
              <a:avLst/>
              <a:gdLst/>
              <a:ahLst/>
              <a:cxnLst/>
              <a:rect l="l" t="t" r="r" b="b"/>
              <a:pathLst>
                <a:path w="3162300" h="2014854">
                  <a:moveTo>
                    <a:pt x="0" y="2014563"/>
                  </a:moveTo>
                  <a:lnTo>
                    <a:pt x="3162025" y="2014563"/>
                  </a:lnTo>
                  <a:lnTo>
                    <a:pt x="3162025" y="0"/>
                  </a:lnTo>
                  <a:lnTo>
                    <a:pt x="0" y="0"/>
                  </a:lnTo>
                  <a:lnTo>
                    <a:pt x="0" y="2014563"/>
                  </a:lnTo>
                  <a:close/>
                </a:path>
              </a:pathLst>
            </a:custGeom>
            <a:solidFill>
              <a:srgbClr val="F8C55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3385047" y="1864217"/>
              <a:ext cx="3188335" cy="2028825"/>
            </a:xfrm>
            <a:custGeom>
              <a:avLst/>
              <a:gdLst/>
              <a:ahLst/>
              <a:cxnLst/>
              <a:rect l="l" t="t" r="r" b="b"/>
              <a:pathLst>
                <a:path w="3188334" h="2028825">
                  <a:moveTo>
                    <a:pt x="3187933" y="0"/>
                  </a:moveTo>
                  <a:lnTo>
                    <a:pt x="0" y="0"/>
                  </a:lnTo>
                  <a:lnTo>
                    <a:pt x="0" y="2028261"/>
                  </a:lnTo>
                  <a:lnTo>
                    <a:pt x="25908" y="2028261"/>
                  </a:lnTo>
                  <a:lnTo>
                    <a:pt x="25908" y="25908"/>
                  </a:lnTo>
                  <a:lnTo>
                    <a:pt x="12192" y="25908"/>
                  </a:lnTo>
                  <a:lnTo>
                    <a:pt x="25908" y="13716"/>
                  </a:lnTo>
                  <a:lnTo>
                    <a:pt x="3187933" y="13716"/>
                  </a:lnTo>
                  <a:lnTo>
                    <a:pt x="3187933" y="0"/>
                  </a:lnTo>
                  <a:close/>
                </a:path>
                <a:path w="3188334" h="2028825">
                  <a:moveTo>
                    <a:pt x="3162025" y="13716"/>
                  </a:moveTo>
                  <a:lnTo>
                    <a:pt x="3162025" y="2028261"/>
                  </a:lnTo>
                  <a:lnTo>
                    <a:pt x="3187933" y="2028261"/>
                  </a:lnTo>
                  <a:lnTo>
                    <a:pt x="3187933" y="25908"/>
                  </a:lnTo>
                  <a:lnTo>
                    <a:pt x="3174217" y="25908"/>
                  </a:lnTo>
                  <a:lnTo>
                    <a:pt x="3162025" y="13716"/>
                  </a:lnTo>
                  <a:close/>
                </a:path>
                <a:path w="3188334" h="2028825">
                  <a:moveTo>
                    <a:pt x="25908" y="13716"/>
                  </a:moveTo>
                  <a:lnTo>
                    <a:pt x="12192" y="25908"/>
                  </a:lnTo>
                  <a:lnTo>
                    <a:pt x="25908" y="25908"/>
                  </a:lnTo>
                  <a:lnTo>
                    <a:pt x="25908" y="13716"/>
                  </a:lnTo>
                  <a:close/>
                </a:path>
                <a:path w="3188334" h="2028825">
                  <a:moveTo>
                    <a:pt x="3162025" y="13716"/>
                  </a:moveTo>
                  <a:lnTo>
                    <a:pt x="25908" y="13716"/>
                  </a:lnTo>
                  <a:lnTo>
                    <a:pt x="25908" y="25908"/>
                  </a:lnTo>
                  <a:lnTo>
                    <a:pt x="3162025" y="25908"/>
                  </a:lnTo>
                  <a:lnTo>
                    <a:pt x="3162025" y="13716"/>
                  </a:lnTo>
                  <a:close/>
                </a:path>
                <a:path w="3188334" h="2028825">
                  <a:moveTo>
                    <a:pt x="3187933" y="13716"/>
                  </a:moveTo>
                  <a:lnTo>
                    <a:pt x="3162025" y="13716"/>
                  </a:lnTo>
                  <a:lnTo>
                    <a:pt x="3174217" y="25908"/>
                  </a:lnTo>
                  <a:lnTo>
                    <a:pt x="3187933" y="25908"/>
                  </a:lnTo>
                  <a:lnTo>
                    <a:pt x="3187933" y="13716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712159" y="1743821"/>
              <a:ext cx="2743200" cy="723900"/>
            </a:xfrm>
            <a:custGeom>
              <a:avLst/>
              <a:gdLst/>
              <a:ahLst/>
              <a:cxnLst/>
              <a:rect l="l" t="t" r="r" b="b"/>
              <a:pathLst>
                <a:path w="2743200" h="723900">
                  <a:moveTo>
                    <a:pt x="2742974" y="0"/>
                  </a:moveTo>
                  <a:lnTo>
                    <a:pt x="0" y="0"/>
                  </a:lnTo>
                  <a:lnTo>
                    <a:pt x="0" y="723839"/>
                  </a:lnTo>
                  <a:lnTo>
                    <a:pt x="2742974" y="723839"/>
                  </a:lnTo>
                  <a:lnTo>
                    <a:pt x="2742974" y="0"/>
                  </a:lnTo>
                  <a:close/>
                </a:path>
              </a:pathLst>
            </a:custGeom>
            <a:solidFill>
              <a:srgbClr val="FFCC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699979" y="1731629"/>
              <a:ext cx="2767330" cy="748665"/>
            </a:xfrm>
            <a:custGeom>
              <a:avLst/>
              <a:gdLst/>
              <a:ahLst/>
              <a:cxnLst/>
              <a:rect l="l" t="t" r="r" b="b"/>
              <a:pathLst>
                <a:path w="2767329" h="748664">
                  <a:moveTo>
                    <a:pt x="2767334" y="0"/>
                  </a:moveTo>
                  <a:lnTo>
                    <a:pt x="0" y="0"/>
                  </a:lnTo>
                  <a:lnTo>
                    <a:pt x="0" y="748223"/>
                  </a:lnTo>
                  <a:lnTo>
                    <a:pt x="2767334" y="748223"/>
                  </a:lnTo>
                  <a:lnTo>
                    <a:pt x="2767334" y="736031"/>
                  </a:lnTo>
                  <a:lnTo>
                    <a:pt x="24371" y="736031"/>
                  </a:lnTo>
                  <a:lnTo>
                    <a:pt x="12179" y="723839"/>
                  </a:lnTo>
                  <a:lnTo>
                    <a:pt x="24371" y="723839"/>
                  </a:lnTo>
                  <a:lnTo>
                    <a:pt x="24371" y="24384"/>
                  </a:lnTo>
                  <a:lnTo>
                    <a:pt x="12179" y="24384"/>
                  </a:lnTo>
                  <a:lnTo>
                    <a:pt x="24371" y="12192"/>
                  </a:lnTo>
                  <a:lnTo>
                    <a:pt x="2767334" y="12192"/>
                  </a:lnTo>
                  <a:lnTo>
                    <a:pt x="2767334" y="0"/>
                  </a:lnTo>
                  <a:close/>
                </a:path>
                <a:path w="2767329" h="748664">
                  <a:moveTo>
                    <a:pt x="24371" y="723839"/>
                  </a:moveTo>
                  <a:lnTo>
                    <a:pt x="12179" y="723839"/>
                  </a:lnTo>
                  <a:lnTo>
                    <a:pt x="24371" y="736031"/>
                  </a:lnTo>
                  <a:lnTo>
                    <a:pt x="24371" y="723839"/>
                  </a:lnTo>
                  <a:close/>
                </a:path>
                <a:path w="2767329" h="748664">
                  <a:moveTo>
                    <a:pt x="2742950" y="723839"/>
                  </a:moveTo>
                  <a:lnTo>
                    <a:pt x="24371" y="723839"/>
                  </a:lnTo>
                  <a:lnTo>
                    <a:pt x="24371" y="736031"/>
                  </a:lnTo>
                  <a:lnTo>
                    <a:pt x="2742950" y="736031"/>
                  </a:lnTo>
                  <a:lnTo>
                    <a:pt x="2742950" y="723839"/>
                  </a:lnTo>
                  <a:close/>
                </a:path>
                <a:path w="2767329" h="748664">
                  <a:moveTo>
                    <a:pt x="2742950" y="12192"/>
                  </a:moveTo>
                  <a:lnTo>
                    <a:pt x="2742950" y="736031"/>
                  </a:lnTo>
                  <a:lnTo>
                    <a:pt x="2755142" y="723839"/>
                  </a:lnTo>
                  <a:lnTo>
                    <a:pt x="2767334" y="723839"/>
                  </a:lnTo>
                  <a:lnTo>
                    <a:pt x="2767334" y="24384"/>
                  </a:lnTo>
                  <a:lnTo>
                    <a:pt x="2755142" y="24384"/>
                  </a:lnTo>
                  <a:lnTo>
                    <a:pt x="2742950" y="12192"/>
                  </a:lnTo>
                  <a:close/>
                </a:path>
                <a:path w="2767329" h="748664">
                  <a:moveTo>
                    <a:pt x="2767334" y="723839"/>
                  </a:moveTo>
                  <a:lnTo>
                    <a:pt x="2755142" y="723839"/>
                  </a:lnTo>
                  <a:lnTo>
                    <a:pt x="2742950" y="736031"/>
                  </a:lnTo>
                  <a:lnTo>
                    <a:pt x="2767334" y="736031"/>
                  </a:lnTo>
                  <a:lnTo>
                    <a:pt x="2767334" y="723839"/>
                  </a:lnTo>
                  <a:close/>
                </a:path>
                <a:path w="2767329" h="748664">
                  <a:moveTo>
                    <a:pt x="24371" y="12192"/>
                  </a:moveTo>
                  <a:lnTo>
                    <a:pt x="12179" y="24384"/>
                  </a:lnTo>
                  <a:lnTo>
                    <a:pt x="24371" y="24384"/>
                  </a:lnTo>
                  <a:lnTo>
                    <a:pt x="24371" y="12192"/>
                  </a:lnTo>
                  <a:close/>
                </a:path>
                <a:path w="2767329" h="748664">
                  <a:moveTo>
                    <a:pt x="2742950" y="12192"/>
                  </a:moveTo>
                  <a:lnTo>
                    <a:pt x="24371" y="12192"/>
                  </a:lnTo>
                  <a:lnTo>
                    <a:pt x="24371" y="24384"/>
                  </a:lnTo>
                  <a:lnTo>
                    <a:pt x="2742950" y="24384"/>
                  </a:lnTo>
                  <a:lnTo>
                    <a:pt x="2742950" y="12192"/>
                  </a:lnTo>
                  <a:close/>
                </a:path>
                <a:path w="2767329" h="748664">
                  <a:moveTo>
                    <a:pt x="2767334" y="12192"/>
                  </a:moveTo>
                  <a:lnTo>
                    <a:pt x="2742950" y="12192"/>
                  </a:lnTo>
                  <a:lnTo>
                    <a:pt x="2755142" y="24384"/>
                  </a:lnTo>
                  <a:lnTo>
                    <a:pt x="2767334" y="24384"/>
                  </a:lnTo>
                  <a:lnTo>
                    <a:pt x="2767334" y="1219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/>
          <p:nvPr/>
        </p:nvSpPr>
        <p:spPr>
          <a:xfrm>
            <a:off x="881155" y="1560057"/>
            <a:ext cx="2767330" cy="50462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42900" marR="5080" indent="-330835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Personnel Subarea</a:t>
            </a:r>
            <a:r>
              <a:rPr sz="1600" spc="-114" dirty="0">
                <a:solidFill>
                  <a:srgbClr val="323299"/>
                </a:solidFill>
                <a:latin typeface="Liberation Sans Narrow"/>
                <a:cs typeface="Liberation Sans Narrow"/>
              </a:rPr>
              <a:t> </a:t>
            </a:r>
            <a:r>
              <a:rPr sz="1600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grouping  for </a:t>
            </a:r>
            <a:r>
              <a:rPr sz="1600" spc="-10" dirty="0">
                <a:solidFill>
                  <a:srgbClr val="323299"/>
                </a:solidFill>
                <a:latin typeface="Liberation Sans Narrow"/>
                <a:cs typeface="Liberation Sans Narrow"/>
              </a:rPr>
              <a:t>Work</a:t>
            </a:r>
            <a:r>
              <a:rPr sz="1600" spc="-2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 </a:t>
            </a:r>
            <a:r>
              <a:rPr sz="1600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Schedules</a:t>
            </a:r>
            <a:endParaRPr sz="1600" dirty="0">
              <a:latin typeface="Liberation Sans Narrow"/>
              <a:cs typeface="Liberation Sans Narrow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7427716" y="2209739"/>
            <a:ext cx="1987550" cy="1398905"/>
            <a:chOff x="7366924" y="2493568"/>
            <a:chExt cx="1987550" cy="1398905"/>
          </a:xfrm>
        </p:grpSpPr>
        <p:sp>
          <p:nvSpPr>
            <p:cNvPr id="9" name="object 9"/>
            <p:cNvSpPr/>
            <p:nvPr/>
          </p:nvSpPr>
          <p:spPr>
            <a:xfrm>
              <a:off x="7379116" y="2505757"/>
              <a:ext cx="1961514" cy="1386840"/>
            </a:xfrm>
            <a:custGeom>
              <a:avLst/>
              <a:gdLst/>
              <a:ahLst/>
              <a:cxnLst/>
              <a:rect l="l" t="t" r="r" b="b"/>
              <a:pathLst>
                <a:path w="1961515" h="1386839">
                  <a:moveTo>
                    <a:pt x="0" y="1386721"/>
                  </a:moveTo>
                  <a:lnTo>
                    <a:pt x="1961220" y="1386721"/>
                  </a:lnTo>
                  <a:lnTo>
                    <a:pt x="1961220" y="0"/>
                  </a:lnTo>
                  <a:lnTo>
                    <a:pt x="0" y="0"/>
                  </a:lnTo>
                  <a:lnTo>
                    <a:pt x="0" y="1386721"/>
                  </a:lnTo>
                  <a:close/>
                </a:path>
              </a:pathLst>
            </a:custGeom>
            <a:solidFill>
              <a:srgbClr val="FCDA8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7366924" y="2493568"/>
              <a:ext cx="1987550" cy="1398905"/>
            </a:xfrm>
            <a:custGeom>
              <a:avLst/>
              <a:gdLst/>
              <a:ahLst/>
              <a:cxnLst/>
              <a:rect l="l" t="t" r="r" b="b"/>
              <a:pathLst>
                <a:path w="1987550" h="1398904">
                  <a:moveTo>
                    <a:pt x="1987113" y="0"/>
                  </a:moveTo>
                  <a:lnTo>
                    <a:pt x="0" y="0"/>
                  </a:lnTo>
                  <a:lnTo>
                    <a:pt x="0" y="1398910"/>
                  </a:lnTo>
                  <a:lnTo>
                    <a:pt x="24384" y="1398910"/>
                  </a:lnTo>
                  <a:lnTo>
                    <a:pt x="24384" y="24384"/>
                  </a:lnTo>
                  <a:lnTo>
                    <a:pt x="12192" y="24384"/>
                  </a:lnTo>
                  <a:lnTo>
                    <a:pt x="24384" y="12192"/>
                  </a:lnTo>
                  <a:lnTo>
                    <a:pt x="1987113" y="12192"/>
                  </a:lnTo>
                  <a:lnTo>
                    <a:pt x="1987113" y="0"/>
                  </a:lnTo>
                  <a:close/>
                </a:path>
                <a:path w="1987550" h="1398904">
                  <a:moveTo>
                    <a:pt x="1961205" y="12192"/>
                  </a:moveTo>
                  <a:lnTo>
                    <a:pt x="1961205" y="1398910"/>
                  </a:lnTo>
                  <a:lnTo>
                    <a:pt x="1987113" y="1398910"/>
                  </a:lnTo>
                  <a:lnTo>
                    <a:pt x="1987113" y="24384"/>
                  </a:lnTo>
                  <a:lnTo>
                    <a:pt x="1973397" y="24384"/>
                  </a:lnTo>
                  <a:lnTo>
                    <a:pt x="1961205" y="12192"/>
                  </a:lnTo>
                  <a:close/>
                </a:path>
                <a:path w="1987550" h="1398904">
                  <a:moveTo>
                    <a:pt x="24384" y="12192"/>
                  </a:moveTo>
                  <a:lnTo>
                    <a:pt x="12192" y="24384"/>
                  </a:lnTo>
                  <a:lnTo>
                    <a:pt x="24384" y="24384"/>
                  </a:lnTo>
                  <a:lnTo>
                    <a:pt x="24384" y="12192"/>
                  </a:lnTo>
                  <a:close/>
                </a:path>
                <a:path w="1987550" h="1398904">
                  <a:moveTo>
                    <a:pt x="1961205" y="12192"/>
                  </a:moveTo>
                  <a:lnTo>
                    <a:pt x="24384" y="12192"/>
                  </a:lnTo>
                  <a:lnTo>
                    <a:pt x="24384" y="24384"/>
                  </a:lnTo>
                  <a:lnTo>
                    <a:pt x="1961205" y="24384"/>
                  </a:lnTo>
                  <a:lnTo>
                    <a:pt x="1961205" y="12192"/>
                  </a:lnTo>
                  <a:close/>
                </a:path>
                <a:path w="1987550" h="1398904">
                  <a:moveTo>
                    <a:pt x="1987113" y="12192"/>
                  </a:moveTo>
                  <a:lnTo>
                    <a:pt x="1961205" y="12192"/>
                  </a:lnTo>
                  <a:lnTo>
                    <a:pt x="1973397" y="24384"/>
                  </a:lnTo>
                  <a:lnTo>
                    <a:pt x="1987113" y="24384"/>
                  </a:lnTo>
                  <a:lnTo>
                    <a:pt x="1987113" y="1219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8746022" y="2917210"/>
              <a:ext cx="53340" cy="368935"/>
            </a:xfrm>
            <a:custGeom>
              <a:avLst/>
              <a:gdLst/>
              <a:ahLst/>
              <a:cxnLst/>
              <a:rect l="l" t="t" r="r" b="b"/>
              <a:pathLst>
                <a:path w="53340" h="368935">
                  <a:moveTo>
                    <a:pt x="0" y="368771"/>
                  </a:moveTo>
                  <a:lnTo>
                    <a:pt x="53339" y="368771"/>
                  </a:lnTo>
                  <a:lnTo>
                    <a:pt x="53339" y="0"/>
                  </a:lnTo>
                  <a:lnTo>
                    <a:pt x="0" y="0"/>
                  </a:lnTo>
                  <a:lnTo>
                    <a:pt x="0" y="368771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8746022" y="2917222"/>
              <a:ext cx="53340" cy="567055"/>
            </a:xfrm>
            <a:custGeom>
              <a:avLst/>
              <a:gdLst/>
              <a:ahLst/>
              <a:cxnLst/>
              <a:rect l="l" t="t" r="r" b="b"/>
              <a:pathLst>
                <a:path w="53340" h="567054">
                  <a:moveTo>
                    <a:pt x="13696" y="0"/>
                  </a:moveTo>
                  <a:lnTo>
                    <a:pt x="13696" y="89903"/>
                  </a:lnTo>
                  <a:lnTo>
                    <a:pt x="10672" y="89903"/>
                  </a:lnTo>
                  <a:lnTo>
                    <a:pt x="10672" y="179837"/>
                  </a:lnTo>
                  <a:lnTo>
                    <a:pt x="6077" y="179837"/>
                  </a:lnTo>
                  <a:lnTo>
                    <a:pt x="6077" y="263626"/>
                  </a:lnTo>
                  <a:lnTo>
                    <a:pt x="3053" y="263626"/>
                  </a:lnTo>
                  <a:lnTo>
                    <a:pt x="3053" y="377925"/>
                  </a:lnTo>
                  <a:lnTo>
                    <a:pt x="0" y="377925"/>
                  </a:lnTo>
                  <a:lnTo>
                    <a:pt x="0" y="566888"/>
                  </a:lnTo>
                  <a:lnTo>
                    <a:pt x="28964" y="566888"/>
                  </a:lnTo>
                  <a:lnTo>
                    <a:pt x="53333" y="376389"/>
                  </a:lnTo>
                  <a:lnTo>
                    <a:pt x="53333" y="263626"/>
                  </a:lnTo>
                  <a:lnTo>
                    <a:pt x="50279" y="263626"/>
                  </a:lnTo>
                  <a:lnTo>
                    <a:pt x="50279" y="179837"/>
                  </a:lnTo>
                  <a:lnTo>
                    <a:pt x="47225" y="179837"/>
                  </a:lnTo>
                  <a:lnTo>
                    <a:pt x="47225" y="89903"/>
                  </a:lnTo>
                  <a:lnTo>
                    <a:pt x="42660" y="89903"/>
                  </a:lnTo>
                  <a:lnTo>
                    <a:pt x="42660" y="0"/>
                  </a:lnTo>
                  <a:lnTo>
                    <a:pt x="13696" y="0"/>
                  </a:lnTo>
                  <a:close/>
                </a:path>
              </a:pathLst>
            </a:custGeom>
            <a:ln w="337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8843556" y="2917189"/>
              <a:ext cx="52069" cy="566420"/>
            </a:xfrm>
            <a:custGeom>
              <a:avLst/>
              <a:gdLst/>
              <a:ahLst/>
              <a:cxnLst/>
              <a:rect l="l" t="t" r="r" b="b"/>
              <a:pathLst>
                <a:path w="52070" h="566420">
                  <a:moveTo>
                    <a:pt x="51816" y="378460"/>
                  </a:moveTo>
                  <a:lnTo>
                    <a:pt x="48768" y="378460"/>
                  </a:lnTo>
                  <a:lnTo>
                    <a:pt x="48768" y="368795"/>
                  </a:lnTo>
                  <a:lnTo>
                    <a:pt x="48768" y="264160"/>
                  </a:lnTo>
                  <a:lnTo>
                    <a:pt x="45720" y="264160"/>
                  </a:lnTo>
                  <a:lnTo>
                    <a:pt x="45720" y="180340"/>
                  </a:lnTo>
                  <a:lnTo>
                    <a:pt x="42672" y="180340"/>
                  </a:lnTo>
                  <a:lnTo>
                    <a:pt x="42672" y="90170"/>
                  </a:lnTo>
                  <a:lnTo>
                    <a:pt x="38100" y="90170"/>
                  </a:lnTo>
                  <a:lnTo>
                    <a:pt x="38100" y="0"/>
                  </a:lnTo>
                  <a:lnTo>
                    <a:pt x="9144" y="0"/>
                  </a:lnTo>
                  <a:lnTo>
                    <a:pt x="9144" y="90170"/>
                  </a:lnTo>
                  <a:lnTo>
                    <a:pt x="6096" y="90170"/>
                  </a:lnTo>
                  <a:lnTo>
                    <a:pt x="6096" y="180340"/>
                  </a:lnTo>
                  <a:lnTo>
                    <a:pt x="1524" y="180340"/>
                  </a:lnTo>
                  <a:lnTo>
                    <a:pt x="1524" y="264160"/>
                  </a:lnTo>
                  <a:lnTo>
                    <a:pt x="0" y="264160"/>
                  </a:lnTo>
                  <a:lnTo>
                    <a:pt x="0" y="368795"/>
                  </a:lnTo>
                  <a:lnTo>
                    <a:pt x="0" y="378460"/>
                  </a:lnTo>
                  <a:lnTo>
                    <a:pt x="22834" y="378460"/>
                  </a:lnTo>
                  <a:lnTo>
                    <a:pt x="22834" y="566420"/>
                  </a:lnTo>
                  <a:lnTo>
                    <a:pt x="51816" y="566420"/>
                  </a:lnTo>
                  <a:lnTo>
                    <a:pt x="51816" y="37846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8840503" y="2917222"/>
              <a:ext cx="55244" cy="567055"/>
            </a:xfrm>
            <a:custGeom>
              <a:avLst/>
              <a:gdLst/>
              <a:ahLst/>
              <a:cxnLst/>
              <a:rect l="l" t="t" r="r" b="b"/>
              <a:pathLst>
                <a:path w="55245" h="567054">
                  <a:moveTo>
                    <a:pt x="12184" y="0"/>
                  </a:moveTo>
                  <a:lnTo>
                    <a:pt x="12184" y="89903"/>
                  </a:lnTo>
                  <a:lnTo>
                    <a:pt x="9130" y="89903"/>
                  </a:lnTo>
                  <a:lnTo>
                    <a:pt x="9130" y="179837"/>
                  </a:lnTo>
                  <a:lnTo>
                    <a:pt x="4565" y="179837"/>
                  </a:lnTo>
                  <a:lnTo>
                    <a:pt x="4565" y="263626"/>
                  </a:lnTo>
                  <a:lnTo>
                    <a:pt x="3023" y="263626"/>
                  </a:lnTo>
                  <a:lnTo>
                    <a:pt x="3023" y="377925"/>
                  </a:lnTo>
                  <a:lnTo>
                    <a:pt x="0" y="377925"/>
                  </a:lnTo>
                  <a:lnTo>
                    <a:pt x="0" y="566888"/>
                  </a:lnTo>
                  <a:lnTo>
                    <a:pt x="54844" y="566888"/>
                  </a:lnTo>
                  <a:lnTo>
                    <a:pt x="54844" y="377925"/>
                  </a:lnTo>
                  <a:lnTo>
                    <a:pt x="51791" y="377925"/>
                  </a:lnTo>
                  <a:lnTo>
                    <a:pt x="51791" y="263626"/>
                  </a:lnTo>
                  <a:lnTo>
                    <a:pt x="48767" y="263626"/>
                  </a:lnTo>
                  <a:lnTo>
                    <a:pt x="48767" y="179837"/>
                  </a:lnTo>
                  <a:lnTo>
                    <a:pt x="45714" y="179837"/>
                  </a:lnTo>
                  <a:lnTo>
                    <a:pt x="45714" y="89903"/>
                  </a:lnTo>
                  <a:lnTo>
                    <a:pt x="41148" y="89903"/>
                  </a:lnTo>
                  <a:lnTo>
                    <a:pt x="41148" y="0"/>
                  </a:lnTo>
                  <a:lnTo>
                    <a:pt x="12184" y="0"/>
                  </a:lnTo>
                  <a:close/>
                </a:path>
              </a:pathLst>
            </a:custGeom>
            <a:ln w="337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8933474" y="3368284"/>
              <a:ext cx="43180" cy="22860"/>
            </a:xfrm>
            <a:custGeom>
              <a:avLst/>
              <a:gdLst/>
              <a:ahLst/>
              <a:cxnLst/>
              <a:rect l="l" t="t" r="r" b="b"/>
              <a:pathLst>
                <a:path w="43179" h="22860">
                  <a:moveTo>
                    <a:pt x="42671" y="0"/>
                  </a:moveTo>
                  <a:lnTo>
                    <a:pt x="0" y="0"/>
                  </a:lnTo>
                  <a:lnTo>
                    <a:pt x="0" y="22859"/>
                  </a:lnTo>
                  <a:lnTo>
                    <a:pt x="42671" y="22859"/>
                  </a:lnTo>
                  <a:lnTo>
                    <a:pt x="42671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8933443" y="3368305"/>
              <a:ext cx="43180" cy="22860"/>
            </a:xfrm>
            <a:custGeom>
              <a:avLst/>
              <a:gdLst/>
              <a:ahLst/>
              <a:cxnLst/>
              <a:rect l="l" t="t" r="r" b="b"/>
              <a:pathLst>
                <a:path w="43179" h="22860">
                  <a:moveTo>
                    <a:pt x="42690" y="0"/>
                  </a:moveTo>
                  <a:lnTo>
                    <a:pt x="0" y="0"/>
                  </a:lnTo>
                  <a:lnTo>
                    <a:pt x="0" y="22859"/>
                  </a:lnTo>
                  <a:lnTo>
                    <a:pt x="42690" y="22859"/>
                  </a:lnTo>
                  <a:lnTo>
                    <a:pt x="42690" y="0"/>
                  </a:lnTo>
                  <a:close/>
                </a:path>
              </a:pathLst>
            </a:custGeom>
            <a:ln w="3416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8921282" y="3386553"/>
              <a:ext cx="67310" cy="96520"/>
            </a:xfrm>
            <a:custGeom>
              <a:avLst/>
              <a:gdLst/>
              <a:ahLst/>
              <a:cxnLst/>
              <a:rect l="l" t="t" r="r" b="b"/>
              <a:pathLst>
                <a:path w="67309" h="96520">
                  <a:moveTo>
                    <a:pt x="67044" y="0"/>
                  </a:moveTo>
                  <a:lnTo>
                    <a:pt x="0" y="0"/>
                  </a:lnTo>
                  <a:lnTo>
                    <a:pt x="0" y="96000"/>
                  </a:lnTo>
                  <a:lnTo>
                    <a:pt x="67044" y="96000"/>
                  </a:lnTo>
                  <a:lnTo>
                    <a:pt x="67044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8921259" y="3386587"/>
              <a:ext cx="67310" cy="96520"/>
            </a:xfrm>
            <a:custGeom>
              <a:avLst/>
              <a:gdLst/>
              <a:ahLst/>
              <a:cxnLst/>
              <a:rect l="l" t="t" r="r" b="b"/>
              <a:pathLst>
                <a:path w="67309" h="96520">
                  <a:moveTo>
                    <a:pt x="67059" y="0"/>
                  </a:moveTo>
                  <a:lnTo>
                    <a:pt x="0" y="0"/>
                  </a:lnTo>
                  <a:lnTo>
                    <a:pt x="0" y="95986"/>
                  </a:lnTo>
                  <a:lnTo>
                    <a:pt x="67059" y="95986"/>
                  </a:lnTo>
                  <a:lnTo>
                    <a:pt x="67059" y="0"/>
                  </a:lnTo>
                  <a:close/>
                </a:path>
              </a:pathLst>
            </a:custGeom>
            <a:ln w="3391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8867942" y="3491709"/>
              <a:ext cx="226060" cy="117475"/>
            </a:xfrm>
            <a:custGeom>
              <a:avLst/>
              <a:gdLst/>
              <a:ahLst/>
              <a:cxnLst/>
              <a:rect l="l" t="t" r="r" b="b"/>
              <a:pathLst>
                <a:path w="226059" h="117475">
                  <a:moveTo>
                    <a:pt x="225540" y="0"/>
                  </a:moveTo>
                  <a:lnTo>
                    <a:pt x="0" y="0"/>
                  </a:lnTo>
                  <a:lnTo>
                    <a:pt x="0" y="117336"/>
                  </a:lnTo>
                  <a:lnTo>
                    <a:pt x="225540" y="117336"/>
                  </a:lnTo>
                  <a:lnTo>
                    <a:pt x="225540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8867926" y="3491730"/>
              <a:ext cx="226060" cy="117475"/>
            </a:xfrm>
            <a:custGeom>
              <a:avLst/>
              <a:gdLst/>
              <a:ahLst/>
              <a:cxnLst/>
              <a:rect l="l" t="t" r="r" b="b"/>
              <a:pathLst>
                <a:path w="226059" h="117475">
                  <a:moveTo>
                    <a:pt x="225546" y="0"/>
                  </a:moveTo>
                  <a:lnTo>
                    <a:pt x="0" y="0"/>
                  </a:lnTo>
                  <a:lnTo>
                    <a:pt x="0" y="117341"/>
                  </a:lnTo>
                  <a:lnTo>
                    <a:pt x="225546" y="117341"/>
                  </a:lnTo>
                  <a:lnTo>
                    <a:pt x="225546" y="0"/>
                  </a:lnTo>
                  <a:close/>
                </a:path>
              </a:pathLst>
            </a:custGeom>
            <a:ln w="3417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8860322" y="3479505"/>
              <a:ext cx="241300" cy="17145"/>
            </a:xfrm>
            <a:custGeom>
              <a:avLst/>
              <a:gdLst/>
              <a:ahLst/>
              <a:cxnLst/>
              <a:rect l="l" t="t" r="r" b="b"/>
              <a:pathLst>
                <a:path w="241300" h="17145">
                  <a:moveTo>
                    <a:pt x="240780" y="0"/>
                  </a:moveTo>
                  <a:lnTo>
                    <a:pt x="0" y="0"/>
                  </a:lnTo>
                  <a:lnTo>
                    <a:pt x="0" y="16763"/>
                  </a:lnTo>
                  <a:lnTo>
                    <a:pt x="240780" y="16763"/>
                  </a:lnTo>
                  <a:lnTo>
                    <a:pt x="240780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8860307" y="3479532"/>
              <a:ext cx="241300" cy="17145"/>
            </a:xfrm>
            <a:custGeom>
              <a:avLst/>
              <a:gdLst/>
              <a:ahLst/>
              <a:cxnLst/>
              <a:rect l="l" t="t" r="r" b="b"/>
              <a:pathLst>
                <a:path w="241300" h="17145">
                  <a:moveTo>
                    <a:pt x="240784" y="0"/>
                  </a:moveTo>
                  <a:lnTo>
                    <a:pt x="0" y="0"/>
                  </a:lnTo>
                  <a:lnTo>
                    <a:pt x="0" y="16776"/>
                  </a:lnTo>
                  <a:lnTo>
                    <a:pt x="240784" y="16776"/>
                  </a:lnTo>
                  <a:lnTo>
                    <a:pt x="240784" y="0"/>
                  </a:lnTo>
                  <a:close/>
                </a:path>
              </a:pathLst>
            </a:custGeom>
            <a:ln w="342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8886230" y="3511521"/>
              <a:ext cx="44450" cy="76200"/>
            </a:xfrm>
            <a:custGeom>
              <a:avLst/>
              <a:gdLst/>
              <a:ahLst/>
              <a:cxnLst/>
              <a:rect l="l" t="t" r="r" b="b"/>
              <a:pathLst>
                <a:path w="44450" h="76200">
                  <a:moveTo>
                    <a:pt x="44195" y="0"/>
                  </a:moveTo>
                  <a:lnTo>
                    <a:pt x="0" y="0"/>
                  </a:lnTo>
                  <a:lnTo>
                    <a:pt x="0" y="76188"/>
                  </a:lnTo>
                  <a:lnTo>
                    <a:pt x="44195" y="76188"/>
                  </a:lnTo>
                  <a:lnTo>
                    <a:pt x="44195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8886217" y="3511548"/>
              <a:ext cx="44450" cy="76200"/>
            </a:xfrm>
            <a:custGeom>
              <a:avLst/>
              <a:gdLst/>
              <a:ahLst/>
              <a:cxnLst/>
              <a:rect l="l" t="t" r="r" b="b"/>
              <a:pathLst>
                <a:path w="44450" h="76200">
                  <a:moveTo>
                    <a:pt x="44202" y="0"/>
                  </a:moveTo>
                  <a:lnTo>
                    <a:pt x="0" y="0"/>
                  </a:lnTo>
                  <a:lnTo>
                    <a:pt x="0" y="76168"/>
                  </a:lnTo>
                  <a:lnTo>
                    <a:pt x="44202" y="76168"/>
                  </a:lnTo>
                  <a:lnTo>
                    <a:pt x="44202" y="0"/>
                  </a:lnTo>
                  <a:close/>
                </a:path>
              </a:pathLst>
            </a:custGeom>
            <a:ln w="3387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9024883" y="3511521"/>
              <a:ext cx="44450" cy="76200"/>
            </a:xfrm>
            <a:custGeom>
              <a:avLst/>
              <a:gdLst/>
              <a:ahLst/>
              <a:cxnLst/>
              <a:rect l="l" t="t" r="r" b="b"/>
              <a:pathLst>
                <a:path w="44450" h="76200">
                  <a:moveTo>
                    <a:pt x="44195" y="0"/>
                  </a:moveTo>
                  <a:lnTo>
                    <a:pt x="0" y="0"/>
                  </a:lnTo>
                  <a:lnTo>
                    <a:pt x="0" y="76188"/>
                  </a:lnTo>
                  <a:lnTo>
                    <a:pt x="44195" y="76188"/>
                  </a:lnTo>
                  <a:lnTo>
                    <a:pt x="44195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9024871" y="3511548"/>
              <a:ext cx="44450" cy="76200"/>
            </a:xfrm>
            <a:custGeom>
              <a:avLst/>
              <a:gdLst/>
              <a:ahLst/>
              <a:cxnLst/>
              <a:rect l="l" t="t" r="r" b="b"/>
              <a:pathLst>
                <a:path w="44450" h="76200">
                  <a:moveTo>
                    <a:pt x="44202" y="0"/>
                  </a:moveTo>
                  <a:lnTo>
                    <a:pt x="0" y="0"/>
                  </a:lnTo>
                  <a:lnTo>
                    <a:pt x="0" y="76168"/>
                  </a:lnTo>
                  <a:lnTo>
                    <a:pt x="44202" y="76168"/>
                  </a:lnTo>
                  <a:lnTo>
                    <a:pt x="44202" y="0"/>
                  </a:lnTo>
                  <a:close/>
                </a:path>
              </a:pathLst>
            </a:custGeom>
            <a:ln w="3387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8954810" y="3511521"/>
              <a:ext cx="45720" cy="76200"/>
            </a:xfrm>
            <a:custGeom>
              <a:avLst/>
              <a:gdLst/>
              <a:ahLst/>
              <a:cxnLst/>
              <a:rect l="l" t="t" r="r" b="b"/>
              <a:pathLst>
                <a:path w="45720" h="76200">
                  <a:moveTo>
                    <a:pt x="45708" y="0"/>
                  </a:moveTo>
                  <a:lnTo>
                    <a:pt x="0" y="0"/>
                  </a:lnTo>
                  <a:lnTo>
                    <a:pt x="0" y="76188"/>
                  </a:lnTo>
                  <a:lnTo>
                    <a:pt x="45708" y="76188"/>
                  </a:lnTo>
                  <a:lnTo>
                    <a:pt x="45708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8954788" y="3511548"/>
              <a:ext cx="45720" cy="76200"/>
            </a:xfrm>
            <a:custGeom>
              <a:avLst/>
              <a:gdLst/>
              <a:ahLst/>
              <a:cxnLst/>
              <a:rect l="l" t="t" r="r" b="b"/>
              <a:pathLst>
                <a:path w="45720" h="76200">
                  <a:moveTo>
                    <a:pt x="45714" y="0"/>
                  </a:moveTo>
                  <a:lnTo>
                    <a:pt x="0" y="0"/>
                  </a:lnTo>
                  <a:lnTo>
                    <a:pt x="0" y="76168"/>
                  </a:lnTo>
                  <a:lnTo>
                    <a:pt x="45714" y="76168"/>
                  </a:lnTo>
                  <a:lnTo>
                    <a:pt x="45714" y="0"/>
                  </a:lnTo>
                  <a:close/>
                </a:path>
              </a:pathLst>
            </a:custGeom>
            <a:ln w="338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7866735" y="3438357"/>
              <a:ext cx="73660" cy="44450"/>
            </a:xfrm>
            <a:custGeom>
              <a:avLst/>
              <a:gdLst/>
              <a:ahLst/>
              <a:cxnLst/>
              <a:rect l="l" t="t" r="r" b="b"/>
              <a:pathLst>
                <a:path w="73659" h="44450">
                  <a:moveTo>
                    <a:pt x="73151" y="0"/>
                  </a:moveTo>
                  <a:lnTo>
                    <a:pt x="0" y="0"/>
                  </a:lnTo>
                  <a:lnTo>
                    <a:pt x="0" y="44195"/>
                  </a:lnTo>
                  <a:lnTo>
                    <a:pt x="73151" y="44195"/>
                  </a:lnTo>
                  <a:lnTo>
                    <a:pt x="73151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7866751" y="3438390"/>
              <a:ext cx="73660" cy="44450"/>
            </a:xfrm>
            <a:custGeom>
              <a:avLst/>
              <a:gdLst/>
              <a:ahLst/>
              <a:cxnLst/>
              <a:rect l="l" t="t" r="r" b="b"/>
              <a:pathLst>
                <a:path w="73659" h="44450">
                  <a:moveTo>
                    <a:pt x="73136" y="0"/>
                  </a:moveTo>
                  <a:lnTo>
                    <a:pt x="0" y="0"/>
                  </a:lnTo>
                  <a:lnTo>
                    <a:pt x="0" y="44183"/>
                  </a:lnTo>
                  <a:lnTo>
                    <a:pt x="73136" y="44183"/>
                  </a:lnTo>
                  <a:lnTo>
                    <a:pt x="73136" y="0"/>
                  </a:lnTo>
                  <a:close/>
                </a:path>
              </a:pathLst>
            </a:custGeom>
            <a:ln w="341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7734177" y="3491709"/>
              <a:ext cx="218440" cy="117475"/>
            </a:xfrm>
            <a:custGeom>
              <a:avLst/>
              <a:gdLst/>
              <a:ahLst/>
              <a:cxnLst/>
              <a:rect l="l" t="t" r="r" b="b"/>
              <a:pathLst>
                <a:path w="218440" h="117475">
                  <a:moveTo>
                    <a:pt x="0" y="117336"/>
                  </a:moveTo>
                  <a:lnTo>
                    <a:pt x="217901" y="117336"/>
                  </a:lnTo>
                  <a:lnTo>
                    <a:pt x="217901" y="0"/>
                  </a:lnTo>
                  <a:lnTo>
                    <a:pt x="0" y="0"/>
                  </a:lnTo>
                  <a:lnTo>
                    <a:pt x="0" y="117336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7734174" y="3491730"/>
              <a:ext cx="224154" cy="117475"/>
            </a:xfrm>
            <a:custGeom>
              <a:avLst/>
              <a:gdLst/>
              <a:ahLst/>
              <a:cxnLst/>
              <a:rect l="l" t="t" r="r" b="b"/>
              <a:pathLst>
                <a:path w="224154" h="117475">
                  <a:moveTo>
                    <a:pt x="224005" y="0"/>
                  </a:moveTo>
                  <a:lnTo>
                    <a:pt x="0" y="0"/>
                  </a:lnTo>
                  <a:lnTo>
                    <a:pt x="0" y="117341"/>
                  </a:lnTo>
                  <a:lnTo>
                    <a:pt x="224005" y="117341"/>
                  </a:lnTo>
                  <a:lnTo>
                    <a:pt x="224005" y="0"/>
                  </a:lnTo>
                  <a:close/>
                </a:path>
              </a:pathLst>
            </a:custGeom>
            <a:ln w="3416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7726557" y="3479505"/>
              <a:ext cx="239395" cy="17145"/>
            </a:xfrm>
            <a:custGeom>
              <a:avLst/>
              <a:gdLst/>
              <a:ahLst/>
              <a:cxnLst/>
              <a:rect l="l" t="t" r="r" b="b"/>
              <a:pathLst>
                <a:path w="239395" h="17145">
                  <a:moveTo>
                    <a:pt x="239256" y="0"/>
                  </a:moveTo>
                  <a:lnTo>
                    <a:pt x="0" y="0"/>
                  </a:lnTo>
                  <a:lnTo>
                    <a:pt x="0" y="16763"/>
                  </a:lnTo>
                  <a:lnTo>
                    <a:pt x="239256" y="16763"/>
                  </a:lnTo>
                  <a:lnTo>
                    <a:pt x="239256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7726555" y="3479532"/>
              <a:ext cx="239395" cy="17145"/>
            </a:xfrm>
            <a:custGeom>
              <a:avLst/>
              <a:gdLst/>
              <a:ahLst/>
              <a:cxnLst/>
              <a:rect l="l" t="t" r="r" b="b"/>
              <a:pathLst>
                <a:path w="239395" h="17145">
                  <a:moveTo>
                    <a:pt x="239243" y="0"/>
                  </a:moveTo>
                  <a:lnTo>
                    <a:pt x="0" y="0"/>
                  </a:lnTo>
                  <a:lnTo>
                    <a:pt x="0" y="16776"/>
                  </a:lnTo>
                  <a:lnTo>
                    <a:pt x="239243" y="16776"/>
                  </a:lnTo>
                  <a:lnTo>
                    <a:pt x="239243" y="0"/>
                  </a:lnTo>
                  <a:close/>
                </a:path>
              </a:pathLst>
            </a:custGeom>
            <a:ln w="342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7888071" y="3511521"/>
              <a:ext cx="52069" cy="76200"/>
            </a:xfrm>
            <a:custGeom>
              <a:avLst/>
              <a:gdLst/>
              <a:ahLst/>
              <a:cxnLst/>
              <a:rect l="l" t="t" r="r" b="b"/>
              <a:pathLst>
                <a:path w="52070" h="76200">
                  <a:moveTo>
                    <a:pt x="51815" y="0"/>
                  </a:moveTo>
                  <a:lnTo>
                    <a:pt x="0" y="0"/>
                  </a:lnTo>
                  <a:lnTo>
                    <a:pt x="0" y="76188"/>
                  </a:lnTo>
                  <a:lnTo>
                    <a:pt x="51815" y="76188"/>
                  </a:lnTo>
                  <a:lnTo>
                    <a:pt x="51815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7888066" y="3511548"/>
              <a:ext cx="52069" cy="76200"/>
            </a:xfrm>
            <a:custGeom>
              <a:avLst/>
              <a:gdLst/>
              <a:ahLst/>
              <a:cxnLst/>
              <a:rect l="l" t="t" r="r" b="b"/>
              <a:pathLst>
                <a:path w="52070" h="76200">
                  <a:moveTo>
                    <a:pt x="51821" y="0"/>
                  </a:moveTo>
                  <a:lnTo>
                    <a:pt x="0" y="0"/>
                  </a:lnTo>
                  <a:lnTo>
                    <a:pt x="0" y="76168"/>
                  </a:lnTo>
                  <a:lnTo>
                    <a:pt x="51821" y="76168"/>
                  </a:lnTo>
                  <a:lnTo>
                    <a:pt x="51821" y="0"/>
                  </a:lnTo>
                  <a:close/>
                </a:path>
              </a:pathLst>
            </a:custGeom>
            <a:ln w="3391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7"/>
            <p:cNvSpPr/>
            <p:nvPr/>
          </p:nvSpPr>
          <p:spPr>
            <a:xfrm>
              <a:off x="7749417" y="3511521"/>
              <a:ext cx="52069" cy="76200"/>
            </a:xfrm>
            <a:custGeom>
              <a:avLst/>
              <a:gdLst/>
              <a:ahLst/>
              <a:cxnLst/>
              <a:rect l="l" t="t" r="r" b="b"/>
              <a:pathLst>
                <a:path w="52070" h="76200">
                  <a:moveTo>
                    <a:pt x="51815" y="0"/>
                  </a:moveTo>
                  <a:lnTo>
                    <a:pt x="0" y="0"/>
                  </a:lnTo>
                  <a:lnTo>
                    <a:pt x="0" y="76188"/>
                  </a:lnTo>
                  <a:lnTo>
                    <a:pt x="51815" y="76188"/>
                  </a:lnTo>
                  <a:lnTo>
                    <a:pt x="51815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7749412" y="3511548"/>
              <a:ext cx="52069" cy="76200"/>
            </a:xfrm>
            <a:custGeom>
              <a:avLst/>
              <a:gdLst/>
              <a:ahLst/>
              <a:cxnLst/>
              <a:rect l="l" t="t" r="r" b="b"/>
              <a:pathLst>
                <a:path w="52070" h="76200">
                  <a:moveTo>
                    <a:pt x="51821" y="0"/>
                  </a:moveTo>
                  <a:lnTo>
                    <a:pt x="0" y="0"/>
                  </a:lnTo>
                  <a:lnTo>
                    <a:pt x="0" y="76168"/>
                  </a:lnTo>
                  <a:lnTo>
                    <a:pt x="51821" y="76168"/>
                  </a:lnTo>
                  <a:lnTo>
                    <a:pt x="51821" y="0"/>
                  </a:lnTo>
                  <a:close/>
                </a:path>
              </a:pathLst>
            </a:custGeom>
            <a:ln w="3391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/>
            <p:cNvSpPr/>
            <p:nvPr/>
          </p:nvSpPr>
          <p:spPr>
            <a:xfrm>
              <a:off x="7819521" y="3511521"/>
              <a:ext cx="52069" cy="76200"/>
            </a:xfrm>
            <a:custGeom>
              <a:avLst/>
              <a:gdLst/>
              <a:ahLst/>
              <a:cxnLst/>
              <a:rect l="l" t="t" r="r" b="b"/>
              <a:pathLst>
                <a:path w="52070" h="76200">
                  <a:moveTo>
                    <a:pt x="51804" y="0"/>
                  </a:moveTo>
                  <a:lnTo>
                    <a:pt x="0" y="0"/>
                  </a:lnTo>
                  <a:lnTo>
                    <a:pt x="0" y="76188"/>
                  </a:lnTo>
                  <a:lnTo>
                    <a:pt x="51804" y="76188"/>
                  </a:lnTo>
                  <a:lnTo>
                    <a:pt x="51804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0"/>
            <p:cNvSpPr/>
            <p:nvPr/>
          </p:nvSpPr>
          <p:spPr>
            <a:xfrm>
              <a:off x="7819495" y="3511548"/>
              <a:ext cx="52069" cy="76200"/>
            </a:xfrm>
            <a:custGeom>
              <a:avLst/>
              <a:gdLst/>
              <a:ahLst/>
              <a:cxnLst/>
              <a:rect l="l" t="t" r="r" b="b"/>
              <a:pathLst>
                <a:path w="52070" h="76200">
                  <a:moveTo>
                    <a:pt x="51821" y="0"/>
                  </a:moveTo>
                  <a:lnTo>
                    <a:pt x="0" y="0"/>
                  </a:lnTo>
                  <a:lnTo>
                    <a:pt x="0" y="76168"/>
                  </a:lnTo>
                  <a:lnTo>
                    <a:pt x="51821" y="76168"/>
                  </a:lnTo>
                  <a:lnTo>
                    <a:pt x="51821" y="0"/>
                  </a:lnTo>
                  <a:close/>
                </a:path>
              </a:pathLst>
            </a:custGeom>
            <a:ln w="3391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/>
            <p:cNvSpPr/>
            <p:nvPr/>
          </p:nvSpPr>
          <p:spPr>
            <a:xfrm>
              <a:off x="7952079" y="3285981"/>
              <a:ext cx="914400" cy="344805"/>
            </a:xfrm>
            <a:custGeom>
              <a:avLst/>
              <a:gdLst/>
              <a:ahLst/>
              <a:cxnLst/>
              <a:rect l="l" t="t" r="r" b="b"/>
              <a:pathLst>
                <a:path w="914400" h="344804">
                  <a:moveTo>
                    <a:pt x="914317" y="0"/>
                  </a:moveTo>
                  <a:lnTo>
                    <a:pt x="0" y="0"/>
                  </a:lnTo>
                  <a:lnTo>
                    <a:pt x="0" y="344399"/>
                  </a:lnTo>
                  <a:lnTo>
                    <a:pt x="914317" y="344399"/>
                  </a:lnTo>
                  <a:lnTo>
                    <a:pt x="914317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7952072" y="3285991"/>
              <a:ext cx="914400" cy="344805"/>
            </a:xfrm>
            <a:custGeom>
              <a:avLst/>
              <a:gdLst/>
              <a:ahLst/>
              <a:cxnLst/>
              <a:rect l="l" t="t" r="r" b="b"/>
              <a:pathLst>
                <a:path w="914400" h="344804">
                  <a:moveTo>
                    <a:pt x="914342" y="0"/>
                  </a:moveTo>
                  <a:lnTo>
                    <a:pt x="0" y="0"/>
                  </a:lnTo>
                  <a:lnTo>
                    <a:pt x="0" y="344404"/>
                  </a:lnTo>
                  <a:lnTo>
                    <a:pt x="914342" y="344404"/>
                  </a:lnTo>
                  <a:lnTo>
                    <a:pt x="914342" y="0"/>
                  </a:lnTo>
                  <a:close/>
                </a:path>
              </a:pathLst>
            </a:custGeom>
            <a:ln w="3421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3"/>
            <p:cNvSpPr/>
            <p:nvPr/>
          </p:nvSpPr>
          <p:spPr>
            <a:xfrm>
              <a:off x="8180679" y="3229611"/>
              <a:ext cx="66040" cy="40005"/>
            </a:xfrm>
            <a:custGeom>
              <a:avLst/>
              <a:gdLst/>
              <a:ahLst/>
              <a:cxnLst/>
              <a:rect l="l" t="t" r="r" b="b"/>
              <a:pathLst>
                <a:path w="66040" h="40004">
                  <a:moveTo>
                    <a:pt x="65531" y="0"/>
                  </a:moveTo>
                  <a:lnTo>
                    <a:pt x="0" y="0"/>
                  </a:lnTo>
                  <a:lnTo>
                    <a:pt x="0" y="39612"/>
                  </a:lnTo>
                  <a:lnTo>
                    <a:pt x="65531" y="39612"/>
                  </a:lnTo>
                  <a:lnTo>
                    <a:pt x="65531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4"/>
            <p:cNvSpPr/>
            <p:nvPr/>
          </p:nvSpPr>
          <p:spPr>
            <a:xfrm>
              <a:off x="8180673" y="3229640"/>
              <a:ext cx="66040" cy="40005"/>
            </a:xfrm>
            <a:custGeom>
              <a:avLst/>
              <a:gdLst/>
              <a:ahLst/>
              <a:cxnLst/>
              <a:rect l="l" t="t" r="r" b="b"/>
              <a:pathLst>
                <a:path w="66040" h="40004">
                  <a:moveTo>
                    <a:pt x="65517" y="0"/>
                  </a:moveTo>
                  <a:lnTo>
                    <a:pt x="0" y="0"/>
                  </a:lnTo>
                  <a:lnTo>
                    <a:pt x="0" y="39605"/>
                  </a:lnTo>
                  <a:lnTo>
                    <a:pt x="65517" y="39605"/>
                  </a:lnTo>
                  <a:lnTo>
                    <a:pt x="65517" y="0"/>
                  </a:lnTo>
                  <a:close/>
                </a:path>
              </a:pathLst>
            </a:custGeom>
            <a:ln w="341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45"/>
            <p:cNvSpPr/>
            <p:nvPr/>
          </p:nvSpPr>
          <p:spPr>
            <a:xfrm>
              <a:off x="8346764" y="3218943"/>
              <a:ext cx="90170" cy="55244"/>
            </a:xfrm>
            <a:custGeom>
              <a:avLst/>
              <a:gdLst/>
              <a:ahLst/>
              <a:cxnLst/>
              <a:rect l="l" t="t" r="r" b="b"/>
              <a:pathLst>
                <a:path w="90170" h="55245">
                  <a:moveTo>
                    <a:pt x="89904" y="0"/>
                  </a:moveTo>
                  <a:lnTo>
                    <a:pt x="0" y="0"/>
                  </a:lnTo>
                  <a:lnTo>
                    <a:pt x="0" y="54852"/>
                  </a:lnTo>
                  <a:lnTo>
                    <a:pt x="89904" y="54852"/>
                  </a:lnTo>
                  <a:lnTo>
                    <a:pt x="89904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6"/>
            <p:cNvSpPr/>
            <p:nvPr/>
          </p:nvSpPr>
          <p:spPr>
            <a:xfrm>
              <a:off x="8346779" y="3218948"/>
              <a:ext cx="90170" cy="55244"/>
            </a:xfrm>
            <a:custGeom>
              <a:avLst/>
              <a:gdLst/>
              <a:ahLst/>
              <a:cxnLst/>
              <a:rect l="l" t="t" r="r" b="b"/>
              <a:pathLst>
                <a:path w="90170" h="55245">
                  <a:moveTo>
                    <a:pt x="89886" y="0"/>
                  </a:moveTo>
                  <a:lnTo>
                    <a:pt x="0" y="0"/>
                  </a:lnTo>
                  <a:lnTo>
                    <a:pt x="0" y="54876"/>
                  </a:lnTo>
                  <a:lnTo>
                    <a:pt x="89886" y="54876"/>
                  </a:lnTo>
                  <a:lnTo>
                    <a:pt x="89886" y="0"/>
                  </a:lnTo>
                  <a:close/>
                </a:path>
              </a:pathLst>
            </a:custGeom>
            <a:ln w="3413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7"/>
            <p:cNvSpPr/>
            <p:nvPr/>
          </p:nvSpPr>
          <p:spPr>
            <a:xfrm>
              <a:off x="7935315" y="3266187"/>
              <a:ext cx="948055" cy="26034"/>
            </a:xfrm>
            <a:custGeom>
              <a:avLst/>
              <a:gdLst/>
              <a:ahLst/>
              <a:cxnLst/>
              <a:rect l="l" t="t" r="r" b="b"/>
              <a:pathLst>
                <a:path w="948054" h="26035">
                  <a:moveTo>
                    <a:pt x="947845" y="0"/>
                  </a:moveTo>
                  <a:lnTo>
                    <a:pt x="0" y="0"/>
                  </a:lnTo>
                  <a:lnTo>
                    <a:pt x="0" y="25896"/>
                  </a:lnTo>
                  <a:lnTo>
                    <a:pt x="947845" y="25896"/>
                  </a:lnTo>
                  <a:lnTo>
                    <a:pt x="947845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8"/>
            <p:cNvSpPr/>
            <p:nvPr/>
          </p:nvSpPr>
          <p:spPr>
            <a:xfrm>
              <a:off x="7935322" y="3266204"/>
              <a:ext cx="948055" cy="26034"/>
            </a:xfrm>
            <a:custGeom>
              <a:avLst/>
              <a:gdLst/>
              <a:ahLst/>
              <a:cxnLst/>
              <a:rect l="l" t="t" r="r" b="b"/>
              <a:pathLst>
                <a:path w="948054" h="26035">
                  <a:moveTo>
                    <a:pt x="947841" y="0"/>
                  </a:moveTo>
                  <a:lnTo>
                    <a:pt x="0" y="0"/>
                  </a:lnTo>
                  <a:lnTo>
                    <a:pt x="0" y="25901"/>
                  </a:lnTo>
                  <a:lnTo>
                    <a:pt x="947841" y="25901"/>
                  </a:lnTo>
                  <a:lnTo>
                    <a:pt x="947841" y="0"/>
                  </a:lnTo>
                  <a:close/>
                </a:path>
              </a:pathLst>
            </a:custGeom>
            <a:ln w="342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49"/>
            <p:cNvSpPr/>
            <p:nvPr/>
          </p:nvSpPr>
          <p:spPr>
            <a:xfrm>
              <a:off x="7952079" y="3455121"/>
              <a:ext cx="914400" cy="10795"/>
            </a:xfrm>
            <a:custGeom>
              <a:avLst/>
              <a:gdLst/>
              <a:ahLst/>
              <a:cxnLst/>
              <a:rect l="l" t="t" r="r" b="b"/>
              <a:pathLst>
                <a:path w="914400" h="10795">
                  <a:moveTo>
                    <a:pt x="914317" y="0"/>
                  </a:moveTo>
                  <a:lnTo>
                    <a:pt x="0" y="0"/>
                  </a:lnTo>
                  <a:lnTo>
                    <a:pt x="0" y="10667"/>
                  </a:lnTo>
                  <a:lnTo>
                    <a:pt x="914317" y="10667"/>
                  </a:lnTo>
                  <a:lnTo>
                    <a:pt x="914317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50"/>
            <p:cNvSpPr/>
            <p:nvPr/>
          </p:nvSpPr>
          <p:spPr>
            <a:xfrm>
              <a:off x="7952072" y="3455167"/>
              <a:ext cx="914400" cy="10795"/>
            </a:xfrm>
            <a:custGeom>
              <a:avLst/>
              <a:gdLst/>
              <a:ahLst/>
              <a:cxnLst/>
              <a:rect l="l" t="t" r="r" b="b"/>
              <a:pathLst>
                <a:path w="914400" h="10795">
                  <a:moveTo>
                    <a:pt x="914342" y="0"/>
                  </a:moveTo>
                  <a:lnTo>
                    <a:pt x="0" y="0"/>
                  </a:lnTo>
                  <a:lnTo>
                    <a:pt x="0" y="10661"/>
                  </a:lnTo>
                  <a:lnTo>
                    <a:pt x="914342" y="10661"/>
                  </a:lnTo>
                  <a:lnTo>
                    <a:pt x="914342" y="0"/>
                  </a:lnTo>
                  <a:close/>
                </a:path>
              </a:pathLst>
            </a:custGeom>
            <a:ln w="342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51"/>
            <p:cNvSpPr/>
            <p:nvPr/>
          </p:nvSpPr>
          <p:spPr>
            <a:xfrm>
              <a:off x="8099907" y="3487137"/>
              <a:ext cx="100965" cy="100965"/>
            </a:xfrm>
            <a:custGeom>
              <a:avLst/>
              <a:gdLst/>
              <a:ahLst/>
              <a:cxnLst/>
              <a:rect l="l" t="t" r="r" b="b"/>
              <a:pathLst>
                <a:path w="100965" h="100964">
                  <a:moveTo>
                    <a:pt x="100572" y="0"/>
                  </a:moveTo>
                  <a:lnTo>
                    <a:pt x="0" y="0"/>
                  </a:lnTo>
                  <a:lnTo>
                    <a:pt x="0" y="100572"/>
                  </a:lnTo>
                  <a:lnTo>
                    <a:pt x="100572" y="100572"/>
                  </a:lnTo>
                  <a:lnTo>
                    <a:pt x="100572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52"/>
            <p:cNvSpPr/>
            <p:nvPr/>
          </p:nvSpPr>
          <p:spPr>
            <a:xfrm>
              <a:off x="8099887" y="3487152"/>
              <a:ext cx="100965" cy="100965"/>
            </a:xfrm>
            <a:custGeom>
              <a:avLst/>
              <a:gdLst/>
              <a:ahLst/>
              <a:cxnLst/>
              <a:rect l="l" t="t" r="r" b="b"/>
              <a:pathLst>
                <a:path w="100965" h="100964">
                  <a:moveTo>
                    <a:pt x="100589" y="0"/>
                  </a:moveTo>
                  <a:lnTo>
                    <a:pt x="0" y="0"/>
                  </a:lnTo>
                  <a:lnTo>
                    <a:pt x="0" y="100565"/>
                  </a:lnTo>
                  <a:lnTo>
                    <a:pt x="100589" y="100565"/>
                  </a:lnTo>
                  <a:lnTo>
                    <a:pt x="100589" y="0"/>
                  </a:lnTo>
                  <a:close/>
                </a:path>
              </a:pathLst>
            </a:custGeom>
            <a:ln w="3401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53"/>
            <p:cNvSpPr/>
            <p:nvPr/>
          </p:nvSpPr>
          <p:spPr>
            <a:xfrm>
              <a:off x="8095335" y="3590757"/>
              <a:ext cx="109855" cy="6350"/>
            </a:xfrm>
            <a:custGeom>
              <a:avLst/>
              <a:gdLst/>
              <a:ahLst/>
              <a:cxnLst/>
              <a:rect l="l" t="t" r="r" b="b"/>
              <a:pathLst>
                <a:path w="109854" h="6350">
                  <a:moveTo>
                    <a:pt x="109716" y="0"/>
                  </a:moveTo>
                  <a:lnTo>
                    <a:pt x="0" y="0"/>
                  </a:lnTo>
                  <a:lnTo>
                    <a:pt x="0" y="6095"/>
                  </a:lnTo>
                  <a:lnTo>
                    <a:pt x="109716" y="6095"/>
                  </a:lnTo>
                  <a:lnTo>
                    <a:pt x="109716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4"/>
            <p:cNvSpPr/>
            <p:nvPr/>
          </p:nvSpPr>
          <p:spPr>
            <a:xfrm>
              <a:off x="8095322" y="3590790"/>
              <a:ext cx="109855" cy="6350"/>
            </a:xfrm>
            <a:custGeom>
              <a:avLst/>
              <a:gdLst/>
              <a:ahLst/>
              <a:cxnLst/>
              <a:rect l="l" t="t" r="r" b="b"/>
              <a:pathLst>
                <a:path w="109854" h="6350">
                  <a:moveTo>
                    <a:pt x="109719" y="0"/>
                  </a:moveTo>
                  <a:lnTo>
                    <a:pt x="0" y="0"/>
                  </a:lnTo>
                  <a:lnTo>
                    <a:pt x="0" y="6083"/>
                  </a:lnTo>
                  <a:lnTo>
                    <a:pt x="109719" y="6083"/>
                  </a:lnTo>
                  <a:lnTo>
                    <a:pt x="109719" y="0"/>
                  </a:lnTo>
                  <a:close/>
                </a:path>
              </a:pathLst>
            </a:custGeom>
            <a:ln w="342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55"/>
            <p:cNvSpPr/>
            <p:nvPr/>
          </p:nvSpPr>
          <p:spPr>
            <a:xfrm>
              <a:off x="8099887" y="3487152"/>
              <a:ext cx="102235" cy="99060"/>
            </a:xfrm>
            <a:custGeom>
              <a:avLst/>
              <a:gdLst/>
              <a:ahLst/>
              <a:cxnLst/>
              <a:rect l="l" t="t" r="r" b="b"/>
              <a:pathLst>
                <a:path w="102234" h="99060">
                  <a:moveTo>
                    <a:pt x="50279" y="0"/>
                  </a:moveTo>
                  <a:lnTo>
                    <a:pt x="50279" y="99059"/>
                  </a:lnTo>
                </a:path>
                <a:path w="102234" h="99060">
                  <a:moveTo>
                    <a:pt x="0" y="50297"/>
                  </a:moveTo>
                  <a:lnTo>
                    <a:pt x="102100" y="51834"/>
                  </a:lnTo>
                </a:path>
              </a:pathLst>
            </a:custGeom>
            <a:ln w="3401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56"/>
            <p:cNvSpPr/>
            <p:nvPr/>
          </p:nvSpPr>
          <p:spPr>
            <a:xfrm>
              <a:off x="8227923" y="3487137"/>
              <a:ext cx="99060" cy="100965"/>
            </a:xfrm>
            <a:custGeom>
              <a:avLst/>
              <a:gdLst/>
              <a:ahLst/>
              <a:cxnLst/>
              <a:rect l="l" t="t" r="r" b="b"/>
              <a:pathLst>
                <a:path w="99059" h="100964">
                  <a:moveTo>
                    <a:pt x="99048" y="0"/>
                  </a:moveTo>
                  <a:lnTo>
                    <a:pt x="0" y="0"/>
                  </a:lnTo>
                  <a:lnTo>
                    <a:pt x="0" y="100572"/>
                  </a:lnTo>
                  <a:lnTo>
                    <a:pt x="99048" y="100572"/>
                  </a:lnTo>
                  <a:lnTo>
                    <a:pt x="99048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57"/>
            <p:cNvSpPr/>
            <p:nvPr/>
          </p:nvSpPr>
          <p:spPr>
            <a:xfrm>
              <a:off x="8227898" y="3487152"/>
              <a:ext cx="99060" cy="100965"/>
            </a:xfrm>
            <a:custGeom>
              <a:avLst/>
              <a:gdLst/>
              <a:ahLst/>
              <a:cxnLst/>
              <a:rect l="l" t="t" r="r" b="b"/>
              <a:pathLst>
                <a:path w="99059" h="100964">
                  <a:moveTo>
                    <a:pt x="99047" y="0"/>
                  </a:moveTo>
                  <a:lnTo>
                    <a:pt x="0" y="0"/>
                  </a:lnTo>
                  <a:lnTo>
                    <a:pt x="0" y="100565"/>
                  </a:lnTo>
                  <a:lnTo>
                    <a:pt x="99047" y="100565"/>
                  </a:lnTo>
                  <a:lnTo>
                    <a:pt x="99047" y="0"/>
                  </a:lnTo>
                  <a:close/>
                </a:path>
              </a:pathLst>
            </a:custGeom>
            <a:ln w="34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58"/>
            <p:cNvSpPr/>
            <p:nvPr/>
          </p:nvSpPr>
          <p:spPr>
            <a:xfrm>
              <a:off x="8221827" y="3590757"/>
              <a:ext cx="111760" cy="6350"/>
            </a:xfrm>
            <a:custGeom>
              <a:avLst/>
              <a:gdLst/>
              <a:ahLst/>
              <a:cxnLst/>
              <a:rect l="l" t="t" r="r" b="b"/>
              <a:pathLst>
                <a:path w="111759" h="6350">
                  <a:moveTo>
                    <a:pt x="111240" y="0"/>
                  </a:moveTo>
                  <a:lnTo>
                    <a:pt x="0" y="0"/>
                  </a:lnTo>
                  <a:lnTo>
                    <a:pt x="0" y="6095"/>
                  </a:lnTo>
                  <a:lnTo>
                    <a:pt x="111240" y="6095"/>
                  </a:lnTo>
                  <a:lnTo>
                    <a:pt x="111240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59"/>
            <p:cNvSpPr/>
            <p:nvPr/>
          </p:nvSpPr>
          <p:spPr>
            <a:xfrm>
              <a:off x="8221821" y="3590790"/>
              <a:ext cx="111760" cy="6350"/>
            </a:xfrm>
            <a:custGeom>
              <a:avLst/>
              <a:gdLst/>
              <a:ahLst/>
              <a:cxnLst/>
              <a:rect l="l" t="t" r="r" b="b"/>
              <a:pathLst>
                <a:path w="111759" h="6350">
                  <a:moveTo>
                    <a:pt x="111231" y="0"/>
                  </a:moveTo>
                  <a:lnTo>
                    <a:pt x="0" y="0"/>
                  </a:lnTo>
                  <a:lnTo>
                    <a:pt x="0" y="6083"/>
                  </a:lnTo>
                  <a:lnTo>
                    <a:pt x="111231" y="6083"/>
                  </a:lnTo>
                  <a:lnTo>
                    <a:pt x="111231" y="0"/>
                  </a:lnTo>
                  <a:close/>
                </a:path>
              </a:pathLst>
            </a:custGeom>
            <a:ln w="342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" name="object 60"/>
            <p:cNvSpPr/>
            <p:nvPr/>
          </p:nvSpPr>
          <p:spPr>
            <a:xfrm>
              <a:off x="8227898" y="3487152"/>
              <a:ext cx="100965" cy="99060"/>
            </a:xfrm>
            <a:custGeom>
              <a:avLst/>
              <a:gdLst/>
              <a:ahLst/>
              <a:cxnLst/>
              <a:rect l="l" t="t" r="r" b="b"/>
              <a:pathLst>
                <a:path w="100965" h="99060">
                  <a:moveTo>
                    <a:pt x="48767" y="0"/>
                  </a:moveTo>
                  <a:lnTo>
                    <a:pt x="50279" y="99059"/>
                  </a:lnTo>
                </a:path>
                <a:path w="100965" h="99060">
                  <a:moveTo>
                    <a:pt x="0" y="50297"/>
                  </a:moveTo>
                  <a:lnTo>
                    <a:pt x="100589" y="50297"/>
                  </a:lnTo>
                </a:path>
              </a:pathLst>
            </a:custGeom>
            <a:ln w="3401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" name="object 61"/>
            <p:cNvSpPr/>
            <p:nvPr/>
          </p:nvSpPr>
          <p:spPr>
            <a:xfrm>
              <a:off x="8732306" y="3487137"/>
              <a:ext cx="99060" cy="100965"/>
            </a:xfrm>
            <a:custGeom>
              <a:avLst/>
              <a:gdLst/>
              <a:ahLst/>
              <a:cxnLst/>
              <a:rect l="l" t="t" r="r" b="b"/>
              <a:pathLst>
                <a:path w="99059" h="100964">
                  <a:moveTo>
                    <a:pt x="99059" y="0"/>
                  </a:moveTo>
                  <a:lnTo>
                    <a:pt x="0" y="0"/>
                  </a:lnTo>
                  <a:lnTo>
                    <a:pt x="0" y="100572"/>
                  </a:lnTo>
                  <a:lnTo>
                    <a:pt x="99059" y="100572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" name="object 62"/>
            <p:cNvSpPr/>
            <p:nvPr/>
          </p:nvSpPr>
          <p:spPr>
            <a:xfrm>
              <a:off x="8732295" y="3487152"/>
              <a:ext cx="99695" cy="100965"/>
            </a:xfrm>
            <a:custGeom>
              <a:avLst/>
              <a:gdLst/>
              <a:ahLst/>
              <a:cxnLst/>
              <a:rect l="l" t="t" r="r" b="b"/>
              <a:pathLst>
                <a:path w="99695" h="100964">
                  <a:moveTo>
                    <a:pt x="99077" y="0"/>
                  </a:moveTo>
                  <a:lnTo>
                    <a:pt x="0" y="0"/>
                  </a:lnTo>
                  <a:lnTo>
                    <a:pt x="0" y="100565"/>
                  </a:lnTo>
                  <a:lnTo>
                    <a:pt x="99077" y="100565"/>
                  </a:lnTo>
                  <a:lnTo>
                    <a:pt x="99077" y="0"/>
                  </a:lnTo>
                  <a:close/>
                </a:path>
              </a:pathLst>
            </a:custGeom>
            <a:ln w="34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" name="object 63"/>
            <p:cNvSpPr/>
            <p:nvPr/>
          </p:nvSpPr>
          <p:spPr>
            <a:xfrm>
              <a:off x="8726210" y="3590757"/>
              <a:ext cx="111760" cy="6350"/>
            </a:xfrm>
            <a:custGeom>
              <a:avLst/>
              <a:gdLst/>
              <a:ahLst/>
              <a:cxnLst/>
              <a:rect l="l" t="t" r="r" b="b"/>
              <a:pathLst>
                <a:path w="111759" h="6350">
                  <a:moveTo>
                    <a:pt x="111251" y="0"/>
                  </a:moveTo>
                  <a:lnTo>
                    <a:pt x="0" y="0"/>
                  </a:lnTo>
                  <a:lnTo>
                    <a:pt x="0" y="6095"/>
                  </a:lnTo>
                  <a:lnTo>
                    <a:pt x="111251" y="6095"/>
                  </a:lnTo>
                  <a:lnTo>
                    <a:pt x="111251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" name="object 64"/>
            <p:cNvSpPr/>
            <p:nvPr/>
          </p:nvSpPr>
          <p:spPr>
            <a:xfrm>
              <a:off x="8726218" y="3590790"/>
              <a:ext cx="111760" cy="6350"/>
            </a:xfrm>
            <a:custGeom>
              <a:avLst/>
              <a:gdLst/>
              <a:ahLst/>
              <a:cxnLst/>
              <a:rect l="l" t="t" r="r" b="b"/>
              <a:pathLst>
                <a:path w="111759" h="6350">
                  <a:moveTo>
                    <a:pt x="111231" y="0"/>
                  </a:moveTo>
                  <a:lnTo>
                    <a:pt x="0" y="0"/>
                  </a:lnTo>
                  <a:lnTo>
                    <a:pt x="0" y="6083"/>
                  </a:lnTo>
                  <a:lnTo>
                    <a:pt x="111231" y="6083"/>
                  </a:lnTo>
                  <a:lnTo>
                    <a:pt x="111231" y="0"/>
                  </a:lnTo>
                  <a:close/>
                </a:path>
              </a:pathLst>
            </a:custGeom>
            <a:ln w="342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" name="object 65"/>
            <p:cNvSpPr/>
            <p:nvPr/>
          </p:nvSpPr>
          <p:spPr>
            <a:xfrm>
              <a:off x="8730784" y="3487152"/>
              <a:ext cx="102235" cy="99060"/>
            </a:xfrm>
            <a:custGeom>
              <a:avLst/>
              <a:gdLst/>
              <a:ahLst/>
              <a:cxnLst/>
              <a:rect l="l" t="t" r="r" b="b"/>
              <a:pathLst>
                <a:path w="102234" h="99060">
                  <a:moveTo>
                    <a:pt x="51821" y="0"/>
                  </a:moveTo>
                  <a:lnTo>
                    <a:pt x="51821" y="99059"/>
                  </a:lnTo>
                </a:path>
                <a:path w="102234" h="99060">
                  <a:moveTo>
                    <a:pt x="0" y="50297"/>
                  </a:moveTo>
                  <a:lnTo>
                    <a:pt x="102100" y="50297"/>
                  </a:lnTo>
                </a:path>
              </a:pathLst>
            </a:custGeom>
            <a:ln w="3401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" name="object 66"/>
            <p:cNvSpPr/>
            <p:nvPr/>
          </p:nvSpPr>
          <p:spPr>
            <a:xfrm>
              <a:off x="7973415" y="3487137"/>
              <a:ext cx="100965" cy="100965"/>
            </a:xfrm>
            <a:custGeom>
              <a:avLst/>
              <a:gdLst/>
              <a:ahLst/>
              <a:cxnLst/>
              <a:rect l="l" t="t" r="r" b="b"/>
              <a:pathLst>
                <a:path w="100965" h="100964">
                  <a:moveTo>
                    <a:pt x="100572" y="0"/>
                  </a:moveTo>
                  <a:lnTo>
                    <a:pt x="0" y="0"/>
                  </a:lnTo>
                  <a:lnTo>
                    <a:pt x="0" y="100572"/>
                  </a:lnTo>
                  <a:lnTo>
                    <a:pt x="100572" y="100572"/>
                  </a:lnTo>
                  <a:lnTo>
                    <a:pt x="100572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7" name="object 67"/>
            <p:cNvSpPr/>
            <p:nvPr/>
          </p:nvSpPr>
          <p:spPr>
            <a:xfrm>
              <a:off x="7973417" y="3487152"/>
              <a:ext cx="100965" cy="100965"/>
            </a:xfrm>
            <a:custGeom>
              <a:avLst/>
              <a:gdLst/>
              <a:ahLst/>
              <a:cxnLst/>
              <a:rect l="l" t="t" r="r" b="b"/>
              <a:pathLst>
                <a:path w="100965" h="100964">
                  <a:moveTo>
                    <a:pt x="100589" y="0"/>
                  </a:moveTo>
                  <a:lnTo>
                    <a:pt x="0" y="0"/>
                  </a:lnTo>
                  <a:lnTo>
                    <a:pt x="0" y="100565"/>
                  </a:lnTo>
                  <a:lnTo>
                    <a:pt x="100589" y="100565"/>
                  </a:lnTo>
                  <a:lnTo>
                    <a:pt x="100589" y="0"/>
                  </a:lnTo>
                  <a:close/>
                </a:path>
              </a:pathLst>
            </a:custGeom>
            <a:ln w="3401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8" name="object 68"/>
            <p:cNvSpPr/>
            <p:nvPr/>
          </p:nvSpPr>
          <p:spPr>
            <a:xfrm>
              <a:off x="7967319" y="3590757"/>
              <a:ext cx="111760" cy="6350"/>
            </a:xfrm>
            <a:custGeom>
              <a:avLst/>
              <a:gdLst/>
              <a:ahLst/>
              <a:cxnLst/>
              <a:rect l="l" t="t" r="r" b="b"/>
              <a:pathLst>
                <a:path w="111759" h="6350">
                  <a:moveTo>
                    <a:pt x="111240" y="0"/>
                  </a:moveTo>
                  <a:lnTo>
                    <a:pt x="0" y="0"/>
                  </a:lnTo>
                  <a:lnTo>
                    <a:pt x="0" y="6095"/>
                  </a:lnTo>
                  <a:lnTo>
                    <a:pt x="111240" y="6095"/>
                  </a:lnTo>
                  <a:lnTo>
                    <a:pt x="111240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" name="object 69"/>
            <p:cNvSpPr/>
            <p:nvPr/>
          </p:nvSpPr>
          <p:spPr>
            <a:xfrm>
              <a:off x="7967310" y="3590790"/>
              <a:ext cx="111760" cy="6350"/>
            </a:xfrm>
            <a:custGeom>
              <a:avLst/>
              <a:gdLst/>
              <a:ahLst/>
              <a:cxnLst/>
              <a:rect l="l" t="t" r="r" b="b"/>
              <a:pathLst>
                <a:path w="111759" h="6350">
                  <a:moveTo>
                    <a:pt x="111261" y="0"/>
                  </a:moveTo>
                  <a:lnTo>
                    <a:pt x="0" y="0"/>
                  </a:lnTo>
                  <a:lnTo>
                    <a:pt x="0" y="6083"/>
                  </a:lnTo>
                  <a:lnTo>
                    <a:pt x="111261" y="6083"/>
                  </a:lnTo>
                  <a:lnTo>
                    <a:pt x="111261" y="0"/>
                  </a:lnTo>
                  <a:close/>
                </a:path>
              </a:pathLst>
            </a:custGeom>
            <a:ln w="342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0" name="object 70"/>
            <p:cNvSpPr/>
            <p:nvPr/>
          </p:nvSpPr>
          <p:spPr>
            <a:xfrm>
              <a:off x="7973417" y="3487152"/>
              <a:ext cx="100965" cy="99060"/>
            </a:xfrm>
            <a:custGeom>
              <a:avLst/>
              <a:gdLst/>
              <a:ahLst/>
              <a:cxnLst/>
              <a:rect l="l" t="t" r="r" b="b"/>
              <a:pathLst>
                <a:path w="100965" h="99060">
                  <a:moveTo>
                    <a:pt x="50279" y="0"/>
                  </a:moveTo>
                  <a:lnTo>
                    <a:pt x="50279" y="99059"/>
                  </a:lnTo>
                </a:path>
                <a:path w="100965" h="99060">
                  <a:moveTo>
                    <a:pt x="0" y="50297"/>
                  </a:moveTo>
                  <a:lnTo>
                    <a:pt x="100589" y="51834"/>
                  </a:lnTo>
                </a:path>
              </a:pathLst>
            </a:custGeom>
            <a:ln w="3401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" name="object 71"/>
            <p:cNvSpPr/>
            <p:nvPr/>
          </p:nvSpPr>
          <p:spPr>
            <a:xfrm>
              <a:off x="8355908" y="3317973"/>
              <a:ext cx="100965" cy="100965"/>
            </a:xfrm>
            <a:custGeom>
              <a:avLst/>
              <a:gdLst/>
              <a:ahLst/>
              <a:cxnLst/>
              <a:rect l="l" t="t" r="r" b="b"/>
              <a:pathLst>
                <a:path w="100965" h="100964">
                  <a:moveTo>
                    <a:pt x="100572" y="0"/>
                  </a:moveTo>
                  <a:lnTo>
                    <a:pt x="0" y="0"/>
                  </a:lnTo>
                  <a:lnTo>
                    <a:pt x="0" y="100572"/>
                  </a:lnTo>
                  <a:lnTo>
                    <a:pt x="100572" y="100572"/>
                  </a:lnTo>
                  <a:lnTo>
                    <a:pt x="100572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2" name="object 72"/>
            <p:cNvSpPr/>
            <p:nvPr/>
          </p:nvSpPr>
          <p:spPr>
            <a:xfrm>
              <a:off x="8355910" y="3318007"/>
              <a:ext cx="100965" cy="100965"/>
            </a:xfrm>
            <a:custGeom>
              <a:avLst/>
              <a:gdLst/>
              <a:ahLst/>
              <a:cxnLst/>
              <a:rect l="l" t="t" r="r" b="b"/>
              <a:pathLst>
                <a:path w="100965" h="100964">
                  <a:moveTo>
                    <a:pt x="100558" y="0"/>
                  </a:moveTo>
                  <a:lnTo>
                    <a:pt x="0" y="0"/>
                  </a:lnTo>
                  <a:lnTo>
                    <a:pt x="0" y="100565"/>
                  </a:lnTo>
                  <a:lnTo>
                    <a:pt x="100558" y="100565"/>
                  </a:lnTo>
                  <a:lnTo>
                    <a:pt x="100558" y="0"/>
                  </a:lnTo>
                  <a:close/>
                </a:path>
              </a:pathLst>
            </a:custGeom>
            <a:ln w="3401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3" name="object 73"/>
            <p:cNvSpPr/>
            <p:nvPr/>
          </p:nvSpPr>
          <p:spPr>
            <a:xfrm>
              <a:off x="8351336" y="3421593"/>
              <a:ext cx="109855" cy="6350"/>
            </a:xfrm>
            <a:custGeom>
              <a:avLst/>
              <a:gdLst/>
              <a:ahLst/>
              <a:cxnLst/>
              <a:rect l="l" t="t" r="r" b="b"/>
              <a:pathLst>
                <a:path w="109854" h="6350">
                  <a:moveTo>
                    <a:pt x="109716" y="0"/>
                  </a:moveTo>
                  <a:lnTo>
                    <a:pt x="0" y="0"/>
                  </a:lnTo>
                  <a:lnTo>
                    <a:pt x="0" y="6095"/>
                  </a:lnTo>
                  <a:lnTo>
                    <a:pt x="109716" y="6095"/>
                  </a:lnTo>
                  <a:lnTo>
                    <a:pt x="109716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" name="object 74"/>
            <p:cNvSpPr/>
            <p:nvPr/>
          </p:nvSpPr>
          <p:spPr>
            <a:xfrm>
              <a:off x="8351345" y="3421614"/>
              <a:ext cx="109855" cy="6350"/>
            </a:xfrm>
            <a:custGeom>
              <a:avLst/>
              <a:gdLst/>
              <a:ahLst/>
              <a:cxnLst/>
              <a:rect l="l" t="t" r="r" b="b"/>
              <a:pathLst>
                <a:path w="109854" h="6350">
                  <a:moveTo>
                    <a:pt x="109719" y="0"/>
                  </a:moveTo>
                  <a:lnTo>
                    <a:pt x="0" y="0"/>
                  </a:lnTo>
                  <a:lnTo>
                    <a:pt x="0" y="6114"/>
                  </a:lnTo>
                  <a:lnTo>
                    <a:pt x="109719" y="6114"/>
                  </a:lnTo>
                  <a:lnTo>
                    <a:pt x="109719" y="0"/>
                  </a:lnTo>
                  <a:close/>
                </a:path>
              </a:pathLst>
            </a:custGeom>
            <a:ln w="342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5" name="object 75"/>
            <p:cNvSpPr/>
            <p:nvPr/>
          </p:nvSpPr>
          <p:spPr>
            <a:xfrm>
              <a:off x="8355910" y="3318007"/>
              <a:ext cx="100965" cy="99060"/>
            </a:xfrm>
            <a:custGeom>
              <a:avLst/>
              <a:gdLst/>
              <a:ahLst/>
              <a:cxnLst/>
              <a:rect l="l" t="t" r="r" b="b"/>
              <a:pathLst>
                <a:path w="100965" h="99060">
                  <a:moveTo>
                    <a:pt x="50279" y="0"/>
                  </a:moveTo>
                  <a:lnTo>
                    <a:pt x="50279" y="99059"/>
                  </a:lnTo>
                </a:path>
                <a:path w="100965" h="99060">
                  <a:moveTo>
                    <a:pt x="0" y="50297"/>
                  </a:moveTo>
                  <a:lnTo>
                    <a:pt x="100558" y="50297"/>
                  </a:lnTo>
                </a:path>
              </a:pathLst>
            </a:custGeom>
            <a:ln w="3401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" name="object 76"/>
            <p:cNvSpPr/>
            <p:nvPr/>
          </p:nvSpPr>
          <p:spPr>
            <a:xfrm>
              <a:off x="8479352" y="3487137"/>
              <a:ext cx="99060" cy="100965"/>
            </a:xfrm>
            <a:custGeom>
              <a:avLst/>
              <a:gdLst/>
              <a:ahLst/>
              <a:cxnLst/>
              <a:rect l="l" t="t" r="r" b="b"/>
              <a:pathLst>
                <a:path w="99059" h="100964">
                  <a:moveTo>
                    <a:pt x="99048" y="0"/>
                  </a:moveTo>
                  <a:lnTo>
                    <a:pt x="0" y="0"/>
                  </a:lnTo>
                  <a:lnTo>
                    <a:pt x="0" y="100572"/>
                  </a:lnTo>
                  <a:lnTo>
                    <a:pt x="99048" y="100572"/>
                  </a:lnTo>
                  <a:lnTo>
                    <a:pt x="99048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" name="object 77"/>
            <p:cNvSpPr/>
            <p:nvPr/>
          </p:nvSpPr>
          <p:spPr>
            <a:xfrm>
              <a:off x="8479326" y="3487152"/>
              <a:ext cx="99695" cy="100965"/>
            </a:xfrm>
            <a:custGeom>
              <a:avLst/>
              <a:gdLst/>
              <a:ahLst/>
              <a:cxnLst/>
              <a:rect l="l" t="t" r="r" b="b"/>
              <a:pathLst>
                <a:path w="99695" h="100964">
                  <a:moveTo>
                    <a:pt x="99077" y="0"/>
                  </a:moveTo>
                  <a:lnTo>
                    <a:pt x="0" y="0"/>
                  </a:lnTo>
                  <a:lnTo>
                    <a:pt x="0" y="100565"/>
                  </a:lnTo>
                  <a:lnTo>
                    <a:pt x="99077" y="100565"/>
                  </a:lnTo>
                  <a:lnTo>
                    <a:pt x="99077" y="0"/>
                  </a:lnTo>
                  <a:close/>
                </a:path>
              </a:pathLst>
            </a:custGeom>
            <a:ln w="34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" name="object 78"/>
            <p:cNvSpPr/>
            <p:nvPr/>
          </p:nvSpPr>
          <p:spPr>
            <a:xfrm>
              <a:off x="8474780" y="3590757"/>
              <a:ext cx="109855" cy="6350"/>
            </a:xfrm>
            <a:custGeom>
              <a:avLst/>
              <a:gdLst/>
              <a:ahLst/>
              <a:cxnLst/>
              <a:rect l="l" t="t" r="r" b="b"/>
              <a:pathLst>
                <a:path w="109854" h="6350">
                  <a:moveTo>
                    <a:pt x="109716" y="0"/>
                  </a:moveTo>
                  <a:lnTo>
                    <a:pt x="0" y="0"/>
                  </a:lnTo>
                  <a:lnTo>
                    <a:pt x="0" y="6095"/>
                  </a:lnTo>
                  <a:lnTo>
                    <a:pt x="109716" y="6095"/>
                  </a:lnTo>
                  <a:lnTo>
                    <a:pt x="109716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9" name="object 79"/>
            <p:cNvSpPr/>
            <p:nvPr/>
          </p:nvSpPr>
          <p:spPr>
            <a:xfrm>
              <a:off x="8474761" y="3590790"/>
              <a:ext cx="109855" cy="6350"/>
            </a:xfrm>
            <a:custGeom>
              <a:avLst/>
              <a:gdLst/>
              <a:ahLst/>
              <a:cxnLst/>
              <a:rect l="l" t="t" r="r" b="b"/>
              <a:pathLst>
                <a:path w="109854" h="6350">
                  <a:moveTo>
                    <a:pt x="109719" y="0"/>
                  </a:moveTo>
                  <a:lnTo>
                    <a:pt x="0" y="0"/>
                  </a:lnTo>
                  <a:lnTo>
                    <a:pt x="0" y="6083"/>
                  </a:lnTo>
                  <a:lnTo>
                    <a:pt x="109719" y="6083"/>
                  </a:lnTo>
                  <a:lnTo>
                    <a:pt x="109719" y="0"/>
                  </a:lnTo>
                  <a:close/>
                </a:path>
              </a:pathLst>
            </a:custGeom>
            <a:ln w="342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" name="object 80"/>
            <p:cNvSpPr/>
            <p:nvPr/>
          </p:nvSpPr>
          <p:spPr>
            <a:xfrm>
              <a:off x="8479326" y="3487152"/>
              <a:ext cx="100965" cy="99060"/>
            </a:xfrm>
            <a:custGeom>
              <a:avLst/>
              <a:gdLst/>
              <a:ahLst/>
              <a:cxnLst/>
              <a:rect l="l" t="t" r="r" b="b"/>
              <a:pathLst>
                <a:path w="100965" h="99060">
                  <a:moveTo>
                    <a:pt x="50309" y="0"/>
                  </a:moveTo>
                  <a:lnTo>
                    <a:pt x="50309" y="99059"/>
                  </a:lnTo>
                </a:path>
                <a:path w="100965" h="99060">
                  <a:moveTo>
                    <a:pt x="0" y="50297"/>
                  </a:moveTo>
                  <a:lnTo>
                    <a:pt x="100589" y="50297"/>
                  </a:lnTo>
                </a:path>
              </a:pathLst>
            </a:custGeom>
            <a:ln w="3401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1" name="object 81"/>
            <p:cNvSpPr/>
            <p:nvPr/>
          </p:nvSpPr>
          <p:spPr>
            <a:xfrm>
              <a:off x="8605814" y="3487137"/>
              <a:ext cx="99060" cy="100965"/>
            </a:xfrm>
            <a:custGeom>
              <a:avLst/>
              <a:gdLst/>
              <a:ahLst/>
              <a:cxnLst/>
              <a:rect l="l" t="t" r="r" b="b"/>
              <a:pathLst>
                <a:path w="99059" h="100964">
                  <a:moveTo>
                    <a:pt x="99048" y="0"/>
                  </a:moveTo>
                  <a:lnTo>
                    <a:pt x="0" y="0"/>
                  </a:lnTo>
                  <a:lnTo>
                    <a:pt x="0" y="100572"/>
                  </a:lnTo>
                  <a:lnTo>
                    <a:pt x="99048" y="100572"/>
                  </a:lnTo>
                  <a:lnTo>
                    <a:pt x="99048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2" name="object 82"/>
            <p:cNvSpPr/>
            <p:nvPr/>
          </p:nvSpPr>
          <p:spPr>
            <a:xfrm>
              <a:off x="8605826" y="3487152"/>
              <a:ext cx="99060" cy="100965"/>
            </a:xfrm>
            <a:custGeom>
              <a:avLst/>
              <a:gdLst/>
              <a:ahLst/>
              <a:cxnLst/>
              <a:rect l="l" t="t" r="r" b="b"/>
              <a:pathLst>
                <a:path w="99059" h="100964">
                  <a:moveTo>
                    <a:pt x="99047" y="0"/>
                  </a:moveTo>
                  <a:lnTo>
                    <a:pt x="0" y="0"/>
                  </a:lnTo>
                  <a:lnTo>
                    <a:pt x="0" y="100565"/>
                  </a:lnTo>
                  <a:lnTo>
                    <a:pt x="99047" y="100565"/>
                  </a:lnTo>
                  <a:lnTo>
                    <a:pt x="99047" y="0"/>
                  </a:lnTo>
                  <a:close/>
                </a:path>
              </a:pathLst>
            </a:custGeom>
            <a:ln w="34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" name="object 83"/>
            <p:cNvSpPr/>
            <p:nvPr/>
          </p:nvSpPr>
          <p:spPr>
            <a:xfrm>
              <a:off x="8599718" y="3590757"/>
              <a:ext cx="111760" cy="6350"/>
            </a:xfrm>
            <a:custGeom>
              <a:avLst/>
              <a:gdLst/>
              <a:ahLst/>
              <a:cxnLst/>
              <a:rect l="l" t="t" r="r" b="b"/>
              <a:pathLst>
                <a:path w="111759" h="6350">
                  <a:moveTo>
                    <a:pt x="111240" y="0"/>
                  </a:moveTo>
                  <a:lnTo>
                    <a:pt x="0" y="0"/>
                  </a:lnTo>
                  <a:lnTo>
                    <a:pt x="0" y="6095"/>
                  </a:lnTo>
                  <a:lnTo>
                    <a:pt x="111240" y="6095"/>
                  </a:lnTo>
                  <a:lnTo>
                    <a:pt x="111240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4" name="object 84"/>
            <p:cNvSpPr/>
            <p:nvPr/>
          </p:nvSpPr>
          <p:spPr>
            <a:xfrm>
              <a:off x="8599718" y="3590790"/>
              <a:ext cx="111760" cy="6350"/>
            </a:xfrm>
            <a:custGeom>
              <a:avLst/>
              <a:gdLst/>
              <a:ahLst/>
              <a:cxnLst/>
              <a:rect l="l" t="t" r="r" b="b"/>
              <a:pathLst>
                <a:path w="111759" h="6350">
                  <a:moveTo>
                    <a:pt x="111231" y="0"/>
                  </a:moveTo>
                  <a:lnTo>
                    <a:pt x="0" y="0"/>
                  </a:lnTo>
                  <a:lnTo>
                    <a:pt x="0" y="6083"/>
                  </a:lnTo>
                  <a:lnTo>
                    <a:pt x="111231" y="6083"/>
                  </a:lnTo>
                  <a:lnTo>
                    <a:pt x="111231" y="0"/>
                  </a:lnTo>
                  <a:close/>
                </a:path>
              </a:pathLst>
            </a:custGeom>
            <a:ln w="342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5" name="object 85"/>
            <p:cNvSpPr/>
            <p:nvPr/>
          </p:nvSpPr>
          <p:spPr>
            <a:xfrm>
              <a:off x="8605826" y="3487152"/>
              <a:ext cx="100965" cy="99060"/>
            </a:xfrm>
            <a:custGeom>
              <a:avLst/>
              <a:gdLst/>
              <a:ahLst/>
              <a:cxnLst/>
              <a:rect l="l" t="t" r="r" b="b"/>
              <a:pathLst>
                <a:path w="100965" h="99060">
                  <a:moveTo>
                    <a:pt x="50279" y="0"/>
                  </a:moveTo>
                  <a:lnTo>
                    <a:pt x="50279" y="99059"/>
                  </a:lnTo>
                </a:path>
                <a:path w="100965" h="99060">
                  <a:moveTo>
                    <a:pt x="0" y="50297"/>
                  </a:moveTo>
                  <a:lnTo>
                    <a:pt x="100558" y="51834"/>
                  </a:lnTo>
                </a:path>
              </a:pathLst>
            </a:custGeom>
            <a:ln w="3401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6" name="object 86"/>
            <p:cNvSpPr/>
            <p:nvPr/>
          </p:nvSpPr>
          <p:spPr>
            <a:xfrm>
              <a:off x="8101431" y="3317973"/>
              <a:ext cx="100965" cy="100965"/>
            </a:xfrm>
            <a:custGeom>
              <a:avLst/>
              <a:gdLst/>
              <a:ahLst/>
              <a:cxnLst/>
              <a:rect l="l" t="t" r="r" b="b"/>
              <a:pathLst>
                <a:path w="100965" h="100964">
                  <a:moveTo>
                    <a:pt x="100572" y="0"/>
                  </a:moveTo>
                  <a:lnTo>
                    <a:pt x="0" y="0"/>
                  </a:lnTo>
                  <a:lnTo>
                    <a:pt x="0" y="100572"/>
                  </a:lnTo>
                  <a:lnTo>
                    <a:pt x="100572" y="100572"/>
                  </a:lnTo>
                  <a:lnTo>
                    <a:pt x="100572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7" name="object 87"/>
            <p:cNvSpPr/>
            <p:nvPr/>
          </p:nvSpPr>
          <p:spPr>
            <a:xfrm>
              <a:off x="8101429" y="3318007"/>
              <a:ext cx="100965" cy="100965"/>
            </a:xfrm>
            <a:custGeom>
              <a:avLst/>
              <a:gdLst/>
              <a:ahLst/>
              <a:cxnLst/>
              <a:rect l="l" t="t" r="r" b="b"/>
              <a:pathLst>
                <a:path w="100965" h="100964">
                  <a:moveTo>
                    <a:pt x="100558" y="0"/>
                  </a:moveTo>
                  <a:lnTo>
                    <a:pt x="0" y="0"/>
                  </a:lnTo>
                  <a:lnTo>
                    <a:pt x="0" y="100565"/>
                  </a:lnTo>
                  <a:lnTo>
                    <a:pt x="100558" y="100565"/>
                  </a:lnTo>
                  <a:lnTo>
                    <a:pt x="100558" y="0"/>
                  </a:lnTo>
                  <a:close/>
                </a:path>
              </a:pathLst>
            </a:custGeom>
            <a:ln w="3401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8" name="object 88"/>
            <p:cNvSpPr/>
            <p:nvPr/>
          </p:nvSpPr>
          <p:spPr>
            <a:xfrm>
              <a:off x="8096859" y="3421593"/>
              <a:ext cx="109855" cy="6350"/>
            </a:xfrm>
            <a:custGeom>
              <a:avLst/>
              <a:gdLst/>
              <a:ahLst/>
              <a:cxnLst/>
              <a:rect l="l" t="t" r="r" b="b"/>
              <a:pathLst>
                <a:path w="109854" h="6350">
                  <a:moveTo>
                    <a:pt x="109716" y="0"/>
                  </a:moveTo>
                  <a:lnTo>
                    <a:pt x="0" y="0"/>
                  </a:lnTo>
                  <a:lnTo>
                    <a:pt x="0" y="6095"/>
                  </a:lnTo>
                  <a:lnTo>
                    <a:pt x="109716" y="6095"/>
                  </a:lnTo>
                  <a:lnTo>
                    <a:pt x="109716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9" name="object 89"/>
            <p:cNvSpPr/>
            <p:nvPr/>
          </p:nvSpPr>
          <p:spPr>
            <a:xfrm>
              <a:off x="8096863" y="3421614"/>
              <a:ext cx="109855" cy="6350"/>
            </a:xfrm>
            <a:custGeom>
              <a:avLst/>
              <a:gdLst/>
              <a:ahLst/>
              <a:cxnLst/>
              <a:rect l="l" t="t" r="r" b="b"/>
              <a:pathLst>
                <a:path w="109854" h="6350">
                  <a:moveTo>
                    <a:pt x="109719" y="0"/>
                  </a:moveTo>
                  <a:lnTo>
                    <a:pt x="0" y="0"/>
                  </a:lnTo>
                  <a:lnTo>
                    <a:pt x="0" y="6114"/>
                  </a:lnTo>
                  <a:lnTo>
                    <a:pt x="109719" y="6114"/>
                  </a:lnTo>
                  <a:lnTo>
                    <a:pt x="109719" y="0"/>
                  </a:lnTo>
                  <a:close/>
                </a:path>
              </a:pathLst>
            </a:custGeom>
            <a:ln w="342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0" name="object 90"/>
            <p:cNvSpPr/>
            <p:nvPr/>
          </p:nvSpPr>
          <p:spPr>
            <a:xfrm>
              <a:off x="8101429" y="3318007"/>
              <a:ext cx="100965" cy="99060"/>
            </a:xfrm>
            <a:custGeom>
              <a:avLst/>
              <a:gdLst/>
              <a:ahLst/>
              <a:cxnLst/>
              <a:rect l="l" t="t" r="r" b="b"/>
              <a:pathLst>
                <a:path w="100965" h="99060">
                  <a:moveTo>
                    <a:pt x="50279" y="0"/>
                  </a:moveTo>
                  <a:lnTo>
                    <a:pt x="50279" y="99059"/>
                  </a:lnTo>
                </a:path>
                <a:path w="100965" h="99060">
                  <a:moveTo>
                    <a:pt x="0" y="50297"/>
                  </a:moveTo>
                  <a:lnTo>
                    <a:pt x="100558" y="50297"/>
                  </a:lnTo>
                </a:path>
              </a:pathLst>
            </a:custGeom>
            <a:ln w="3401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1" name="object 91"/>
            <p:cNvSpPr/>
            <p:nvPr/>
          </p:nvSpPr>
          <p:spPr>
            <a:xfrm>
              <a:off x="8229447" y="3317973"/>
              <a:ext cx="99060" cy="100965"/>
            </a:xfrm>
            <a:custGeom>
              <a:avLst/>
              <a:gdLst/>
              <a:ahLst/>
              <a:cxnLst/>
              <a:rect l="l" t="t" r="r" b="b"/>
              <a:pathLst>
                <a:path w="99059" h="100964">
                  <a:moveTo>
                    <a:pt x="99048" y="0"/>
                  </a:moveTo>
                  <a:lnTo>
                    <a:pt x="0" y="0"/>
                  </a:lnTo>
                  <a:lnTo>
                    <a:pt x="0" y="100572"/>
                  </a:lnTo>
                  <a:lnTo>
                    <a:pt x="99048" y="100572"/>
                  </a:lnTo>
                  <a:lnTo>
                    <a:pt x="99048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2" name="object 92"/>
            <p:cNvSpPr/>
            <p:nvPr/>
          </p:nvSpPr>
          <p:spPr>
            <a:xfrm>
              <a:off x="8229440" y="3318007"/>
              <a:ext cx="99060" cy="100965"/>
            </a:xfrm>
            <a:custGeom>
              <a:avLst/>
              <a:gdLst/>
              <a:ahLst/>
              <a:cxnLst/>
              <a:rect l="l" t="t" r="r" b="b"/>
              <a:pathLst>
                <a:path w="99059" h="100964">
                  <a:moveTo>
                    <a:pt x="99047" y="0"/>
                  </a:moveTo>
                  <a:lnTo>
                    <a:pt x="0" y="0"/>
                  </a:lnTo>
                  <a:lnTo>
                    <a:pt x="0" y="100565"/>
                  </a:lnTo>
                  <a:lnTo>
                    <a:pt x="99047" y="100565"/>
                  </a:lnTo>
                  <a:lnTo>
                    <a:pt x="99047" y="0"/>
                  </a:lnTo>
                  <a:close/>
                </a:path>
              </a:pathLst>
            </a:custGeom>
            <a:ln w="34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3" name="object 93"/>
            <p:cNvSpPr/>
            <p:nvPr/>
          </p:nvSpPr>
          <p:spPr>
            <a:xfrm>
              <a:off x="8223351" y="3421593"/>
              <a:ext cx="111760" cy="6350"/>
            </a:xfrm>
            <a:custGeom>
              <a:avLst/>
              <a:gdLst/>
              <a:ahLst/>
              <a:cxnLst/>
              <a:rect l="l" t="t" r="r" b="b"/>
              <a:pathLst>
                <a:path w="111759" h="6350">
                  <a:moveTo>
                    <a:pt x="111240" y="0"/>
                  </a:moveTo>
                  <a:lnTo>
                    <a:pt x="0" y="0"/>
                  </a:lnTo>
                  <a:lnTo>
                    <a:pt x="0" y="6095"/>
                  </a:lnTo>
                  <a:lnTo>
                    <a:pt x="111240" y="6095"/>
                  </a:lnTo>
                  <a:lnTo>
                    <a:pt x="111240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4" name="object 94"/>
            <p:cNvSpPr/>
            <p:nvPr/>
          </p:nvSpPr>
          <p:spPr>
            <a:xfrm>
              <a:off x="8223333" y="3421614"/>
              <a:ext cx="111760" cy="6350"/>
            </a:xfrm>
            <a:custGeom>
              <a:avLst/>
              <a:gdLst/>
              <a:ahLst/>
              <a:cxnLst/>
              <a:rect l="l" t="t" r="r" b="b"/>
              <a:pathLst>
                <a:path w="111759" h="6350">
                  <a:moveTo>
                    <a:pt x="111231" y="0"/>
                  </a:moveTo>
                  <a:lnTo>
                    <a:pt x="0" y="0"/>
                  </a:lnTo>
                  <a:lnTo>
                    <a:pt x="0" y="6114"/>
                  </a:lnTo>
                  <a:lnTo>
                    <a:pt x="111231" y="6114"/>
                  </a:lnTo>
                  <a:lnTo>
                    <a:pt x="111231" y="0"/>
                  </a:lnTo>
                  <a:close/>
                </a:path>
              </a:pathLst>
            </a:custGeom>
            <a:ln w="342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5" name="object 95"/>
            <p:cNvSpPr/>
            <p:nvPr/>
          </p:nvSpPr>
          <p:spPr>
            <a:xfrm>
              <a:off x="8227898" y="3318007"/>
              <a:ext cx="102235" cy="99060"/>
            </a:xfrm>
            <a:custGeom>
              <a:avLst/>
              <a:gdLst/>
              <a:ahLst/>
              <a:cxnLst/>
              <a:rect l="l" t="t" r="r" b="b"/>
              <a:pathLst>
                <a:path w="102234" h="99060">
                  <a:moveTo>
                    <a:pt x="51821" y="0"/>
                  </a:moveTo>
                  <a:lnTo>
                    <a:pt x="51821" y="99059"/>
                  </a:lnTo>
                </a:path>
                <a:path w="102234" h="99060">
                  <a:moveTo>
                    <a:pt x="0" y="50297"/>
                  </a:moveTo>
                  <a:lnTo>
                    <a:pt x="102100" y="51803"/>
                  </a:lnTo>
                </a:path>
              </a:pathLst>
            </a:custGeom>
            <a:ln w="3401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6" name="object 96"/>
            <p:cNvSpPr/>
            <p:nvPr/>
          </p:nvSpPr>
          <p:spPr>
            <a:xfrm>
              <a:off x="8732306" y="3317973"/>
              <a:ext cx="100965" cy="100965"/>
            </a:xfrm>
            <a:custGeom>
              <a:avLst/>
              <a:gdLst/>
              <a:ahLst/>
              <a:cxnLst/>
              <a:rect l="l" t="t" r="r" b="b"/>
              <a:pathLst>
                <a:path w="100965" h="100964">
                  <a:moveTo>
                    <a:pt x="100583" y="0"/>
                  </a:moveTo>
                  <a:lnTo>
                    <a:pt x="0" y="0"/>
                  </a:lnTo>
                  <a:lnTo>
                    <a:pt x="0" y="100572"/>
                  </a:lnTo>
                  <a:lnTo>
                    <a:pt x="100583" y="100572"/>
                  </a:lnTo>
                  <a:lnTo>
                    <a:pt x="100583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7" name="object 97"/>
            <p:cNvSpPr/>
            <p:nvPr/>
          </p:nvSpPr>
          <p:spPr>
            <a:xfrm>
              <a:off x="8732295" y="3318007"/>
              <a:ext cx="100965" cy="100965"/>
            </a:xfrm>
            <a:custGeom>
              <a:avLst/>
              <a:gdLst/>
              <a:ahLst/>
              <a:cxnLst/>
              <a:rect l="l" t="t" r="r" b="b"/>
              <a:pathLst>
                <a:path w="100965" h="100964">
                  <a:moveTo>
                    <a:pt x="100589" y="0"/>
                  </a:moveTo>
                  <a:lnTo>
                    <a:pt x="0" y="0"/>
                  </a:lnTo>
                  <a:lnTo>
                    <a:pt x="0" y="100565"/>
                  </a:lnTo>
                  <a:lnTo>
                    <a:pt x="100589" y="100565"/>
                  </a:lnTo>
                  <a:lnTo>
                    <a:pt x="100589" y="0"/>
                  </a:lnTo>
                  <a:close/>
                </a:path>
              </a:pathLst>
            </a:custGeom>
            <a:ln w="3401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8" name="object 98"/>
            <p:cNvSpPr/>
            <p:nvPr/>
          </p:nvSpPr>
          <p:spPr>
            <a:xfrm>
              <a:off x="8727734" y="3421593"/>
              <a:ext cx="111760" cy="6350"/>
            </a:xfrm>
            <a:custGeom>
              <a:avLst/>
              <a:gdLst/>
              <a:ahLst/>
              <a:cxnLst/>
              <a:rect l="l" t="t" r="r" b="b"/>
              <a:pathLst>
                <a:path w="111759" h="6350">
                  <a:moveTo>
                    <a:pt x="111251" y="0"/>
                  </a:moveTo>
                  <a:lnTo>
                    <a:pt x="0" y="0"/>
                  </a:lnTo>
                  <a:lnTo>
                    <a:pt x="0" y="6095"/>
                  </a:lnTo>
                  <a:lnTo>
                    <a:pt x="111251" y="6095"/>
                  </a:lnTo>
                  <a:lnTo>
                    <a:pt x="111251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9" name="object 99"/>
            <p:cNvSpPr/>
            <p:nvPr/>
          </p:nvSpPr>
          <p:spPr>
            <a:xfrm>
              <a:off x="8727730" y="3421614"/>
              <a:ext cx="111760" cy="6350"/>
            </a:xfrm>
            <a:custGeom>
              <a:avLst/>
              <a:gdLst/>
              <a:ahLst/>
              <a:cxnLst/>
              <a:rect l="l" t="t" r="r" b="b"/>
              <a:pathLst>
                <a:path w="111759" h="6350">
                  <a:moveTo>
                    <a:pt x="111261" y="0"/>
                  </a:moveTo>
                  <a:lnTo>
                    <a:pt x="0" y="0"/>
                  </a:lnTo>
                  <a:lnTo>
                    <a:pt x="0" y="6114"/>
                  </a:lnTo>
                  <a:lnTo>
                    <a:pt x="111261" y="6114"/>
                  </a:lnTo>
                  <a:lnTo>
                    <a:pt x="111261" y="0"/>
                  </a:lnTo>
                  <a:close/>
                </a:path>
              </a:pathLst>
            </a:custGeom>
            <a:ln w="342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0" name="object 100"/>
            <p:cNvSpPr/>
            <p:nvPr/>
          </p:nvSpPr>
          <p:spPr>
            <a:xfrm>
              <a:off x="8732295" y="3318007"/>
              <a:ext cx="102235" cy="99060"/>
            </a:xfrm>
            <a:custGeom>
              <a:avLst/>
              <a:gdLst/>
              <a:ahLst/>
              <a:cxnLst/>
              <a:rect l="l" t="t" r="r" b="b"/>
              <a:pathLst>
                <a:path w="102234" h="99060">
                  <a:moveTo>
                    <a:pt x="51821" y="0"/>
                  </a:moveTo>
                  <a:lnTo>
                    <a:pt x="51821" y="99059"/>
                  </a:lnTo>
                </a:path>
                <a:path w="102234" h="99060">
                  <a:moveTo>
                    <a:pt x="0" y="50297"/>
                  </a:moveTo>
                  <a:lnTo>
                    <a:pt x="102100" y="51803"/>
                  </a:lnTo>
                </a:path>
              </a:pathLst>
            </a:custGeom>
            <a:ln w="3401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1" name="object 101"/>
            <p:cNvSpPr/>
            <p:nvPr/>
          </p:nvSpPr>
          <p:spPr>
            <a:xfrm>
              <a:off x="7974939" y="3317973"/>
              <a:ext cx="100965" cy="100965"/>
            </a:xfrm>
            <a:custGeom>
              <a:avLst/>
              <a:gdLst/>
              <a:ahLst/>
              <a:cxnLst/>
              <a:rect l="l" t="t" r="r" b="b"/>
              <a:pathLst>
                <a:path w="100965" h="100964">
                  <a:moveTo>
                    <a:pt x="100572" y="0"/>
                  </a:moveTo>
                  <a:lnTo>
                    <a:pt x="0" y="0"/>
                  </a:lnTo>
                  <a:lnTo>
                    <a:pt x="0" y="100572"/>
                  </a:lnTo>
                  <a:lnTo>
                    <a:pt x="100572" y="100572"/>
                  </a:lnTo>
                  <a:lnTo>
                    <a:pt x="100572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2" name="object 102"/>
            <p:cNvSpPr/>
            <p:nvPr/>
          </p:nvSpPr>
          <p:spPr>
            <a:xfrm>
              <a:off x="7974959" y="3318007"/>
              <a:ext cx="100965" cy="100965"/>
            </a:xfrm>
            <a:custGeom>
              <a:avLst/>
              <a:gdLst/>
              <a:ahLst/>
              <a:cxnLst/>
              <a:rect l="l" t="t" r="r" b="b"/>
              <a:pathLst>
                <a:path w="100965" h="100964">
                  <a:moveTo>
                    <a:pt x="100558" y="0"/>
                  </a:moveTo>
                  <a:lnTo>
                    <a:pt x="0" y="0"/>
                  </a:lnTo>
                  <a:lnTo>
                    <a:pt x="0" y="100565"/>
                  </a:lnTo>
                  <a:lnTo>
                    <a:pt x="100558" y="100565"/>
                  </a:lnTo>
                  <a:lnTo>
                    <a:pt x="100558" y="0"/>
                  </a:lnTo>
                  <a:close/>
                </a:path>
              </a:pathLst>
            </a:custGeom>
            <a:ln w="3401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3" name="object 103"/>
            <p:cNvSpPr/>
            <p:nvPr/>
          </p:nvSpPr>
          <p:spPr>
            <a:xfrm>
              <a:off x="7968843" y="3421593"/>
              <a:ext cx="111760" cy="6350"/>
            </a:xfrm>
            <a:custGeom>
              <a:avLst/>
              <a:gdLst/>
              <a:ahLst/>
              <a:cxnLst/>
              <a:rect l="l" t="t" r="r" b="b"/>
              <a:pathLst>
                <a:path w="111759" h="6350">
                  <a:moveTo>
                    <a:pt x="111240" y="0"/>
                  </a:moveTo>
                  <a:lnTo>
                    <a:pt x="0" y="0"/>
                  </a:lnTo>
                  <a:lnTo>
                    <a:pt x="0" y="6095"/>
                  </a:lnTo>
                  <a:lnTo>
                    <a:pt x="111240" y="6095"/>
                  </a:lnTo>
                  <a:lnTo>
                    <a:pt x="111240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4" name="object 104"/>
            <p:cNvSpPr/>
            <p:nvPr/>
          </p:nvSpPr>
          <p:spPr>
            <a:xfrm>
              <a:off x="7968852" y="3421614"/>
              <a:ext cx="111760" cy="6350"/>
            </a:xfrm>
            <a:custGeom>
              <a:avLst/>
              <a:gdLst/>
              <a:ahLst/>
              <a:cxnLst/>
              <a:rect l="l" t="t" r="r" b="b"/>
              <a:pathLst>
                <a:path w="111759" h="6350">
                  <a:moveTo>
                    <a:pt x="111231" y="0"/>
                  </a:moveTo>
                  <a:lnTo>
                    <a:pt x="0" y="0"/>
                  </a:lnTo>
                  <a:lnTo>
                    <a:pt x="0" y="6114"/>
                  </a:lnTo>
                  <a:lnTo>
                    <a:pt x="111231" y="6114"/>
                  </a:lnTo>
                  <a:lnTo>
                    <a:pt x="111231" y="0"/>
                  </a:lnTo>
                  <a:close/>
                </a:path>
              </a:pathLst>
            </a:custGeom>
            <a:ln w="342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5" name="object 105"/>
            <p:cNvSpPr/>
            <p:nvPr/>
          </p:nvSpPr>
          <p:spPr>
            <a:xfrm>
              <a:off x="7974959" y="3318007"/>
              <a:ext cx="100965" cy="99060"/>
            </a:xfrm>
            <a:custGeom>
              <a:avLst/>
              <a:gdLst/>
              <a:ahLst/>
              <a:cxnLst/>
              <a:rect l="l" t="t" r="r" b="b"/>
              <a:pathLst>
                <a:path w="100965" h="99060">
                  <a:moveTo>
                    <a:pt x="50279" y="0"/>
                  </a:moveTo>
                  <a:lnTo>
                    <a:pt x="50279" y="99059"/>
                  </a:lnTo>
                </a:path>
                <a:path w="100965" h="99060">
                  <a:moveTo>
                    <a:pt x="0" y="50297"/>
                  </a:moveTo>
                  <a:lnTo>
                    <a:pt x="100558" y="50297"/>
                  </a:lnTo>
                </a:path>
              </a:pathLst>
            </a:custGeom>
            <a:ln w="3401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6" name="object 106"/>
            <p:cNvSpPr/>
            <p:nvPr/>
          </p:nvSpPr>
          <p:spPr>
            <a:xfrm>
              <a:off x="8480876" y="3317973"/>
              <a:ext cx="99060" cy="100965"/>
            </a:xfrm>
            <a:custGeom>
              <a:avLst/>
              <a:gdLst/>
              <a:ahLst/>
              <a:cxnLst/>
              <a:rect l="l" t="t" r="r" b="b"/>
              <a:pathLst>
                <a:path w="99059" h="100964">
                  <a:moveTo>
                    <a:pt x="99048" y="0"/>
                  </a:moveTo>
                  <a:lnTo>
                    <a:pt x="0" y="0"/>
                  </a:lnTo>
                  <a:lnTo>
                    <a:pt x="0" y="100572"/>
                  </a:lnTo>
                  <a:lnTo>
                    <a:pt x="99048" y="100572"/>
                  </a:lnTo>
                  <a:lnTo>
                    <a:pt x="99048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7" name="object 107"/>
            <p:cNvSpPr/>
            <p:nvPr/>
          </p:nvSpPr>
          <p:spPr>
            <a:xfrm>
              <a:off x="8480868" y="3318007"/>
              <a:ext cx="99060" cy="100965"/>
            </a:xfrm>
            <a:custGeom>
              <a:avLst/>
              <a:gdLst/>
              <a:ahLst/>
              <a:cxnLst/>
              <a:rect l="l" t="t" r="r" b="b"/>
              <a:pathLst>
                <a:path w="99059" h="100964">
                  <a:moveTo>
                    <a:pt x="99047" y="0"/>
                  </a:moveTo>
                  <a:lnTo>
                    <a:pt x="0" y="0"/>
                  </a:lnTo>
                  <a:lnTo>
                    <a:pt x="0" y="100565"/>
                  </a:lnTo>
                  <a:lnTo>
                    <a:pt x="99047" y="100565"/>
                  </a:lnTo>
                  <a:lnTo>
                    <a:pt x="99047" y="0"/>
                  </a:lnTo>
                  <a:close/>
                </a:path>
              </a:pathLst>
            </a:custGeom>
            <a:ln w="34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8" name="object 108"/>
            <p:cNvSpPr/>
            <p:nvPr/>
          </p:nvSpPr>
          <p:spPr>
            <a:xfrm>
              <a:off x="8474780" y="3421593"/>
              <a:ext cx="111760" cy="6350"/>
            </a:xfrm>
            <a:custGeom>
              <a:avLst/>
              <a:gdLst/>
              <a:ahLst/>
              <a:cxnLst/>
              <a:rect l="l" t="t" r="r" b="b"/>
              <a:pathLst>
                <a:path w="111759" h="6350">
                  <a:moveTo>
                    <a:pt x="111240" y="0"/>
                  </a:moveTo>
                  <a:lnTo>
                    <a:pt x="0" y="0"/>
                  </a:lnTo>
                  <a:lnTo>
                    <a:pt x="0" y="6095"/>
                  </a:lnTo>
                  <a:lnTo>
                    <a:pt x="111240" y="6095"/>
                  </a:lnTo>
                  <a:lnTo>
                    <a:pt x="111240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9" name="object 109"/>
            <p:cNvSpPr/>
            <p:nvPr/>
          </p:nvSpPr>
          <p:spPr>
            <a:xfrm>
              <a:off x="8474761" y="3421614"/>
              <a:ext cx="111760" cy="6350"/>
            </a:xfrm>
            <a:custGeom>
              <a:avLst/>
              <a:gdLst/>
              <a:ahLst/>
              <a:cxnLst/>
              <a:rect l="l" t="t" r="r" b="b"/>
              <a:pathLst>
                <a:path w="111759" h="6350">
                  <a:moveTo>
                    <a:pt x="111261" y="0"/>
                  </a:moveTo>
                  <a:lnTo>
                    <a:pt x="0" y="0"/>
                  </a:lnTo>
                  <a:lnTo>
                    <a:pt x="0" y="6114"/>
                  </a:lnTo>
                  <a:lnTo>
                    <a:pt x="111261" y="6114"/>
                  </a:lnTo>
                  <a:lnTo>
                    <a:pt x="111261" y="0"/>
                  </a:lnTo>
                  <a:close/>
                </a:path>
              </a:pathLst>
            </a:custGeom>
            <a:ln w="342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0" name="object 110"/>
            <p:cNvSpPr/>
            <p:nvPr/>
          </p:nvSpPr>
          <p:spPr>
            <a:xfrm>
              <a:off x="8480868" y="3318007"/>
              <a:ext cx="100965" cy="99060"/>
            </a:xfrm>
            <a:custGeom>
              <a:avLst/>
              <a:gdLst/>
              <a:ahLst/>
              <a:cxnLst/>
              <a:rect l="l" t="t" r="r" b="b"/>
              <a:pathLst>
                <a:path w="100965" h="99060">
                  <a:moveTo>
                    <a:pt x="50279" y="0"/>
                  </a:moveTo>
                  <a:lnTo>
                    <a:pt x="50279" y="99059"/>
                  </a:lnTo>
                </a:path>
                <a:path w="100965" h="99060">
                  <a:moveTo>
                    <a:pt x="0" y="50297"/>
                  </a:moveTo>
                  <a:lnTo>
                    <a:pt x="100558" y="51803"/>
                  </a:lnTo>
                </a:path>
              </a:pathLst>
            </a:custGeom>
            <a:ln w="3401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1" name="object 111"/>
            <p:cNvSpPr/>
            <p:nvPr/>
          </p:nvSpPr>
          <p:spPr>
            <a:xfrm>
              <a:off x="8607338" y="3317973"/>
              <a:ext cx="99060" cy="100965"/>
            </a:xfrm>
            <a:custGeom>
              <a:avLst/>
              <a:gdLst/>
              <a:ahLst/>
              <a:cxnLst/>
              <a:rect l="l" t="t" r="r" b="b"/>
              <a:pathLst>
                <a:path w="99059" h="100964">
                  <a:moveTo>
                    <a:pt x="99048" y="0"/>
                  </a:moveTo>
                  <a:lnTo>
                    <a:pt x="0" y="0"/>
                  </a:lnTo>
                  <a:lnTo>
                    <a:pt x="0" y="100572"/>
                  </a:lnTo>
                  <a:lnTo>
                    <a:pt x="99048" y="100572"/>
                  </a:lnTo>
                  <a:lnTo>
                    <a:pt x="99048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2" name="object 112"/>
            <p:cNvSpPr/>
            <p:nvPr/>
          </p:nvSpPr>
          <p:spPr>
            <a:xfrm>
              <a:off x="8607337" y="3318007"/>
              <a:ext cx="99060" cy="100965"/>
            </a:xfrm>
            <a:custGeom>
              <a:avLst/>
              <a:gdLst/>
              <a:ahLst/>
              <a:cxnLst/>
              <a:rect l="l" t="t" r="r" b="b"/>
              <a:pathLst>
                <a:path w="99059" h="100964">
                  <a:moveTo>
                    <a:pt x="99047" y="0"/>
                  </a:moveTo>
                  <a:lnTo>
                    <a:pt x="0" y="0"/>
                  </a:lnTo>
                  <a:lnTo>
                    <a:pt x="0" y="100565"/>
                  </a:lnTo>
                  <a:lnTo>
                    <a:pt x="99047" y="100565"/>
                  </a:lnTo>
                  <a:lnTo>
                    <a:pt x="99047" y="0"/>
                  </a:lnTo>
                  <a:close/>
                </a:path>
              </a:pathLst>
            </a:custGeom>
            <a:ln w="34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3" name="object 113"/>
            <p:cNvSpPr/>
            <p:nvPr/>
          </p:nvSpPr>
          <p:spPr>
            <a:xfrm>
              <a:off x="8601242" y="3421593"/>
              <a:ext cx="111760" cy="6350"/>
            </a:xfrm>
            <a:custGeom>
              <a:avLst/>
              <a:gdLst/>
              <a:ahLst/>
              <a:cxnLst/>
              <a:rect l="l" t="t" r="r" b="b"/>
              <a:pathLst>
                <a:path w="111759" h="6350">
                  <a:moveTo>
                    <a:pt x="111240" y="0"/>
                  </a:moveTo>
                  <a:lnTo>
                    <a:pt x="0" y="0"/>
                  </a:lnTo>
                  <a:lnTo>
                    <a:pt x="0" y="6095"/>
                  </a:lnTo>
                  <a:lnTo>
                    <a:pt x="111240" y="6095"/>
                  </a:lnTo>
                  <a:lnTo>
                    <a:pt x="111240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4" name="object 114"/>
            <p:cNvSpPr/>
            <p:nvPr/>
          </p:nvSpPr>
          <p:spPr>
            <a:xfrm>
              <a:off x="8601260" y="3421614"/>
              <a:ext cx="111760" cy="6350"/>
            </a:xfrm>
            <a:custGeom>
              <a:avLst/>
              <a:gdLst/>
              <a:ahLst/>
              <a:cxnLst/>
              <a:rect l="l" t="t" r="r" b="b"/>
              <a:pathLst>
                <a:path w="111759" h="6350">
                  <a:moveTo>
                    <a:pt x="111231" y="0"/>
                  </a:moveTo>
                  <a:lnTo>
                    <a:pt x="0" y="0"/>
                  </a:lnTo>
                  <a:lnTo>
                    <a:pt x="0" y="6114"/>
                  </a:lnTo>
                  <a:lnTo>
                    <a:pt x="111231" y="6114"/>
                  </a:lnTo>
                  <a:lnTo>
                    <a:pt x="111231" y="0"/>
                  </a:lnTo>
                  <a:close/>
                </a:path>
              </a:pathLst>
            </a:custGeom>
            <a:ln w="342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5" name="object 115"/>
            <p:cNvSpPr/>
            <p:nvPr/>
          </p:nvSpPr>
          <p:spPr>
            <a:xfrm>
              <a:off x="8605826" y="3318007"/>
              <a:ext cx="102235" cy="99060"/>
            </a:xfrm>
            <a:custGeom>
              <a:avLst/>
              <a:gdLst/>
              <a:ahLst/>
              <a:cxnLst/>
              <a:rect l="l" t="t" r="r" b="b"/>
              <a:pathLst>
                <a:path w="102234" h="99060">
                  <a:moveTo>
                    <a:pt x="51821" y="0"/>
                  </a:moveTo>
                  <a:lnTo>
                    <a:pt x="51821" y="99059"/>
                  </a:lnTo>
                </a:path>
                <a:path w="102234" h="99060">
                  <a:moveTo>
                    <a:pt x="0" y="50297"/>
                  </a:moveTo>
                  <a:lnTo>
                    <a:pt x="102100" y="51803"/>
                  </a:lnTo>
                </a:path>
              </a:pathLst>
            </a:custGeom>
            <a:ln w="3401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6" name="object 116"/>
            <p:cNvSpPr/>
            <p:nvPr/>
          </p:nvSpPr>
          <p:spPr>
            <a:xfrm>
              <a:off x="8352860" y="3476469"/>
              <a:ext cx="104139" cy="152400"/>
            </a:xfrm>
            <a:custGeom>
              <a:avLst/>
              <a:gdLst/>
              <a:ahLst/>
              <a:cxnLst/>
              <a:rect l="l" t="t" r="r" b="b"/>
              <a:pathLst>
                <a:path w="104140" h="152400">
                  <a:moveTo>
                    <a:pt x="103620" y="0"/>
                  </a:moveTo>
                  <a:lnTo>
                    <a:pt x="0" y="0"/>
                  </a:lnTo>
                  <a:lnTo>
                    <a:pt x="0" y="152388"/>
                  </a:lnTo>
                  <a:lnTo>
                    <a:pt x="103620" y="152388"/>
                  </a:lnTo>
                  <a:lnTo>
                    <a:pt x="103620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7" name="object 117"/>
            <p:cNvSpPr/>
            <p:nvPr/>
          </p:nvSpPr>
          <p:spPr>
            <a:xfrm>
              <a:off x="8352856" y="3476490"/>
              <a:ext cx="104139" cy="152400"/>
            </a:xfrm>
            <a:custGeom>
              <a:avLst/>
              <a:gdLst/>
              <a:ahLst/>
              <a:cxnLst/>
              <a:rect l="l" t="t" r="r" b="b"/>
              <a:pathLst>
                <a:path w="104140" h="152400">
                  <a:moveTo>
                    <a:pt x="103612" y="0"/>
                  </a:moveTo>
                  <a:lnTo>
                    <a:pt x="0" y="0"/>
                  </a:lnTo>
                  <a:lnTo>
                    <a:pt x="0" y="152399"/>
                  </a:lnTo>
                  <a:lnTo>
                    <a:pt x="103612" y="152399"/>
                  </a:lnTo>
                  <a:lnTo>
                    <a:pt x="103612" y="0"/>
                  </a:lnTo>
                  <a:close/>
                </a:path>
              </a:pathLst>
            </a:custGeom>
            <a:ln w="3391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8" name="object 118"/>
            <p:cNvSpPr/>
            <p:nvPr/>
          </p:nvSpPr>
          <p:spPr>
            <a:xfrm>
              <a:off x="8363529" y="3493266"/>
              <a:ext cx="79375" cy="127000"/>
            </a:xfrm>
            <a:custGeom>
              <a:avLst/>
              <a:gdLst/>
              <a:ahLst/>
              <a:cxnLst/>
              <a:rect l="l" t="t" r="r" b="b"/>
              <a:pathLst>
                <a:path w="79375" h="127000">
                  <a:moveTo>
                    <a:pt x="79243" y="0"/>
                  </a:moveTo>
                  <a:lnTo>
                    <a:pt x="0" y="0"/>
                  </a:lnTo>
                  <a:lnTo>
                    <a:pt x="0" y="126466"/>
                  </a:lnTo>
                  <a:lnTo>
                    <a:pt x="79243" y="126466"/>
                  </a:lnTo>
                  <a:lnTo>
                    <a:pt x="79243" y="0"/>
                  </a:lnTo>
                  <a:close/>
                </a:path>
              </a:pathLst>
            </a:custGeom>
            <a:ln w="3389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9" name="object 119"/>
            <p:cNvSpPr/>
            <p:nvPr/>
          </p:nvSpPr>
          <p:spPr>
            <a:xfrm>
              <a:off x="8429061" y="3557229"/>
              <a:ext cx="5080" cy="3175"/>
            </a:xfrm>
            <a:custGeom>
              <a:avLst/>
              <a:gdLst/>
              <a:ahLst/>
              <a:cxnLst/>
              <a:rect l="l" t="t" r="r" b="b"/>
              <a:pathLst>
                <a:path w="5079" h="3175">
                  <a:moveTo>
                    <a:pt x="4572" y="0"/>
                  </a:moveTo>
                  <a:lnTo>
                    <a:pt x="0" y="0"/>
                  </a:lnTo>
                  <a:lnTo>
                    <a:pt x="0" y="3048"/>
                  </a:lnTo>
                  <a:lnTo>
                    <a:pt x="4572" y="3048"/>
                  </a:lnTo>
                  <a:lnTo>
                    <a:pt x="4572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0" name="object 120"/>
            <p:cNvSpPr/>
            <p:nvPr/>
          </p:nvSpPr>
          <p:spPr>
            <a:xfrm>
              <a:off x="8429046" y="3557237"/>
              <a:ext cx="5080" cy="3175"/>
            </a:xfrm>
            <a:custGeom>
              <a:avLst/>
              <a:gdLst/>
              <a:ahLst/>
              <a:cxnLst/>
              <a:rect l="l" t="t" r="r" b="b"/>
              <a:pathLst>
                <a:path w="5079" h="3175">
                  <a:moveTo>
                    <a:pt x="4565" y="1536"/>
                  </a:moveTo>
                  <a:lnTo>
                    <a:pt x="4565" y="0"/>
                  </a:lnTo>
                  <a:lnTo>
                    <a:pt x="3053" y="0"/>
                  </a:lnTo>
                  <a:lnTo>
                    <a:pt x="0" y="0"/>
                  </a:lnTo>
                  <a:lnTo>
                    <a:pt x="0" y="1536"/>
                  </a:lnTo>
                  <a:lnTo>
                    <a:pt x="0" y="3072"/>
                  </a:lnTo>
                  <a:lnTo>
                    <a:pt x="3053" y="3072"/>
                  </a:lnTo>
                  <a:lnTo>
                    <a:pt x="4565" y="3072"/>
                  </a:lnTo>
                  <a:lnTo>
                    <a:pt x="4565" y="1536"/>
                  </a:lnTo>
                  <a:close/>
                </a:path>
              </a:pathLst>
            </a:custGeom>
            <a:ln w="3411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1" name="object 121"/>
            <p:cNvSpPr/>
            <p:nvPr/>
          </p:nvSpPr>
          <p:spPr>
            <a:xfrm>
              <a:off x="8902994" y="2601772"/>
              <a:ext cx="361315" cy="393700"/>
            </a:xfrm>
            <a:custGeom>
              <a:avLst/>
              <a:gdLst/>
              <a:ahLst/>
              <a:cxnLst/>
              <a:rect l="l" t="t" r="r" b="b"/>
              <a:pathLst>
                <a:path w="361315" h="393700">
                  <a:moveTo>
                    <a:pt x="181325" y="0"/>
                  </a:moveTo>
                  <a:lnTo>
                    <a:pt x="132979" y="6942"/>
                  </a:lnTo>
                  <a:lnTo>
                    <a:pt x="89624" y="26584"/>
                  </a:lnTo>
                  <a:lnTo>
                    <a:pt x="52955" y="57146"/>
                  </a:lnTo>
                  <a:lnTo>
                    <a:pt x="24665" y="96849"/>
                  </a:lnTo>
                  <a:lnTo>
                    <a:pt x="6448" y="143915"/>
                  </a:lnTo>
                  <a:lnTo>
                    <a:pt x="0" y="196565"/>
                  </a:lnTo>
                  <a:lnTo>
                    <a:pt x="6448" y="248699"/>
                  </a:lnTo>
                  <a:lnTo>
                    <a:pt x="24665" y="295625"/>
                  </a:lnTo>
                  <a:lnTo>
                    <a:pt x="52955" y="335440"/>
                  </a:lnTo>
                  <a:lnTo>
                    <a:pt x="89624" y="366237"/>
                  </a:lnTo>
                  <a:lnTo>
                    <a:pt x="132979" y="386113"/>
                  </a:lnTo>
                  <a:lnTo>
                    <a:pt x="181325" y="393161"/>
                  </a:lnTo>
                  <a:lnTo>
                    <a:pt x="229042" y="386113"/>
                  </a:lnTo>
                  <a:lnTo>
                    <a:pt x="271975" y="366237"/>
                  </a:lnTo>
                  <a:lnTo>
                    <a:pt x="308389" y="335440"/>
                  </a:lnTo>
                  <a:lnTo>
                    <a:pt x="336547" y="295625"/>
                  </a:lnTo>
                  <a:lnTo>
                    <a:pt x="354715" y="248699"/>
                  </a:lnTo>
                  <a:lnTo>
                    <a:pt x="361157" y="196565"/>
                  </a:lnTo>
                  <a:lnTo>
                    <a:pt x="354715" y="143915"/>
                  </a:lnTo>
                  <a:lnTo>
                    <a:pt x="336547" y="96849"/>
                  </a:lnTo>
                  <a:lnTo>
                    <a:pt x="308389" y="57146"/>
                  </a:lnTo>
                  <a:lnTo>
                    <a:pt x="271975" y="26584"/>
                  </a:lnTo>
                  <a:lnTo>
                    <a:pt x="229042" y="6942"/>
                  </a:lnTo>
                  <a:lnTo>
                    <a:pt x="181325" y="0"/>
                  </a:lnTo>
                  <a:close/>
                </a:path>
              </a:pathLst>
            </a:custGeom>
            <a:solidFill>
              <a:srgbClr val="FF65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2" name="object 122"/>
            <p:cNvSpPr/>
            <p:nvPr/>
          </p:nvSpPr>
          <p:spPr>
            <a:xfrm>
              <a:off x="8896898" y="2594152"/>
              <a:ext cx="375285" cy="407034"/>
            </a:xfrm>
            <a:custGeom>
              <a:avLst/>
              <a:gdLst/>
              <a:ahLst/>
              <a:cxnLst/>
              <a:rect l="l" t="t" r="r" b="b"/>
              <a:pathLst>
                <a:path w="375284" h="407035">
                  <a:moveTo>
                    <a:pt x="185897" y="0"/>
                  </a:moveTo>
                  <a:lnTo>
                    <a:pt x="131033" y="10668"/>
                  </a:lnTo>
                  <a:lnTo>
                    <a:pt x="82296" y="35052"/>
                  </a:lnTo>
                  <a:lnTo>
                    <a:pt x="42672" y="74676"/>
                  </a:lnTo>
                  <a:lnTo>
                    <a:pt x="21336" y="106649"/>
                  </a:lnTo>
                  <a:lnTo>
                    <a:pt x="7620" y="143225"/>
                  </a:lnTo>
                  <a:lnTo>
                    <a:pt x="0" y="182849"/>
                  </a:lnTo>
                  <a:lnTo>
                    <a:pt x="0" y="223997"/>
                  </a:lnTo>
                  <a:lnTo>
                    <a:pt x="7620" y="263621"/>
                  </a:lnTo>
                  <a:lnTo>
                    <a:pt x="32004" y="316961"/>
                  </a:lnTo>
                  <a:lnTo>
                    <a:pt x="54864" y="347441"/>
                  </a:lnTo>
                  <a:lnTo>
                    <a:pt x="97505" y="382493"/>
                  </a:lnTo>
                  <a:lnTo>
                    <a:pt x="149321" y="402305"/>
                  </a:lnTo>
                  <a:lnTo>
                    <a:pt x="187421" y="406877"/>
                  </a:lnTo>
                  <a:lnTo>
                    <a:pt x="207233" y="405353"/>
                  </a:lnTo>
                  <a:lnTo>
                    <a:pt x="225521" y="402305"/>
                  </a:lnTo>
                  <a:lnTo>
                    <a:pt x="243809" y="397733"/>
                  </a:lnTo>
                  <a:lnTo>
                    <a:pt x="250515" y="394685"/>
                  </a:lnTo>
                  <a:lnTo>
                    <a:pt x="185897" y="394685"/>
                  </a:lnTo>
                  <a:lnTo>
                    <a:pt x="169133" y="393161"/>
                  </a:lnTo>
                  <a:lnTo>
                    <a:pt x="118841" y="379445"/>
                  </a:lnTo>
                  <a:lnTo>
                    <a:pt x="76200" y="350489"/>
                  </a:lnTo>
                  <a:lnTo>
                    <a:pt x="42672" y="310865"/>
                  </a:lnTo>
                  <a:lnTo>
                    <a:pt x="19812" y="260573"/>
                  </a:lnTo>
                  <a:lnTo>
                    <a:pt x="13716" y="222473"/>
                  </a:lnTo>
                  <a:lnTo>
                    <a:pt x="12192" y="204185"/>
                  </a:lnTo>
                  <a:lnTo>
                    <a:pt x="16764" y="164561"/>
                  </a:lnTo>
                  <a:lnTo>
                    <a:pt x="33528" y="112745"/>
                  </a:lnTo>
                  <a:lnTo>
                    <a:pt x="64008" y="68580"/>
                  </a:lnTo>
                  <a:lnTo>
                    <a:pt x="103601" y="36576"/>
                  </a:lnTo>
                  <a:lnTo>
                    <a:pt x="152369" y="16764"/>
                  </a:lnTo>
                  <a:lnTo>
                    <a:pt x="169133" y="13716"/>
                  </a:lnTo>
                  <a:lnTo>
                    <a:pt x="252343" y="13716"/>
                  </a:lnTo>
                  <a:lnTo>
                    <a:pt x="242285" y="9144"/>
                  </a:lnTo>
                  <a:lnTo>
                    <a:pt x="223997" y="4572"/>
                  </a:lnTo>
                  <a:lnTo>
                    <a:pt x="205709" y="1524"/>
                  </a:lnTo>
                  <a:lnTo>
                    <a:pt x="185897" y="0"/>
                  </a:lnTo>
                  <a:close/>
                </a:path>
                <a:path w="375284" h="407035">
                  <a:moveTo>
                    <a:pt x="252343" y="13716"/>
                  </a:moveTo>
                  <a:lnTo>
                    <a:pt x="205709" y="13716"/>
                  </a:lnTo>
                  <a:lnTo>
                    <a:pt x="222473" y="16764"/>
                  </a:lnTo>
                  <a:lnTo>
                    <a:pt x="239237" y="21336"/>
                  </a:lnTo>
                  <a:lnTo>
                    <a:pt x="284957" y="45720"/>
                  </a:lnTo>
                  <a:lnTo>
                    <a:pt x="321533" y="82296"/>
                  </a:lnTo>
                  <a:lnTo>
                    <a:pt x="347441" y="129509"/>
                  </a:lnTo>
                  <a:lnTo>
                    <a:pt x="358109" y="166085"/>
                  </a:lnTo>
                  <a:lnTo>
                    <a:pt x="361157" y="184373"/>
                  </a:lnTo>
                  <a:lnTo>
                    <a:pt x="361157" y="223997"/>
                  </a:lnTo>
                  <a:lnTo>
                    <a:pt x="347441" y="278861"/>
                  </a:lnTo>
                  <a:lnTo>
                    <a:pt x="321533" y="326105"/>
                  </a:lnTo>
                  <a:lnTo>
                    <a:pt x="297149" y="350489"/>
                  </a:lnTo>
                  <a:lnTo>
                    <a:pt x="284957" y="362681"/>
                  </a:lnTo>
                  <a:lnTo>
                    <a:pt x="239237" y="385541"/>
                  </a:lnTo>
                  <a:lnTo>
                    <a:pt x="185897" y="394685"/>
                  </a:lnTo>
                  <a:lnTo>
                    <a:pt x="250515" y="394685"/>
                  </a:lnTo>
                  <a:lnTo>
                    <a:pt x="292577" y="371825"/>
                  </a:lnTo>
                  <a:lnTo>
                    <a:pt x="332201" y="332201"/>
                  </a:lnTo>
                  <a:lnTo>
                    <a:pt x="359633" y="281909"/>
                  </a:lnTo>
                  <a:lnTo>
                    <a:pt x="370301" y="243809"/>
                  </a:lnTo>
                  <a:lnTo>
                    <a:pt x="374843" y="204185"/>
                  </a:lnTo>
                  <a:lnTo>
                    <a:pt x="373349" y="182849"/>
                  </a:lnTo>
                  <a:lnTo>
                    <a:pt x="365729" y="143225"/>
                  </a:lnTo>
                  <a:lnTo>
                    <a:pt x="352013" y="106649"/>
                  </a:lnTo>
                  <a:lnTo>
                    <a:pt x="320009" y="59436"/>
                  </a:lnTo>
                  <a:lnTo>
                    <a:pt x="275813" y="24384"/>
                  </a:lnTo>
                  <a:lnTo>
                    <a:pt x="252343" y="13716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3" name="object 123"/>
          <p:cNvSpPr txBox="1"/>
          <p:nvPr/>
        </p:nvSpPr>
        <p:spPr>
          <a:xfrm>
            <a:off x="9063841" y="2358573"/>
            <a:ext cx="16129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solidFill>
                  <a:srgbClr val="F6EDE0"/>
                </a:solidFill>
                <a:latin typeface="Liberation Sans Narrow"/>
                <a:cs typeface="Liberation Sans Narrow"/>
              </a:rPr>
              <a:t>C</a:t>
            </a:r>
            <a:endParaRPr sz="1800">
              <a:latin typeface="Liberation Sans Narrow"/>
              <a:cs typeface="Liberation Sans Narrow"/>
            </a:endParaRPr>
          </a:p>
        </p:txBody>
      </p:sp>
      <p:grpSp>
        <p:nvGrpSpPr>
          <p:cNvPr id="124" name="object 124"/>
          <p:cNvGrpSpPr/>
          <p:nvPr/>
        </p:nvGrpSpPr>
        <p:grpSpPr>
          <a:xfrm>
            <a:off x="779047" y="2209739"/>
            <a:ext cx="2007235" cy="1400810"/>
            <a:chOff x="718255" y="2493568"/>
            <a:chExt cx="2007235" cy="1400810"/>
          </a:xfrm>
        </p:grpSpPr>
        <p:sp>
          <p:nvSpPr>
            <p:cNvPr id="125" name="object 125"/>
            <p:cNvSpPr/>
            <p:nvPr/>
          </p:nvSpPr>
          <p:spPr>
            <a:xfrm>
              <a:off x="730447" y="2505757"/>
              <a:ext cx="1981200" cy="1386840"/>
            </a:xfrm>
            <a:custGeom>
              <a:avLst/>
              <a:gdLst/>
              <a:ahLst/>
              <a:cxnLst/>
              <a:rect l="l" t="t" r="r" b="b"/>
              <a:pathLst>
                <a:path w="1981200" h="1386839">
                  <a:moveTo>
                    <a:pt x="0" y="1386721"/>
                  </a:moveTo>
                  <a:lnTo>
                    <a:pt x="1981032" y="1386721"/>
                  </a:lnTo>
                  <a:lnTo>
                    <a:pt x="1981032" y="0"/>
                  </a:lnTo>
                  <a:lnTo>
                    <a:pt x="0" y="0"/>
                  </a:lnTo>
                  <a:lnTo>
                    <a:pt x="0" y="1386721"/>
                  </a:lnTo>
                  <a:close/>
                </a:path>
              </a:pathLst>
            </a:custGeom>
            <a:solidFill>
              <a:srgbClr val="FCDA8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6" name="object 126"/>
            <p:cNvSpPr/>
            <p:nvPr/>
          </p:nvSpPr>
          <p:spPr>
            <a:xfrm>
              <a:off x="718248" y="2493568"/>
              <a:ext cx="2007235" cy="1399540"/>
            </a:xfrm>
            <a:custGeom>
              <a:avLst/>
              <a:gdLst/>
              <a:ahLst/>
              <a:cxnLst/>
              <a:rect l="l" t="t" r="r" b="b"/>
              <a:pathLst>
                <a:path w="2007235" h="1399539">
                  <a:moveTo>
                    <a:pt x="1334922" y="1299883"/>
                  </a:moveTo>
                  <a:lnTo>
                    <a:pt x="984008" y="1398917"/>
                  </a:lnTo>
                  <a:lnTo>
                    <a:pt x="1334922" y="1398917"/>
                  </a:lnTo>
                  <a:lnTo>
                    <a:pt x="1334922" y="1299883"/>
                  </a:lnTo>
                  <a:close/>
                </a:path>
                <a:path w="2007235" h="1399539">
                  <a:moveTo>
                    <a:pt x="2006942" y="0"/>
                  </a:moveTo>
                  <a:lnTo>
                    <a:pt x="0" y="0"/>
                  </a:lnTo>
                  <a:lnTo>
                    <a:pt x="0" y="1398917"/>
                  </a:lnTo>
                  <a:lnTo>
                    <a:pt x="25908" y="1398917"/>
                  </a:lnTo>
                  <a:lnTo>
                    <a:pt x="25908" y="24384"/>
                  </a:lnTo>
                  <a:lnTo>
                    <a:pt x="1981047" y="24384"/>
                  </a:lnTo>
                  <a:lnTo>
                    <a:pt x="1981047" y="1398917"/>
                  </a:lnTo>
                  <a:lnTo>
                    <a:pt x="2006942" y="1398917"/>
                  </a:lnTo>
                  <a:lnTo>
                    <a:pt x="2006942" y="24384"/>
                  </a:lnTo>
                  <a:lnTo>
                    <a:pt x="2006942" y="12192"/>
                  </a:lnTo>
                  <a:lnTo>
                    <a:pt x="2006942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7" name="object 127"/>
            <p:cNvSpPr/>
            <p:nvPr/>
          </p:nvSpPr>
          <p:spPr>
            <a:xfrm>
              <a:off x="1462870" y="3689817"/>
              <a:ext cx="589280" cy="203200"/>
            </a:xfrm>
            <a:custGeom>
              <a:avLst/>
              <a:gdLst/>
              <a:ahLst/>
              <a:cxnLst/>
              <a:rect l="l" t="t" r="r" b="b"/>
              <a:pathLst>
                <a:path w="589280" h="203200">
                  <a:moveTo>
                    <a:pt x="588777" y="0"/>
                  </a:moveTo>
                  <a:lnTo>
                    <a:pt x="0" y="202661"/>
                  </a:lnTo>
                  <a:lnTo>
                    <a:pt x="303266" y="202661"/>
                  </a:lnTo>
                  <a:lnTo>
                    <a:pt x="588777" y="129539"/>
                  </a:lnTo>
                  <a:lnTo>
                    <a:pt x="588777" y="0"/>
                  </a:lnTo>
                  <a:close/>
                </a:path>
              </a:pathLst>
            </a:custGeom>
            <a:solidFill>
              <a:srgbClr val="9F9F9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8" name="object 128"/>
            <p:cNvSpPr/>
            <p:nvPr/>
          </p:nvSpPr>
          <p:spPr>
            <a:xfrm>
              <a:off x="2051648" y="3691341"/>
              <a:ext cx="249102" cy="202588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9" name="object 129"/>
            <p:cNvSpPr/>
            <p:nvPr/>
          </p:nvSpPr>
          <p:spPr>
            <a:xfrm>
              <a:off x="1445145" y="3820881"/>
              <a:ext cx="121907" cy="71597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0" name="object 130"/>
            <p:cNvSpPr/>
            <p:nvPr/>
          </p:nvSpPr>
          <p:spPr>
            <a:xfrm>
              <a:off x="1733156" y="3700485"/>
              <a:ext cx="155435" cy="191993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1" name="object 131"/>
            <p:cNvSpPr/>
            <p:nvPr/>
          </p:nvSpPr>
          <p:spPr>
            <a:xfrm>
              <a:off x="826459" y="3554181"/>
              <a:ext cx="361315" cy="338455"/>
            </a:xfrm>
            <a:custGeom>
              <a:avLst/>
              <a:gdLst/>
              <a:ahLst/>
              <a:cxnLst/>
              <a:rect l="l" t="t" r="r" b="b"/>
              <a:pathLst>
                <a:path w="361315" h="338454">
                  <a:moveTo>
                    <a:pt x="181334" y="0"/>
                  </a:moveTo>
                  <a:lnTo>
                    <a:pt x="132981" y="6942"/>
                  </a:lnTo>
                  <a:lnTo>
                    <a:pt x="89623" y="26585"/>
                  </a:lnTo>
                  <a:lnTo>
                    <a:pt x="52952" y="57150"/>
                  </a:lnTo>
                  <a:lnTo>
                    <a:pt x="24663" y="96858"/>
                  </a:lnTo>
                  <a:lnTo>
                    <a:pt x="6448" y="143933"/>
                  </a:lnTo>
                  <a:lnTo>
                    <a:pt x="0" y="196596"/>
                  </a:lnTo>
                  <a:lnTo>
                    <a:pt x="6448" y="248716"/>
                  </a:lnTo>
                  <a:lnTo>
                    <a:pt x="24663" y="295634"/>
                  </a:lnTo>
                  <a:lnTo>
                    <a:pt x="52952" y="335443"/>
                  </a:lnTo>
                  <a:lnTo>
                    <a:pt x="56351" y="338297"/>
                  </a:lnTo>
                  <a:lnTo>
                    <a:pt x="305017" y="338297"/>
                  </a:lnTo>
                  <a:lnTo>
                    <a:pt x="308392" y="335443"/>
                  </a:lnTo>
                  <a:lnTo>
                    <a:pt x="336547" y="295634"/>
                  </a:lnTo>
                  <a:lnTo>
                    <a:pt x="354713" y="248716"/>
                  </a:lnTo>
                  <a:lnTo>
                    <a:pt x="361154" y="196596"/>
                  </a:lnTo>
                  <a:lnTo>
                    <a:pt x="354713" y="143933"/>
                  </a:lnTo>
                  <a:lnTo>
                    <a:pt x="336547" y="96858"/>
                  </a:lnTo>
                  <a:lnTo>
                    <a:pt x="308392" y="57150"/>
                  </a:lnTo>
                  <a:lnTo>
                    <a:pt x="271981" y="26585"/>
                  </a:lnTo>
                  <a:lnTo>
                    <a:pt x="229050" y="6942"/>
                  </a:lnTo>
                  <a:lnTo>
                    <a:pt x="181334" y="0"/>
                  </a:lnTo>
                  <a:close/>
                </a:path>
              </a:pathLst>
            </a:custGeom>
            <a:solidFill>
              <a:srgbClr val="FF65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2" name="object 132"/>
            <p:cNvSpPr/>
            <p:nvPr/>
          </p:nvSpPr>
          <p:spPr>
            <a:xfrm>
              <a:off x="820363" y="3546561"/>
              <a:ext cx="375285" cy="346075"/>
            </a:xfrm>
            <a:custGeom>
              <a:avLst/>
              <a:gdLst/>
              <a:ahLst/>
              <a:cxnLst/>
              <a:rect l="l" t="t" r="r" b="b"/>
              <a:pathLst>
                <a:path w="375284" h="346075">
                  <a:moveTo>
                    <a:pt x="185906" y="0"/>
                  </a:moveTo>
                  <a:lnTo>
                    <a:pt x="131054" y="10668"/>
                  </a:lnTo>
                  <a:lnTo>
                    <a:pt x="82286" y="35052"/>
                  </a:lnTo>
                  <a:lnTo>
                    <a:pt x="42662" y="74676"/>
                  </a:lnTo>
                  <a:lnTo>
                    <a:pt x="21336" y="106680"/>
                  </a:lnTo>
                  <a:lnTo>
                    <a:pt x="7620" y="143256"/>
                  </a:lnTo>
                  <a:lnTo>
                    <a:pt x="0" y="182880"/>
                  </a:lnTo>
                  <a:lnTo>
                    <a:pt x="0" y="224028"/>
                  </a:lnTo>
                  <a:lnTo>
                    <a:pt x="7620" y="263652"/>
                  </a:lnTo>
                  <a:lnTo>
                    <a:pt x="31994" y="316961"/>
                  </a:lnTo>
                  <a:lnTo>
                    <a:pt x="53500" y="345917"/>
                  </a:lnTo>
                  <a:lnTo>
                    <a:pt x="71619" y="345917"/>
                  </a:lnTo>
                  <a:lnTo>
                    <a:pt x="63998" y="338297"/>
                  </a:lnTo>
                  <a:lnTo>
                    <a:pt x="51806" y="324581"/>
                  </a:lnTo>
                  <a:lnTo>
                    <a:pt x="25898" y="277368"/>
                  </a:lnTo>
                  <a:lnTo>
                    <a:pt x="13716" y="222504"/>
                  </a:lnTo>
                  <a:lnTo>
                    <a:pt x="12192" y="204216"/>
                  </a:lnTo>
                  <a:lnTo>
                    <a:pt x="16764" y="164592"/>
                  </a:lnTo>
                  <a:lnTo>
                    <a:pt x="33518" y="112776"/>
                  </a:lnTo>
                  <a:lnTo>
                    <a:pt x="63998" y="68580"/>
                  </a:lnTo>
                  <a:lnTo>
                    <a:pt x="103622" y="36576"/>
                  </a:lnTo>
                  <a:lnTo>
                    <a:pt x="152390" y="16764"/>
                  </a:lnTo>
                  <a:lnTo>
                    <a:pt x="169142" y="13716"/>
                  </a:lnTo>
                  <a:lnTo>
                    <a:pt x="252353" y="13716"/>
                  </a:lnTo>
                  <a:lnTo>
                    <a:pt x="242294" y="9144"/>
                  </a:lnTo>
                  <a:lnTo>
                    <a:pt x="224006" y="4572"/>
                  </a:lnTo>
                  <a:lnTo>
                    <a:pt x="205718" y="1524"/>
                  </a:lnTo>
                  <a:lnTo>
                    <a:pt x="185906" y="0"/>
                  </a:lnTo>
                  <a:close/>
                </a:path>
                <a:path w="375284" h="346075">
                  <a:moveTo>
                    <a:pt x="252353" y="13716"/>
                  </a:moveTo>
                  <a:lnTo>
                    <a:pt x="205718" y="13716"/>
                  </a:lnTo>
                  <a:lnTo>
                    <a:pt x="222482" y="16764"/>
                  </a:lnTo>
                  <a:lnTo>
                    <a:pt x="239246" y="21336"/>
                  </a:lnTo>
                  <a:lnTo>
                    <a:pt x="284966" y="45720"/>
                  </a:lnTo>
                  <a:lnTo>
                    <a:pt x="321530" y="82296"/>
                  </a:lnTo>
                  <a:lnTo>
                    <a:pt x="347438" y="129540"/>
                  </a:lnTo>
                  <a:lnTo>
                    <a:pt x="358106" y="166116"/>
                  </a:lnTo>
                  <a:lnTo>
                    <a:pt x="361154" y="184404"/>
                  </a:lnTo>
                  <a:lnTo>
                    <a:pt x="361154" y="224028"/>
                  </a:lnTo>
                  <a:lnTo>
                    <a:pt x="347438" y="278892"/>
                  </a:lnTo>
                  <a:lnTo>
                    <a:pt x="321530" y="326105"/>
                  </a:lnTo>
                  <a:lnTo>
                    <a:pt x="302297" y="345917"/>
                  </a:lnTo>
                  <a:lnTo>
                    <a:pt x="321225" y="345917"/>
                  </a:lnTo>
                  <a:lnTo>
                    <a:pt x="352010" y="300197"/>
                  </a:lnTo>
                  <a:lnTo>
                    <a:pt x="365726" y="263652"/>
                  </a:lnTo>
                  <a:lnTo>
                    <a:pt x="373346" y="224028"/>
                  </a:lnTo>
                  <a:lnTo>
                    <a:pt x="374870" y="204216"/>
                  </a:lnTo>
                  <a:lnTo>
                    <a:pt x="373346" y="182880"/>
                  </a:lnTo>
                  <a:lnTo>
                    <a:pt x="365726" y="143256"/>
                  </a:lnTo>
                  <a:lnTo>
                    <a:pt x="352010" y="106680"/>
                  </a:lnTo>
                  <a:lnTo>
                    <a:pt x="320006" y="59436"/>
                  </a:lnTo>
                  <a:lnTo>
                    <a:pt x="275822" y="24384"/>
                  </a:lnTo>
                  <a:lnTo>
                    <a:pt x="252353" y="13716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3" name="object 133"/>
          <p:cNvSpPr txBox="1"/>
          <p:nvPr/>
        </p:nvSpPr>
        <p:spPr>
          <a:xfrm>
            <a:off x="1004589" y="3310998"/>
            <a:ext cx="13779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solidFill>
                  <a:srgbClr val="F6EDE0"/>
                </a:solidFill>
                <a:latin typeface="Liberation Sans Narrow"/>
                <a:cs typeface="Liberation Sans Narrow"/>
              </a:rPr>
              <a:t>B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34" name="object 134"/>
          <p:cNvSpPr/>
          <p:nvPr/>
        </p:nvSpPr>
        <p:spPr>
          <a:xfrm>
            <a:off x="881155" y="2310323"/>
            <a:ext cx="1496436" cy="72079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5" name="object 135"/>
          <p:cNvSpPr txBox="1"/>
          <p:nvPr/>
        </p:nvSpPr>
        <p:spPr>
          <a:xfrm>
            <a:off x="1004589" y="2358573"/>
            <a:ext cx="13779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solidFill>
                  <a:srgbClr val="F6EDE0"/>
                </a:solidFill>
                <a:latin typeface="Liberation Sans Narrow"/>
                <a:cs typeface="Liberation Sans Narrow"/>
              </a:rPr>
              <a:t>A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36" name="object 136"/>
          <p:cNvSpPr txBox="1"/>
          <p:nvPr/>
        </p:nvSpPr>
        <p:spPr>
          <a:xfrm>
            <a:off x="3565715" y="1697207"/>
            <a:ext cx="2018664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Daily </a:t>
            </a:r>
            <a:r>
              <a:rPr sz="1800" b="1" spc="-10" dirty="0">
                <a:solidFill>
                  <a:srgbClr val="323299"/>
                </a:solidFill>
                <a:latin typeface="Liberation Sans Narrow"/>
                <a:cs typeface="Liberation Sans Narrow"/>
              </a:rPr>
              <a:t>Work</a:t>
            </a:r>
            <a:r>
              <a:rPr sz="1800" b="1" spc="-60" dirty="0">
                <a:solidFill>
                  <a:srgbClr val="323299"/>
                </a:solidFill>
                <a:latin typeface="Liberation Sans Narrow"/>
                <a:cs typeface="Liberation Sans Narrow"/>
              </a:rPr>
              <a:t> </a:t>
            </a:r>
            <a:r>
              <a:rPr sz="1800" b="1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schedules: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37" name="object 137"/>
          <p:cNvSpPr txBox="1"/>
          <p:nvPr/>
        </p:nvSpPr>
        <p:spPr>
          <a:xfrm>
            <a:off x="3458031" y="2221928"/>
            <a:ext cx="3162300" cy="1386840"/>
          </a:xfrm>
          <a:prstGeom prst="rect">
            <a:avLst/>
          </a:prstGeom>
        </p:spPr>
        <p:txBody>
          <a:bodyPr vert="horz" wrap="square" lIns="0" tIns="36195" rIns="0" bIns="0" rtlCol="0">
            <a:spAutoFit/>
          </a:bodyPr>
          <a:lstStyle/>
          <a:p>
            <a:pPr marL="1034415" marR="721995">
              <a:lnSpc>
                <a:spcPct val="100000"/>
              </a:lnSpc>
              <a:spcBef>
                <a:spcPts val="285"/>
              </a:spcBef>
            </a:pPr>
            <a:r>
              <a:rPr sz="1800" b="1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Norm (8H)  Norm (10H)  Executives</a:t>
            </a:r>
            <a:r>
              <a:rPr sz="1800" b="1" spc="-30" dirty="0">
                <a:solidFill>
                  <a:srgbClr val="323299"/>
                </a:solidFill>
                <a:latin typeface="Liberation Sans Narrow"/>
                <a:cs typeface="Liberation Sans Narrow"/>
              </a:rPr>
              <a:t> </a:t>
            </a:r>
            <a:r>
              <a:rPr sz="1800" b="1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(9H)  Early</a:t>
            </a:r>
            <a:endParaRPr sz="1800">
              <a:latin typeface="Liberation Sans Narrow"/>
              <a:cs typeface="Liberation Sans Narrow"/>
            </a:endParaRPr>
          </a:p>
          <a:p>
            <a:pPr marL="1034415">
              <a:lnSpc>
                <a:spcPts val="1989"/>
              </a:lnSpc>
            </a:pPr>
            <a:r>
              <a:rPr sz="1800" b="1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Late</a:t>
            </a:r>
            <a:endParaRPr sz="1800">
              <a:latin typeface="Liberation Sans Narrow"/>
              <a:cs typeface="Liberation Sans Narrow"/>
            </a:endParaRPr>
          </a:p>
        </p:txBody>
      </p:sp>
      <p:grpSp>
        <p:nvGrpSpPr>
          <p:cNvPr id="138" name="object 138"/>
          <p:cNvGrpSpPr/>
          <p:nvPr/>
        </p:nvGrpSpPr>
        <p:grpSpPr>
          <a:xfrm>
            <a:off x="2592466" y="1447800"/>
            <a:ext cx="7012940" cy="2160905"/>
            <a:chOff x="2531674" y="1731629"/>
            <a:chExt cx="7012940" cy="2160905"/>
          </a:xfrm>
        </p:grpSpPr>
        <p:sp>
          <p:nvSpPr>
            <p:cNvPr id="139" name="object 139"/>
            <p:cNvSpPr/>
            <p:nvPr/>
          </p:nvSpPr>
          <p:spPr>
            <a:xfrm>
              <a:off x="2531668" y="2434132"/>
              <a:ext cx="5029200" cy="1458595"/>
            </a:xfrm>
            <a:custGeom>
              <a:avLst/>
              <a:gdLst/>
              <a:ahLst/>
              <a:cxnLst/>
              <a:rect l="l" t="t" r="r" b="b"/>
              <a:pathLst>
                <a:path w="5029200" h="1458595">
                  <a:moveTo>
                    <a:pt x="1808988" y="274294"/>
                  </a:moveTo>
                  <a:lnTo>
                    <a:pt x="1749399" y="274294"/>
                  </a:lnTo>
                  <a:lnTo>
                    <a:pt x="1732013" y="274294"/>
                  </a:lnTo>
                  <a:lnTo>
                    <a:pt x="1729587" y="307822"/>
                  </a:lnTo>
                  <a:lnTo>
                    <a:pt x="1808988" y="274294"/>
                  </a:lnTo>
                  <a:close/>
                </a:path>
                <a:path w="5029200" h="1458595">
                  <a:moveTo>
                    <a:pt x="1837791" y="262128"/>
                  </a:moveTo>
                  <a:lnTo>
                    <a:pt x="1737207" y="202692"/>
                  </a:lnTo>
                  <a:lnTo>
                    <a:pt x="1734642" y="238048"/>
                  </a:lnTo>
                  <a:lnTo>
                    <a:pt x="241147" y="135191"/>
                  </a:lnTo>
                  <a:lnTo>
                    <a:pt x="18288" y="0"/>
                  </a:lnTo>
                  <a:lnTo>
                    <a:pt x="0" y="28956"/>
                  </a:lnTo>
                  <a:lnTo>
                    <a:pt x="92951" y="85356"/>
                  </a:lnTo>
                  <a:lnTo>
                    <a:pt x="121805" y="111353"/>
                  </a:lnTo>
                  <a:lnTo>
                    <a:pt x="111239" y="121920"/>
                  </a:lnTo>
                  <a:lnTo>
                    <a:pt x="1404061" y="1458353"/>
                  </a:lnTo>
                  <a:lnTo>
                    <a:pt x="1453235" y="1458353"/>
                  </a:lnTo>
                  <a:lnTo>
                    <a:pt x="334010" y="302450"/>
                  </a:lnTo>
                  <a:lnTo>
                    <a:pt x="1617726" y="1458353"/>
                  </a:lnTo>
                  <a:lnTo>
                    <a:pt x="1669364" y="1458353"/>
                  </a:lnTo>
                  <a:lnTo>
                    <a:pt x="613181" y="507314"/>
                  </a:lnTo>
                  <a:lnTo>
                    <a:pt x="1725015" y="1373035"/>
                  </a:lnTo>
                  <a:lnTo>
                    <a:pt x="1703679" y="1400467"/>
                  </a:lnTo>
                  <a:lnTo>
                    <a:pt x="1817979" y="1424825"/>
                  </a:lnTo>
                  <a:lnTo>
                    <a:pt x="1798586" y="1383703"/>
                  </a:lnTo>
                  <a:lnTo>
                    <a:pt x="1767687" y="1318171"/>
                  </a:lnTo>
                  <a:lnTo>
                    <a:pt x="1746351" y="1345590"/>
                  </a:lnTo>
                  <a:lnTo>
                    <a:pt x="257454" y="185140"/>
                  </a:lnTo>
                  <a:lnTo>
                    <a:pt x="1700898" y="1060678"/>
                  </a:lnTo>
                  <a:lnTo>
                    <a:pt x="1682343" y="1091095"/>
                  </a:lnTo>
                  <a:lnTo>
                    <a:pt x="1799691" y="1100239"/>
                  </a:lnTo>
                  <a:lnTo>
                    <a:pt x="1780463" y="1069759"/>
                  </a:lnTo>
                  <a:lnTo>
                    <a:pt x="1737207" y="1001179"/>
                  </a:lnTo>
                  <a:lnTo>
                    <a:pt x="1718729" y="1031455"/>
                  </a:lnTo>
                  <a:lnTo>
                    <a:pt x="303923" y="173278"/>
                  </a:lnTo>
                  <a:lnTo>
                    <a:pt x="1732102" y="273088"/>
                  </a:lnTo>
                  <a:lnTo>
                    <a:pt x="1749501" y="273088"/>
                  </a:lnTo>
                  <a:lnTo>
                    <a:pt x="1811845" y="273088"/>
                  </a:lnTo>
                  <a:lnTo>
                    <a:pt x="1837791" y="262128"/>
                  </a:lnTo>
                  <a:close/>
                </a:path>
                <a:path w="5029200" h="1458595">
                  <a:moveTo>
                    <a:pt x="5028768" y="123444"/>
                  </a:moveTo>
                  <a:lnTo>
                    <a:pt x="5008956" y="96012"/>
                  </a:lnTo>
                  <a:lnTo>
                    <a:pt x="4996739" y="104622"/>
                  </a:lnTo>
                  <a:lnTo>
                    <a:pt x="4990668" y="94488"/>
                  </a:lnTo>
                  <a:lnTo>
                    <a:pt x="4955121" y="116103"/>
                  </a:lnTo>
                  <a:lnTo>
                    <a:pt x="3440976" y="451916"/>
                  </a:lnTo>
                  <a:lnTo>
                    <a:pt x="3433292" y="417550"/>
                  </a:lnTo>
                  <a:lnTo>
                    <a:pt x="3341852" y="490702"/>
                  </a:lnTo>
                  <a:lnTo>
                    <a:pt x="3456127" y="519658"/>
                  </a:lnTo>
                  <a:lnTo>
                    <a:pt x="3449307" y="489178"/>
                  </a:lnTo>
                  <a:lnTo>
                    <a:pt x="3448481" y="485482"/>
                  </a:lnTo>
                  <a:lnTo>
                    <a:pt x="4824590" y="181635"/>
                  </a:lnTo>
                  <a:lnTo>
                    <a:pt x="2633599" y="1027176"/>
                  </a:lnTo>
                  <a:lnTo>
                    <a:pt x="2621064" y="995083"/>
                  </a:lnTo>
                  <a:lnTo>
                    <a:pt x="2541816" y="1081951"/>
                  </a:lnTo>
                  <a:lnTo>
                    <a:pt x="2659164" y="1092619"/>
                  </a:lnTo>
                  <a:lnTo>
                    <a:pt x="2649042" y="1066711"/>
                  </a:lnTo>
                  <a:lnTo>
                    <a:pt x="2646578" y="1060399"/>
                  </a:lnTo>
                  <a:lnTo>
                    <a:pt x="4714557" y="262331"/>
                  </a:lnTo>
                  <a:lnTo>
                    <a:pt x="4679251" y="283794"/>
                  </a:lnTo>
                  <a:lnTo>
                    <a:pt x="2627871" y="1341945"/>
                  </a:lnTo>
                  <a:lnTo>
                    <a:pt x="2611920" y="1310551"/>
                  </a:lnTo>
                  <a:lnTo>
                    <a:pt x="2541816" y="1405013"/>
                  </a:lnTo>
                  <a:lnTo>
                    <a:pt x="2659164" y="1403515"/>
                  </a:lnTo>
                  <a:lnTo>
                    <a:pt x="2647543" y="1380655"/>
                  </a:lnTo>
                  <a:lnTo>
                    <a:pt x="2643619" y="1372946"/>
                  </a:lnTo>
                  <a:lnTo>
                    <a:pt x="4254182" y="542175"/>
                  </a:lnTo>
                  <a:lnTo>
                    <a:pt x="2747010" y="1458353"/>
                  </a:lnTo>
                  <a:lnTo>
                    <a:pt x="2815437" y="1458353"/>
                  </a:lnTo>
                  <a:lnTo>
                    <a:pt x="4706074" y="309092"/>
                  </a:lnTo>
                  <a:lnTo>
                    <a:pt x="4707356" y="308432"/>
                  </a:lnTo>
                  <a:lnTo>
                    <a:pt x="3074657" y="1458353"/>
                  </a:lnTo>
                  <a:lnTo>
                    <a:pt x="3135096" y="1458353"/>
                  </a:lnTo>
                  <a:lnTo>
                    <a:pt x="4927295" y="194970"/>
                  </a:lnTo>
                  <a:lnTo>
                    <a:pt x="4989144" y="163068"/>
                  </a:lnTo>
                  <a:lnTo>
                    <a:pt x="4984496" y="154647"/>
                  </a:lnTo>
                  <a:lnTo>
                    <a:pt x="5028768" y="123444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0" name="object 140"/>
            <p:cNvSpPr/>
            <p:nvPr/>
          </p:nvSpPr>
          <p:spPr>
            <a:xfrm>
              <a:off x="6787834" y="1743821"/>
              <a:ext cx="2743200" cy="723900"/>
            </a:xfrm>
            <a:custGeom>
              <a:avLst/>
              <a:gdLst/>
              <a:ahLst/>
              <a:cxnLst/>
              <a:rect l="l" t="t" r="r" b="b"/>
              <a:pathLst>
                <a:path w="2743200" h="723900">
                  <a:moveTo>
                    <a:pt x="2742974" y="0"/>
                  </a:moveTo>
                  <a:lnTo>
                    <a:pt x="0" y="0"/>
                  </a:lnTo>
                  <a:lnTo>
                    <a:pt x="0" y="723839"/>
                  </a:lnTo>
                  <a:lnTo>
                    <a:pt x="2742974" y="723839"/>
                  </a:lnTo>
                  <a:lnTo>
                    <a:pt x="2742974" y="0"/>
                  </a:lnTo>
                  <a:close/>
                </a:path>
              </a:pathLst>
            </a:custGeom>
            <a:solidFill>
              <a:srgbClr val="FFCC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1" name="object 141"/>
            <p:cNvSpPr/>
            <p:nvPr/>
          </p:nvSpPr>
          <p:spPr>
            <a:xfrm>
              <a:off x="6775643" y="1731629"/>
              <a:ext cx="2769235" cy="748665"/>
            </a:xfrm>
            <a:custGeom>
              <a:avLst/>
              <a:gdLst/>
              <a:ahLst/>
              <a:cxnLst/>
              <a:rect l="l" t="t" r="r" b="b"/>
              <a:pathLst>
                <a:path w="2769234" h="748664">
                  <a:moveTo>
                    <a:pt x="2768894" y="0"/>
                  </a:moveTo>
                  <a:lnTo>
                    <a:pt x="0" y="0"/>
                  </a:lnTo>
                  <a:lnTo>
                    <a:pt x="0" y="748223"/>
                  </a:lnTo>
                  <a:lnTo>
                    <a:pt x="2768894" y="748223"/>
                  </a:lnTo>
                  <a:lnTo>
                    <a:pt x="2768894" y="736031"/>
                  </a:lnTo>
                  <a:lnTo>
                    <a:pt x="25908" y="736031"/>
                  </a:lnTo>
                  <a:lnTo>
                    <a:pt x="12192" y="723839"/>
                  </a:lnTo>
                  <a:lnTo>
                    <a:pt x="25908" y="723839"/>
                  </a:lnTo>
                  <a:lnTo>
                    <a:pt x="25908" y="24384"/>
                  </a:lnTo>
                  <a:lnTo>
                    <a:pt x="12192" y="24384"/>
                  </a:lnTo>
                  <a:lnTo>
                    <a:pt x="25908" y="12192"/>
                  </a:lnTo>
                  <a:lnTo>
                    <a:pt x="2768894" y="12192"/>
                  </a:lnTo>
                  <a:lnTo>
                    <a:pt x="2768894" y="0"/>
                  </a:lnTo>
                  <a:close/>
                </a:path>
                <a:path w="2769234" h="748664">
                  <a:moveTo>
                    <a:pt x="25908" y="723839"/>
                  </a:moveTo>
                  <a:lnTo>
                    <a:pt x="12192" y="723839"/>
                  </a:lnTo>
                  <a:lnTo>
                    <a:pt x="25908" y="736031"/>
                  </a:lnTo>
                  <a:lnTo>
                    <a:pt x="25908" y="723839"/>
                  </a:lnTo>
                  <a:close/>
                </a:path>
                <a:path w="2769234" h="748664">
                  <a:moveTo>
                    <a:pt x="2742986" y="723839"/>
                  </a:moveTo>
                  <a:lnTo>
                    <a:pt x="25908" y="723839"/>
                  </a:lnTo>
                  <a:lnTo>
                    <a:pt x="25908" y="736031"/>
                  </a:lnTo>
                  <a:lnTo>
                    <a:pt x="2742986" y="736031"/>
                  </a:lnTo>
                  <a:lnTo>
                    <a:pt x="2742986" y="723839"/>
                  </a:lnTo>
                  <a:close/>
                </a:path>
                <a:path w="2769234" h="748664">
                  <a:moveTo>
                    <a:pt x="2742986" y="12192"/>
                  </a:moveTo>
                  <a:lnTo>
                    <a:pt x="2742986" y="736031"/>
                  </a:lnTo>
                  <a:lnTo>
                    <a:pt x="2755178" y="723839"/>
                  </a:lnTo>
                  <a:lnTo>
                    <a:pt x="2768894" y="723839"/>
                  </a:lnTo>
                  <a:lnTo>
                    <a:pt x="2768894" y="24384"/>
                  </a:lnTo>
                  <a:lnTo>
                    <a:pt x="2755178" y="24384"/>
                  </a:lnTo>
                  <a:lnTo>
                    <a:pt x="2742986" y="12192"/>
                  </a:lnTo>
                  <a:close/>
                </a:path>
                <a:path w="2769234" h="748664">
                  <a:moveTo>
                    <a:pt x="2768894" y="723839"/>
                  </a:moveTo>
                  <a:lnTo>
                    <a:pt x="2755178" y="723839"/>
                  </a:lnTo>
                  <a:lnTo>
                    <a:pt x="2742986" y="736031"/>
                  </a:lnTo>
                  <a:lnTo>
                    <a:pt x="2768894" y="736031"/>
                  </a:lnTo>
                  <a:lnTo>
                    <a:pt x="2768894" y="723839"/>
                  </a:lnTo>
                  <a:close/>
                </a:path>
                <a:path w="2769234" h="748664">
                  <a:moveTo>
                    <a:pt x="25908" y="12192"/>
                  </a:moveTo>
                  <a:lnTo>
                    <a:pt x="12192" y="24384"/>
                  </a:lnTo>
                  <a:lnTo>
                    <a:pt x="25908" y="24384"/>
                  </a:lnTo>
                  <a:lnTo>
                    <a:pt x="25908" y="12192"/>
                  </a:lnTo>
                  <a:close/>
                </a:path>
                <a:path w="2769234" h="748664">
                  <a:moveTo>
                    <a:pt x="2742986" y="12192"/>
                  </a:moveTo>
                  <a:lnTo>
                    <a:pt x="25908" y="12192"/>
                  </a:lnTo>
                  <a:lnTo>
                    <a:pt x="25908" y="24384"/>
                  </a:lnTo>
                  <a:lnTo>
                    <a:pt x="2742986" y="24384"/>
                  </a:lnTo>
                  <a:lnTo>
                    <a:pt x="2742986" y="12192"/>
                  </a:lnTo>
                  <a:close/>
                </a:path>
                <a:path w="2769234" h="748664">
                  <a:moveTo>
                    <a:pt x="2768894" y="12192"/>
                  </a:moveTo>
                  <a:lnTo>
                    <a:pt x="2742986" y="12192"/>
                  </a:lnTo>
                  <a:lnTo>
                    <a:pt x="2755178" y="24384"/>
                  </a:lnTo>
                  <a:lnTo>
                    <a:pt x="2768894" y="24384"/>
                  </a:lnTo>
                  <a:lnTo>
                    <a:pt x="2768894" y="1219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2" name="object 142"/>
          <p:cNvSpPr txBox="1"/>
          <p:nvPr/>
        </p:nvSpPr>
        <p:spPr>
          <a:xfrm>
            <a:off x="6822592" y="1560057"/>
            <a:ext cx="2627011" cy="50462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42900" marR="5080" indent="-330835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Personnel Subarea</a:t>
            </a:r>
            <a:r>
              <a:rPr sz="1600" spc="-114" dirty="0">
                <a:solidFill>
                  <a:srgbClr val="323299"/>
                </a:solidFill>
                <a:latin typeface="Liberation Sans Narrow"/>
                <a:cs typeface="Liberation Sans Narrow"/>
              </a:rPr>
              <a:t> </a:t>
            </a:r>
            <a:r>
              <a:rPr sz="1600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grouping  for </a:t>
            </a:r>
            <a:r>
              <a:rPr sz="1600" spc="-10" dirty="0">
                <a:solidFill>
                  <a:srgbClr val="323299"/>
                </a:solidFill>
                <a:latin typeface="Liberation Sans Narrow"/>
                <a:cs typeface="Liberation Sans Narrow"/>
              </a:rPr>
              <a:t>Work</a:t>
            </a:r>
            <a:r>
              <a:rPr sz="1600" spc="-2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 </a:t>
            </a:r>
            <a:r>
              <a:rPr sz="1600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Schedules</a:t>
            </a:r>
            <a:endParaRPr sz="1600">
              <a:latin typeface="Liberation Sans Narrow"/>
              <a:cs typeface="Liberation Sans Narrow"/>
            </a:endParaRPr>
          </a:p>
        </p:txBody>
      </p:sp>
      <p:grpSp>
        <p:nvGrpSpPr>
          <p:cNvPr id="143" name="object 143"/>
          <p:cNvGrpSpPr/>
          <p:nvPr/>
        </p:nvGrpSpPr>
        <p:grpSpPr>
          <a:xfrm>
            <a:off x="7337800" y="2063466"/>
            <a:ext cx="375285" cy="407034"/>
            <a:chOff x="7277008" y="2347295"/>
            <a:chExt cx="375285" cy="407034"/>
          </a:xfrm>
        </p:grpSpPr>
        <p:sp>
          <p:nvSpPr>
            <p:cNvPr id="144" name="object 144"/>
            <p:cNvSpPr/>
            <p:nvPr/>
          </p:nvSpPr>
          <p:spPr>
            <a:xfrm>
              <a:off x="7283104" y="2353391"/>
              <a:ext cx="363220" cy="393700"/>
            </a:xfrm>
            <a:custGeom>
              <a:avLst/>
              <a:gdLst/>
              <a:ahLst/>
              <a:cxnLst/>
              <a:rect l="l" t="t" r="r" b="b"/>
              <a:pathLst>
                <a:path w="363220" h="393700">
                  <a:moveTo>
                    <a:pt x="181325" y="0"/>
                  </a:moveTo>
                  <a:lnTo>
                    <a:pt x="133508" y="7046"/>
                  </a:lnTo>
                  <a:lnTo>
                    <a:pt x="90302" y="26916"/>
                  </a:lnTo>
                  <a:lnTo>
                    <a:pt x="53526" y="57706"/>
                  </a:lnTo>
                  <a:lnTo>
                    <a:pt x="25003" y="97513"/>
                  </a:lnTo>
                  <a:lnTo>
                    <a:pt x="6554" y="144434"/>
                  </a:lnTo>
                  <a:lnTo>
                    <a:pt x="0" y="196565"/>
                  </a:lnTo>
                  <a:lnTo>
                    <a:pt x="6554" y="249225"/>
                  </a:lnTo>
                  <a:lnTo>
                    <a:pt x="25003" y="296294"/>
                  </a:lnTo>
                  <a:lnTo>
                    <a:pt x="53526" y="335996"/>
                  </a:lnTo>
                  <a:lnTo>
                    <a:pt x="90302" y="366553"/>
                  </a:lnTo>
                  <a:lnTo>
                    <a:pt x="133508" y="386190"/>
                  </a:lnTo>
                  <a:lnTo>
                    <a:pt x="181325" y="393131"/>
                  </a:lnTo>
                  <a:lnTo>
                    <a:pt x="229684" y="386190"/>
                  </a:lnTo>
                  <a:lnTo>
                    <a:pt x="273047" y="366553"/>
                  </a:lnTo>
                  <a:lnTo>
                    <a:pt x="309722" y="335996"/>
                  </a:lnTo>
                  <a:lnTo>
                    <a:pt x="338015" y="296294"/>
                  </a:lnTo>
                  <a:lnTo>
                    <a:pt x="356232" y="249225"/>
                  </a:lnTo>
                  <a:lnTo>
                    <a:pt x="362681" y="196565"/>
                  </a:lnTo>
                  <a:lnTo>
                    <a:pt x="356232" y="144434"/>
                  </a:lnTo>
                  <a:lnTo>
                    <a:pt x="338015" y="97513"/>
                  </a:lnTo>
                  <a:lnTo>
                    <a:pt x="309722" y="57706"/>
                  </a:lnTo>
                  <a:lnTo>
                    <a:pt x="273047" y="26916"/>
                  </a:lnTo>
                  <a:lnTo>
                    <a:pt x="229684" y="7046"/>
                  </a:lnTo>
                  <a:lnTo>
                    <a:pt x="181325" y="0"/>
                  </a:lnTo>
                  <a:close/>
                </a:path>
              </a:pathLst>
            </a:custGeom>
            <a:solidFill>
              <a:srgbClr val="FF65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5" name="object 145"/>
            <p:cNvSpPr/>
            <p:nvPr/>
          </p:nvSpPr>
          <p:spPr>
            <a:xfrm>
              <a:off x="7277008" y="2347295"/>
              <a:ext cx="375285" cy="407034"/>
            </a:xfrm>
            <a:custGeom>
              <a:avLst/>
              <a:gdLst/>
              <a:ahLst/>
              <a:cxnLst/>
              <a:rect l="l" t="t" r="r" b="b"/>
              <a:pathLst>
                <a:path w="375284" h="407035">
                  <a:moveTo>
                    <a:pt x="187421" y="0"/>
                  </a:moveTo>
                  <a:lnTo>
                    <a:pt x="149321" y="4572"/>
                  </a:lnTo>
                  <a:lnTo>
                    <a:pt x="97536" y="24384"/>
                  </a:lnTo>
                  <a:lnTo>
                    <a:pt x="54864" y="59436"/>
                  </a:lnTo>
                  <a:lnTo>
                    <a:pt x="22860" y="106649"/>
                  </a:lnTo>
                  <a:lnTo>
                    <a:pt x="9144" y="143225"/>
                  </a:lnTo>
                  <a:lnTo>
                    <a:pt x="1524" y="182849"/>
                  </a:lnTo>
                  <a:lnTo>
                    <a:pt x="0" y="202661"/>
                  </a:lnTo>
                  <a:lnTo>
                    <a:pt x="1524" y="223997"/>
                  </a:lnTo>
                  <a:lnTo>
                    <a:pt x="9144" y="263621"/>
                  </a:lnTo>
                  <a:lnTo>
                    <a:pt x="22860" y="300197"/>
                  </a:lnTo>
                  <a:lnTo>
                    <a:pt x="54864" y="347441"/>
                  </a:lnTo>
                  <a:lnTo>
                    <a:pt x="99060" y="382463"/>
                  </a:lnTo>
                  <a:lnTo>
                    <a:pt x="150845" y="402275"/>
                  </a:lnTo>
                  <a:lnTo>
                    <a:pt x="187421" y="406847"/>
                  </a:lnTo>
                  <a:lnTo>
                    <a:pt x="207233" y="405323"/>
                  </a:lnTo>
                  <a:lnTo>
                    <a:pt x="225521" y="402275"/>
                  </a:lnTo>
                  <a:lnTo>
                    <a:pt x="243809" y="396179"/>
                  </a:lnTo>
                  <a:lnTo>
                    <a:pt x="252191" y="393131"/>
                  </a:lnTo>
                  <a:lnTo>
                    <a:pt x="169133" y="393131"/>
                  </a:lnTo>
                  <a:lnTo>
                    <a:pt x="152369" y="390083"/>
                  </a:lnTo>
                  <a:lnTo>
                    <a:pt x="105156" y="370271"/>
                  </a:lnTo>
                  <a:lnTo>
                    <a:pt x="64008" y="338297"/>
                  </a:lnTo>
                  <a:lnTo>
                    <a:pt x="33528" y="294101"/>
                  </a:lnTo>
                  <a:lnTo>
                    <a:pt x="16764" y="240761"/>
                  </a:lnTo>
                  <a:lnTo>
                    <a:pt x="13716" y="222473"/>
                  </a:lnTo>
                  <a:lnTo>
                    <a:pt x="13716" y="182849"/>
                  </a:lnTo>
                  <a:lnTo>
                    <a:pt x="27432" y="127985"/>
                  </a:lnTo>
                  <a:lnTo>
                    <a:pt x="53340" y="80741"/>
                  </a:lnTo>
                  <a:lnTo>
                    <a:pt x="77724" y="56388"/>
                  </a:lnTo>
                  <a:lnTo>
                    <a:pt x="89916" y="44196"/>
                  </a:lnTo>
                  <a:lnTo>
                    <a:pt x="135636" y="21336"/>
                  </a:lnTo>
                  <a:lnTo>
                    <a:pt x="187421" y="12192"/>
                  </a:lnTo>
                  <a:lnTo>
                    <a:pt x="252191" y="12192"/>
                  </a:lnTo>
                  <a:lnTo>
                    <a:pt x="243809" y="9144"/>
                  </a:lnTo>
                  <a:lnTo>
                    <a:pt x="225521" y="4572"/>
                  </a:lnTo>
                  <a:lnTo>
                    <a:pt x="207233" y="1524"/>
                  </a:lnTo>
                  <a:lnTo>
                    <a:pt x="187421" y="0"/>
                  </a:lnTo>
                  <a:close/>
                </a:path>
                <a:path w="375284" h="407035">
                  <a:moveTo>
                    <a:pt x="252191" y="12192"/>
                  </a:moveTo>
                  <a:lnTo>
                    <a:pt x="187421" y="12192"/>
                  </a:lnTo>
                  <a:lnTo>
                    <a:pt x="205709" y="13716"/>
                  </a:lnTo>
                  <a:lnTo>
                    <a:pt x="222473" y="16764"/>
                  </a:lnTo>
                  <a:lnTo>
                    <a:pt x="271241" y="35052"/>
                  </a:lnTo>
                  <a:lnTo>
                    <a:pt x="310865" y="68549"/>
                  </a:lnTo>
                  <a:lnTo>
                    <a:pt x="341345" y="112745"/>
                  </a:lnTo>
                  <a:lnTo>
                    <a:pt x="358109" y="164561"/>
                  </a:lnTo>
                  <a:lnTo>
                    <a:pt x="362681" y="202661"/>
                  </a:lnTo>
                  <a:lnTo>
                    <a:pt x="361157" y="222473"/>
                  </a:lnTo>
                  <a:lnTo>
                    <a:pt x="355061" y="260573"/>
                  </a:lnTo>
                  <a:lnTo>
                    <a:pt x="332201" y="309341"/>
                  </a:lnTo>
                  <a:lnTo>
                    <a:pt x="298673" y="350459"/>
                  </a:lnTo>
                  <a:lnTo>
                    <a:pt x="256001" y="379415"/>
                  </a:lnTo>
                  <a:lnTo>
                    <a:pt x="205709" y="393131"/>
                  </a:lnTo>
                  <a:lnTo>
                    <a:pt x="252191" y="393131"/>
                  </a:lnTo>
                  <a:lnTo>
                    <a:pt x="292577" y="371795"/>
                  </a:lnTo>
                  <a:lnTo>
                    <a:pt x="332201" y="332201"/>
                  </a:lnTo>
                  <a:lnTo>
                    <a:pt x="361157" y="281909"/>
                  </a:lnTo>
                  <a:lnTo>
                    <a:pt x="371825" y="243809"/>
                  </a:lnTo>
                  <a:lnTo>
                    <a:pt x="374873" y="223997"/>
                  </a:lnTo>
                  <a:lnTo>
                    <a:pt x="374873" y="202661"/>
                  </a:lnTo>
                  <a:lnTo>
                    <a:pt x="371825" y="161513"/>
                  </a:lnTo>
                  <a:lnTo>
                    <a:pt x="359633" y="123413"/>
                  </a:lnTo>
                  <a:lnTo>
                    <a:pt x="332201" y="73121"/>
                  </a:lnTo>
                  <a:lnTo>
                    <a:pt x="292577" y="35052"/>
                  </a:lnTo>
                  <a:lnTo>
                    <a:pt x="260573" y="15240"/>
                  </a:lnTo>
                  <a:lnTo>
                    <a:pt x="252191" y="1219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6" name="object 146"/>
          <p:cNvSpPr txBox="1"/>
          <p:nvPr/>
        </p:nvSpPr>
        <p:spPr>
          <a:xfrm>
            <a:off x="7408916" y="2111697"/>
            <a:ext cx="500461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solidFill>
                  <a:srgbClr val="F6EDE0"/>
                </a:solidFill>
                <a:latin typeface="Liberation Sans Narrow"/>
                <a:cs typeface="Liberation Sans Narrow"/>
              </a:rPr>
              <a:t>0</a:t>
            </a:r>
            <a:r>
              <a:rPr sz="1800" dirty="0">
                <a:solidFill>
                  <a:srgbClr val="F6EDE0"/>
                </a:solidFill>
                <a:latin typeface="Liberation Sans Narrow"/>
                <a:cs typeface="Liberation Sans Narrow"/>
              </a:rPr>
              <a:t>2</a:t>
            </a:r>
            <a:endParaRPr sz="1800" dirty="0">
              <a:latin typeface="Liberation Sans Narrow"/>
              <a:cs typeface="Liberation Sans Narrow"/>
            </a:endParaRPr>
          </a:p>
        </p:txBody>
      </p:sp>
      <p:grpSp>
        <p:nvGrpSpPr>
          <p:cNvPr id="147" name="object 147"/>
          <p:cNvGrpSpPr/>
          <p:nvPr/>
        </p:nvGrpSpPr>
        <p:grpSpPr>
          <a:xfrm>
            <a:off x="2537603" y="2063466"/>
            <a:ext cx="1893037" cy="873221"/>
            <a:chOff x="2476811" y="2347295"/>
            <a:chExt cx="1893037" cy="873221"/>
          </a:xfrm>
        </p:grpSpPr>
        <p:sp>
          <p:nvSpPr>
            <p:cNvPr id="148" name="object 148"/>
            <p:cNvSpPr/>
            <p:nvPr/>
          </p:nvSpPr>
          <p:spPr>
            <a:xfrm>
              <a:off x="2763298" y="2565196"/>
              <a:ext cx="1606550" cy="655320"/>
            </a:xfrm>
            <a:custGeom>
              <a:avLst/>
              <a:gdLst/>
              <a:ahLst/>
              <a:cxnLst/>
              <a:rect l="l" t="t" r="r" b="b"/>
              <a:pathLst>
                <a:path w="1606550" h="655319">
                  <a:moveTo>
                    <a:pt x="1501877" y="623112"/>
                  </a:moveTo>
                  <a:lnTo>
                    <a:pt x="1488813" y="655259"/>
                  </a:lnTo>
                  <a:lnTo>
                    <a:pt x="1606161" y="646115"/>
                  </a:lnTo>
                  <a:lnTo>
                    <a:pt x="1591416" y="629351"/>
                  </a:lnTo>
                  <a:lnTo>
                    <a:pt x="1517769" y="629351"/>
                  </a:lnTo>
                  <a:lnTo>
                    <a:pt x="1501877" y="623112"/>
                  </a:lnTo>
                  <a:close/>
                </a:path>
                <a:path w="1606550" h="655319">
                  <a:moveTo>
                    <a:pt x="1514984" y="590859"/>
                  </a:moveTo>
                  <a:lnTo>
                    <a:pt x="1501877" y="623112"/>
                  </a:lnTo>
                  <a:lnTo>
                    <a:pt x="1517769" y="629351"/>
                  </a:lnTo>
                  <a:lnTo>
                    <a:pt x="1531485" y="597347"/>
                  </a:lnTo>
                  <a:lnTo>
                    <a:pt x="1514984" y="590859"/>
                  </a:lnTo>
                  <a:close/>
                </a:path>
                <a:path w="1606550" h="655319">
                  <a:moveTo>
                    <a:pt x="1528437" y="557753"/>
                  </a:moveTo>
                  <a:lnTo>
                    <a:pt x="1514984" y="590859"/>
                  </a:lnTo>
                  <a:lnTo>
                    <a:pt x="1531485" y="597347"/>
                  </a:lnTo>
                  <a:lnTo>
                    <a:pt x="1517769" y="629351"/>
                  </a:lnTo>
                  <a:lnTo>
                    <a:pt x="1591416" y="629351"/>
                  </a:lnTo>
                  <a:lnTo>
                    <a:pt x="1528437" y="557753"/>
                  </a:lnTo>
                  <a:close/>
                </a:path>
                <a:path w="1606550" h="655319">
                  <a:moveTo>
                    <a:pt x="12192" y="0"/>
                  </a:moveTo>
                  <a:lnTo>
                    <a:pt x="0" y="33528"/>
                  </a:lnTo>
                  <a:lnTo>
                    <a:pt x="1501877" y="623112"/>
                  </a:lnTo>
                  <a:lnTo>
                    <a:pt x="1514984" y="590859"/>
                  </a:lnTo>
                  <a:lnTo>
                    <a:pt x="12192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9" name="object 149"/>
            <p:cNvSpPr/>
            <p:nvPr/>
          </p:nvSpPr>
          <p:spPr>
            <a:xfrm>
              <a:off x="2482907" y="2353391"/>
              <a:ext cx="363220" cy="393700"/>
            </a:xfrm>
            <a:custGeom>
              <a:avLst/>
              <a:gdLst/>
              <a:ahLst/>
              <a:cxnLst/>
              <a:rect l="l" t="t" r="r" b="b"/>
              <a:pathLst>
                <a:path w="363219" h="393700">
                  <a:moveTo>
                    <a:pt x="181343" y="0"/>
                  </a:moveTo>
                  <a:lnTo>
                    <a:pt x="133515" y="7046"/>
                  </a:lnTo>
                  <a:lnTo>
                    <a:pt x="90302" y="26916"/>
                  </a:lnTo>
                  <a:lnTo>
                    <a:pt x="53524" y="57706"/>
                  </a:lnTo>
                  <a:lnTo>
                    <a:pt x="25001" y="97513"/>
                  </a:lnTo>
                  <a:lnTo>
                    <a:pt x="6553" y="144434"/>
                  </a:lnTo>
                  <a:lnTo>
                    <a:pt x="0" y="196565"/>
                  </a:lnTo>
                  <a:lnTo>
                    <a:pt x="6553" y="249225"/>
                  </a:lnTo>
                  <a:lnTo>
                    <a:pt x="25001" y="296294"/>
                  </a:lnTo>
                  <a:lnTo>
                    <a:pt x="53524" y="335996"/>
                  </a:lnTo>
                  <a:lnTo>
                    <a:pt x="90302" y="366553"/>
                  </a:lnTo>
                  <a:lnTo>
                    <a:pt x="133515" y="386190"/>
                  </a:lnTo>
                  <a:lnTo>
                    <a:pt x="181343" y="393131"/>
                  </a:lnTo>
                  <a:lnTo>
                    <a:pt x="229696" y="386190"/>
                  </a:lnTo>
                  <a:lnTo>
                    <a:pt x="273054" y="366553"/>
                  </a:lnTo>
                  <a:lnTo>
                    <a:pt x="309724" y="335996"/>
                  </a:lnTo>
                  <a:lnTo>
                    <a:pt x="338012" y="296294"/>
                  </a:lnTo>
                  <a:lnTo>
                    <a:pt x="356227" y="249225"/>
                  </a:lnTo>
                  <a:lnTo>
                    <a:pt x="362675" y="196565"/>
                  </a:lnTo>
                  <a:lnTo>
                    <a:pt x="356227" y="144434"/>
                  </a:lnTo>
                  <a:lnTo>
                    <a:pt x="338012" y="97513"/>
                  </a:lnTo>
                  <a:lnTo>
                    <a:pt x="309724" y="57706"/>
                  </a:lnTo>
                  <a:lnTo>
                    <a:pt x="273054" y="26916"/>
                  </a:lnTo>
                  <a:lnTo>
                    <a:pt x="229696" y="7046"/>
                  </a:lnTo>
                  <a:lnTo>
                    <a:pt x="181343" y="0"/>
                  </a:lnTo>
                  <a:close/>
                </a:path>
              </a:pathLst>
            </a:custGeom>
            <a:solidFill>
              <a:srgbClr val="FF65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0" name="object 150"/>
            <p:cNvSpPr/>
            <p:nvPr/>
          </p:nvSpPr>
          <p:spPr>
            <a:xfrm>
              <a:off x="2476811" y="2347295"/>
              <a:ext cx="375285" cy="407034"/>
            </a:xfrm>
            <a:custGeom>
              <a:avLst/>
              <a:gdLst/>
              <a:ahLst/>
              <a:cxnLst/>
              <a:rect l="l" t="t" r="r" b="b"/>
              <a:pathLst>
                <a:path w="375285" h="407035">
                  <a:moveTo>
                    <a:pt x="187439" y="0"/>
                  </a:moveTo>
                  <a:lnTo>
                    <a:pt x="149339" y="4572"/>
                  </a:lnTo>
                  <a:lnTo>
                    <a:pt x="97523" y="24384"/>
                  </a:lnTo>
                  <a:lnTo>
                    <a:pt x="54864" y="59436"/>
                  </a:lnTo>
                  <a:lnTo>
                    <a:pt x="22860" y="106649"/>
                  </a:lnTo>
                  <a:lnTo>
                    <a:pt x="9144" y="143225"/>
                  </a:lnTo>
                  <a:lnTo>
                    <a:pt x="1524" y="182849"/>
                  </a:lnTo>
                  <a:lnTo>
                    <a:pt x="0" y="202661"/>
                  </a:lnTo>
                  <a:lnTo>
                    <a:pt x="1524" y="223997"/>
                  </a:lnTo>
                  <a:lnTo>
                    <a:pt x="9144" y="263621"/>
                  </a:lnTo>
                  <a:lnTo>
                    <a:pt x="22860" y="300197"/>
                  </a:lnTo>
                  <a:lnTo>
                    <a:pt x="54864" y="347441"/>
                  </a:lnTo>
                  <a:lnTo>
                    <a:pt x="99047" y="382463"/>
                  </a:lnTo>
                  <a:lnTo>
                    <a:pt x="150863" y="402275"/>
                  </a:lnTo>
                  <a:lnTo>
                    <a:pt x="187439" y="406847"/>
                  </a:lnTo>
                  <a:lnTo>
                    <a:pt x="207251" y="405323"/>
                  </a:lnTo>
                  <a:lnTo>
                    <a:pt x="225527" y="402275"/>
                  </a:lnTo>
                  <a:lnTo>
                    <a:pt x="243815" y="396179"/>
                  </a:lnTo>
                  <a:lnTo>
                    <a:pt x="252197" y="393131"/>
                  </a:lnTo>
                  <a:lnTo>
                    <a:pt x="169151" y="393131"/>
                  </a:lnTo>
                  <a:lnTo>
                    <a:pt x="152387" y="390083"/>
                  </a:lnTo>
                  <a:lnTo>
                    <a:pt x="105143" y="370271"/>
                  </a:lnTo>
                  <a:lnTo>
                    <a:pt x="64008" y="338297"/>
                  </a:lnTo>
                  <a:lnTo>
                    <a:pt x="33528" y="294101"/>
                  </a:lnTo>
                  <a:lnTo>
                    <a:pt x="16764" y="240761"/>
                  </a:lnTo>
                  <a:lnTo>
                    <a:pt x="13716" y="222473"/>
                  </a:lnTo>
                  <a:lnTo>
                    <a:pt x="13716" y="182849"/>
                  </a:lnTo>
                  <a:lnTo>
                    <a:pt x="27432" y="127985"/>
                  </a:lnTo>
                  <a:lnTo>
                    <a:pt x="53340" y="80741"/>
                  </a:lnTo>
                  <a:lnTo>
                    <a:pt x="77724" y="56388"/>
                  </a:lnTo>
                  <a:lnTo>
                    <a:pt x="89903" y="44196"/>
                  </a:lnTo>
                  <a:lnTo>
                    <a:pt x="135623" y="21336"/>
                  </a:lnTo>
                  <a:lnTo>
                    <a:pt x="187439" y="12192"/>
                  </a:lnTo>
                  <a:lnTo>
                    <a:pt x="252197" y="12192"/>
                  </a:lnTo>
                  <a:lnTo>
                    <a:pt x="243815" y="9144"/>
                  </a:lnTo>
                  <a:lnTo>
                    <a:pt x="225527" y="4572"/>
                  </a:lnTo>
                  <a:lnTo>
                    <a:pt x="207251" y="1524"/>
                  </a:lnTo>
                  <a:lnTo>
                    <a:pt x="187439" y="0"/>
                  </a:lnTo>
                  <a:close/>
                </a:path>
                <a:path w="375285" h="407035">
                  <a:moveTo>
                    <a:pt x="252197" y="12192"/>
                  </a:moveTo>
                  <a:lnTo>
                    <a:pt x="187439" y="12192"/>
                  </a:lnTo>
                  <a:lnTo>
                    <a:pt x="205727" y="13716"/>
                  </a:lnTo>
                  <a:lnTo>
                    <a:pt x="222491" y="16764"/>
                  </a:lnTo>
                  <a:lnTo>
                    <a:pt x="271247" y="35052"/>
                  </a:lnTo>
                  <a:lnTo>
                    <a:pt x="310871" y="68549"/>
                  </a:lnTo>
                  <a:lnTo>
                    <a:pt x="341351" y="112745"/>
                  </a:lnTo>
                  <a:lnTo>
                    <a:pt x="358115" y="164561"/>
                  </a:lnTo>
                  <a:lnTo>
                    <a:pt x="362687" y="202661"/>
                  </a:lnTo>
                  <a:lnTo>
                    <a:pt x="361163" y="222473"/>
                  </a:lnTo>
                  <a:lnTo>
                    <a:pt x="355067" y="260573"/>
                  </a:lnTo>
                  <a:lnTo>
                    <a:pt x="332207" y="309341"/>
                  </a:lnTo>
                  <a:lnTo>
                    <a:pt x="298679" y="350459"/>
                  </a:lnTo>
                  <a:lnTo>
                    <a:pt x="256007" y="379415"/>
                  </a:lnTo>
                  <a:lnTo>
                    <a:pt x="205727" y="393131"/>
                  </a:lnTo>
                  <a:lnTo>
                    <a:pt x="252197" y="393131"/>
                  </a:lnTo>
                  <a:lnTo>
                    <a:pt x="292583" y="371795"/>
                  </a:lnTo>
                  <a:lnTo>
                    <a:pt x="332207" y="332201"/>
                  </a:lnTo>
                  <a:lnTo>
                    <a:pt x="361163" y="281909"/>
                  </a:lnTo>
                  <a:lnTo>
                    <a:pt x="371819" y="243809"/>
                  </a:lnTo>
                  <a:lnTo>
                    <a:pt x="374867" y="223997"/>
                  </a:lnTo>
                  <a:lnTo>
                    <a:pt x="374867" y="202661"/>
                  </a:lnTo>
                  <a:lnTo>
                    <a:pt x="371819" y="161513"/>
                  </a:lnTo>
                  <a:lnTo>
                    <a:pt x="359639" y="123413"/>
                  </a:lnTo>
                  <a:lnTo>
                    <a:pt x="332207" y="73121"/>
                  </a:lnTo>
                  <a:lnTo>
                    <a:pt x="292583" y="35052"/>
                  </a:lnTo>
                  <a:lnTo>
                    <a:pt x="260579" y="15240"/>
                  </a:lnTo>
                  <a:lnTo>
                    <a:pt x="252197" y="1219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1" name="object 151"/>
          <p:cNvSpPr txBox="1"/>
          <p:nvPr/>
        </p:nvSpPr>
        <p:spPr>
          <a:xfrm>
            <a:off x="2621406" y="2111697"/>
            <a:ext cx="415749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solidFill>
                  <a:srgbClr val="F6EDE0"/>
                </a:solidFill>
                <a:latin typeface="Liberation Sans Narrow"/>
                <a:cs typeface="Liberation Sans Narrow"/>
              </a:rPr>
              <a:t>0</a:t>
            </a:r>
            <a:r>
              <a:rPr sz="1800" dirty="0">
                <a:solidFill>
                  <a:srgbClr val="F6EDE0"/>
                </a:solidFill>
                <a:latin typeface="Liberation Sans Narrow"/>
                <a:cs typeface="Liberation Sans Narrow"/>
              </a:rPr>
              <a:t>1</a:t>
            </a:r>
            <a:endParaRPr sz="1800" dirty="0">
              <a:latin typeface="Liberation Sans Narrow"/>
              <a:cs typeface="Liberation Sans Narrow"/>
            </a:endParaRPr>
          </a:p>
        </p:txBody>
      </p:sp>
      <p:sp>
        <p:nvSpPr>
          <p:cNvPr id="152" name="object 152"/>
          <p:cNvSpPr txBox="1">
            <a:spLocks noGrp="1"/>
          </p:cNvSpPr>
          <p:nvPr>
            <p:ph type="title"/>
          </p:nvPr>
        </p:nvSpPr>
        <p:spPr>
          <a:xfrm>
            <a:off x="760771" y="416865"/>
            <a:ext cx="7357109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Define Personnel Subarea</a:t>
            </a:r>
            <a:r>
              <a:rPr spc="-9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Groupings</a:t>
            </a:r>
            <a:r>
              <a:rPr spc="-5" dirty="0"/>
              <a:t>:</a:t>
            </a:r>
          </a:p>
        </p:txBody>
      </p:sp>
      <p:grpSp>
        <p:nvGrpSpPr>
          <p:cNvPr id="154" name="object 154"/>
          <p:cNvGrpSpPr/>
          <p:nvPr/>
        </p:nvGrpSpPr>
        <p:grpSpPr>
          <a:xfrm>
            <a:off x="522684" y="3552596"/>
            <a:ext cx="9143365" cy="3430451"/>
            <a:chOff x="463771" y="3891028"/>
            <a:chExt cx="9143365" cy="3430451"/>
          </a:xfrm>
        </p:grpSpPr>
        <p:sp>
          <p:nvSpPr>
            <p:cNvPr id="155" name="object 155"/>
            <p:cNvSpPr/>
            <p:nvPr/>
          </p:nvSpPr>
          <p:spPr>
            <a:xfrm>
              <a:off x="463771" y="3892479"/>
              <a:ext cx="9143365" cy="3429000"/>
            </a:xfrm>
            <a:custGeom>
              <a:avLst/>
              <a:gdLst/>
              <a:ahLst/>
              <a:cxnLst/>
              <a:rect l="l" t="t" r="r" b="b"/>
              <a:pathLst>
                <a:path w="9143365" h="3429000">
                  <a:moveTo>
                    <a:pt x="0" y="3428722"/>
                  </a:moveTo>
                  <a:lnTo>
                    <a:pt x="9143238" y="3428722"/>
                  </a:lnTo>
                  <a:lnTo>
                    <a:pt x="9143238" y="0"/>
                  </a:lnTo>
                  <a:lnTo>
                    <a:pt x="0" y="0"/>
                  </a:lnTo>
                  <a:lnTo>
                    <a:pt x="0" y="342872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7" name="object 157"/>
            <p:cNvSpPr/>
            <p:nvPr/>
          </p:nvSpPr>
          <p:spPr>
            <a:xfrm>
              <a:off x="3397239" y="3892479"/>
              <a:ext cx="3162300" cy="767080"/>
            </a:xfrm>
            <a:custGeom>
              <a:avLst/>
              <a:gdLst/>
              <a:ahLst/>
              <a:cxnLst/>
              <a:rect l="l" t="t" r="r" b="b"/>
              <a:pathLst>
                <a:path w="3162300" h="767079">
                  <a:moveTo>
                    <a:pt x="0" y="766510"/>
                  </a:moveTo>
                  <a:lnTo>
                    <a:pt x="3162025" y="766510"/>
                  </a:lnTo>
                  <a:lnTo>
                    <a:pt x="3162025" y="0"/>
                  </a:lnTo>
                  <a:lnTo>
                    <a:pt x="0" y="0"/>
                  </a:lnTo>
                  <a:lnTo>
                    <a:pt x="0" y="766510"/>
                  </a:lnTo>
                  <a:close/>
                </a:path>
              </a:pathLst>
            </a:custGeom>
            <a:solidFill>
              <a:srgbClr val="F8C55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8" name="object 158"/>
            <p:cNvSpPr/>
            <p:nvPr/>
          </p:nvSpPr>
          <p:spPr>
            <a:xfrm>
              <a:off x="3385048" y="3892479"/>
              <a:ext cx="3188335" cy="779145"/>
            </a:xfrm>
            <a:custGeom>
              <a:avLst/>
              <a:gdLst/>
              <a:ahLst/>
              <a:cxnLst/>
              <a:rect l="l" t="t" r="r" b="b"/>
              <a:pathLst>
                <a:path w="3188334" h="779145">
                  <a:moveTo>
                    <a:pt x="25908" y="0"/>
                  </a:moveTo>
                  <a:lnTo>
                    <a:pt x="0" y="0"/>
                  </a:lnTo>
                  <a:lnTo>
                    <a:pt x="0" y="778702"/>
                  </a:lnTo>
                  <a:lnTo>
                    <a:pt x="3187933" y="778702"/>
                  </a:lnTo>
                  <a:lnTo>
                    <a:pt x="3187933" y="766510"/>
                  </a:lnTo>
                  <a:lnTo>
                    <a:pt x="25908" y="766510"/>
                  </a:lnTo>
                  <a:lnTo>
                    <a:pt x="12192" y="752794"/>
                  </a:lnTo>
                  <a:lnTo>
                    <a:pt x="25908" y="752794"/>
                  </a:lnTo>
                  <a:lnTo>
                    <a:pt x="25908" y="0"/>
                  </a:lnTo>
                  <a:close/>
                </a:path>
                <a:path w="3188334" h="779145">
                  <a:moveTo>
                    <a:pt x="25908" y="752794"/>
                  </a:moveTo>
                  <a:lnTo>
                    <a:pt x="12192" y="752794"/>
                  </a:lnTo>
                  <a:lnTo>
                    <a:pt x="25908" y="766510"/>
                  </a:lnTo>
                  <a:lnTo>
                    <a:pt x="25908" y="752794"/>
                  </a:lnTo>
                  <a:close/>
                </a:path>
                <a:path w="3188334" h="779145">
                  <a:moveTo>
                    <a:pt x="3162025" y="752794"/>
                  </a:moveTo>
                  <a:lnTo>
                    <a:pt x="25908" y="752794"/>
                  </a:lnTo>
                  <a:lnTo>
                    <a:pt x="25908" y="766510"/>
                  </a:lnTo>
                  <a:lnTo>
                    <a:pt x="3162025" y="766510"/>
                  </a:lnTo>
                  <a:lnTo>
                    <a:pt x="3162025" y="752794"/>
                  </a:lnTo>
                  <a:close/>
                </a:path>
                <a:path w="3188334" h="779145">
                  <a:moveTo>
                    <a:pt x="3187933" y="0"/>
                  </a:moveTo>
                  <a:lnTo>
                    <a:pt x="3162025" y="0"/>
                  </a:lnTo>
                  <a:lnTo>
                    <a:pt x="3162025" y="766510"/>
                  </a:lnTo>
                  <a:lnTo>
                    <a:pt x="3174217" y="752794"/>
                  </a:lnTo>
                  <a:lnTo>
                    <a:pt x="3187933" y="752794"/>
                  </a:lnTo>
                  <a:lnTo>
                    <a:pt x="3187933" y="0"/>
                  </a:lnTo>
                  <a:close/>
                </a:path>
                <a:path w="3188334" h="779145">
                  <a:moveTo>
                    <a:pt x="3187933" y="752794"/>
                  </a:moveTo>
                  <a:lnTo>
                    <a:pt x="3174217" y="752794"/>
                  </a:lnTo>
                  <a:lnTo>
                    <a:pt x="3162025" y="766510"/>
                  </a:lnTo>
                  <a:lnTo>
                    <a:pt x="3187933" y="766510"/>
                  </a:lnTo>
                  <a:lnTo>
                    <a:pt x="3187933" y="752794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9" name="object 159"/>
            <p:cNvSpPr/>
            <p:nvPr/>
          </p:nvSpPr>
          <p:spPr>
            <a:xfrm>
              <a:off x="5626668" y="5020150"/>
              <a:ext cx="3162300" cy="1524000"/>
            </a:xfrm>
            <a:custGeom>
              <a:avLst/>
              <a:gdLst/>
              <a:ahLst/>
              <a:cxnLst/>
              <a:rect l="l" t="t" r="r" b="b"/>
              <a:pathLst>
                <a:path w="3162300" h="1524000">
                  <a:moveTo>
                    <a:pt x="3162025" y="0"/>
                  </a:moveTo>
                  <a:lnTo>
                    <a:pt x="0" y="0"/>
                  </a:lnTo>
                  <a:lnTo>
                    <a:pt x="0" y="1523881"/>
                  </a:lnTo>
                  <a:lnTo>
                    <a:pt x="3162025" y="1523881"/>
                  </a:lnTo>
                  <a:lnTo>
                    <a:pt x="3162025" y="0"/>
                  </a:lnTo>
                  <a:close/>
                </a:path>
              </a:pathLst>
            </a:custGeom>
            <a:solidFill>
              <a:srgbClr val="F8C55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0" name="object 160"/>
            <p:cNvSpPr/>
            <p:nvPr/>
          </p:nvSpPr>
          <p:spPr>
            <a:xfrm>
              <a:off x="5614477" y="5007958"/>
              <a:ext cx="3186430" cy="1548765"/>
            </a:xfrm>
            <a:custGeom>
              <a:avLst/>
              <a:gdLst/>
              <a:ahLst/>
              <a:cxnLst/>
              <a:rect l="l" t="t" r="r" b="b"/>
              <a:pathLst>
                <a:path w="3186429" h="1548765">
                  <a:moveTo>
                    <a:pt x="3186409" y="0"/>
                  </a:moveTo>
                  <a:lnTo>
                    <a:pt x="0" y="0"/>
                  </a:lnTo>
                  <a:lnTo>
                    <a:pt x="0" y="1548252"/>
                  </a:lnTo>
                  <a:lnTo>
                    <a:pt x="3186409" y="1548252"/>
                  </a:lnTo>
                  <a:lnTo>
                    <a:pt x="3186409" y="1536073"/>
                  </a:lnTo>
                  <a:lnTo>
                    <a:pt x="24384" y="1536073"/>
                  </a:lnTo>
                  <a:lnTo>
                    <a:pt x="12192" y="1523881"/>
                  </a:lnTo>
                  <a:lnTo>
                    <a:pt x="24384" y="1523881"/>
                  </a:lnTo>
                  <a:lnTo>
                    <a:pt x="24384" y="24384"/>
                  </a:lnTo>
                  <a:lnTo>
                    <a:pt x="12192" y="24384"/>
                  </a:lnTo>
                  <a:lnTo>
                    <a:pt x="24384" y="12192"/>
                  </a:lnTo>
                  <a:lnTo>
                    <a:pt x="3186409" y="12192"/>
                  </a:lnTo>
                  <a:lnTo>
                    <a:pt x="3186409" y="0"/>
                  </a:lnTo>
                  <a:close/>
                </a:path>
                <a:path w="3186429" h="1548765">
                  <a:moveTo>
                    <a:pt x="24384" y="1523881"/>
                  </a:moveTo>
                  <a:lnTo>
                    <a:pt x="12192" y="1523881"/>
                  </a:lnTo>
                  <a:lnTo>
                    <a:pt x="24384" y="1536073"/>
                  </a:lnTo>
                  <a:lnTo>
                    <a:pt x="24384" y="1523881"/>
                  </a:lnTo>
                  <a:close/>
                </a:path>
                <a:path w="3186429" h="1548765">
                  <a:moveTo>
                    <a:pt x="3162025" y="1523881"/>
                  </a:moveTo>
                  <a:lnTo>
                    <a:pt x="24384" y="1523881"/>
                  </a:lnTo>
                  <a:lnTo>
                    <a:pt x="24384" y="1536073"/>
                  </a:lnTo>
                  <a:lnTo>
                    <a:pt x="3162025" y="1536073"/>
                  </a:lnTo>
                  <a:lnTo>
                    <a:pt x="3162025" y="1523881"/>
                  </a:lnTo>
                  <a:close/>
                </a:path>
                <a:path w="3186429" h="1548765">
                  <a:moveTo>
                    <a:pt x="3162025" y="12192"/>
                  </a:moveTo>
                  <a:lnTo>
                    <a:pt x="3162025" y="1536073"/>
                  </a:lnTo>
                  <a:lnTo>
                    <a:pt x="3174217" y="1523881"/>
                  </a:lnTo>
                  <a:lnTo>
                    <a:pt x="3186409" y="1523881"/>
                  </a:lnTo>
                  <a:lnTo>
                    <a:pt x="3186409" y="24384"/>
                  </a:lnTo>
                  <a:lnTo>
                    <a:pt x="3174217" y="24384"/>
                  </a:lnTo>
                  <a:lnTo>
                    <a:pt x="3162025" y="12192"/>
                  </a:lnTo>
                  <a:close/>
                </a:path>
                <a:path w="3186429" h="1548765">
                  <a:moveTo>
                    <a:pt x="3186409" y="1523881"/>
                  </a:moveTo>
                  <a:lnTo>
                    <a:pt x="3174217" y="1523881"/>
                  </a:lnTo>
                  <a:lnTo>
                    <a:pt x="3162025" y="1536073"/>
                  </a:lnTo>
                  <a:lnTo>
                    <a:pt x="3186409" y="1536073"/>
                  </a:lnTo>
                  <a:lnTo>
                    <a:pt x="3186409" y="1523881"/>
                  </a:lnTo>
                  <a:close/>
                </a:path>
                <a:path w="3186429" h="1548765">
                  <a:moveTo>
                    <a:pt x="24384" y="12192"/>
                  </a:moveTo>
                  <a:lnTo>
                    <a:pt x="12192" y="24384"/>
                  </a:lnTo>
                  <a:lnTo>
                    <a:pt x="24384" y="24384"/>
                  </a:lnTo>
                  <a:lnTo>
                    <a:pt x="24384" y="12192"/>
                  </a:lnTo>
                  <a:close/>
                </a:path>
                <a:path w="3186429" h="1548765">
                  <a:moveTo>
                    <a:pt x="3162025" y="12192"/>
                  </a:moveTo>
                  <a:lnTo>
                    <a:pt x="24384" y="12192"/>
                  </a:lnTo>
                  <a:lnTo>
                    <a:pt x="24384" y="24384"/>
                  </a:lnTo>
                  <a:lnTo>
                    <a:pt x="3162025" y="24384"/>
                  </a:lnTo>
                  <a:lnTo>
                    <a:pt x="3162025" y="12192"/>
                  </a:lnTo>
                  <a:close/>
                </a:path>
                <a:path w="3186429" h="1548765">
                  <a:moveTo>
                    <a:pt x="3186409" y="12192"/>
                  </a:moveTo>
                  <a:lnTo>
                    <a:pt x="3162025" y="12192"/>
                  </a:lnTo>
                  <a:lnTo>
                    <a:pt x="3174217" y="24384"/>
                  </a:lnTo>
                  <a:lnTo>
                    <a:pt x="3186409" y="24384"/>
                  </a:lnTo>
                  <a:lnTo>
                    <a:pt x="3186409" y="1219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1" name="object 161"/>
            <p:cNvSpPr/>
            <p:nvPr/>
          </p:nvSpPr>
          <p:spPr>
            <a:xfrm>
              <a:off x="1893164" y="5001862"/>
              <a:ext cx="3162300" cy="1524000"/>
            </a:xfrm>
            <a:custGeom>
              <a:avLst/>
              <a:gdLst/>
              <a:ahLst/>
              <a:cxnLst/>
              <a:rect l="l" t="t" r="r" b="b"/>
              <a:pathLst>
                <a:path w="3162300" h="1524000">
                  <a:moveTo>
                    <a:pt x="3162025" y="0"/>
                  </a:moveTo>
                  <a:lnTo>
                    <a:pt x="0" y="0"/>
                  </a:lnTo>
                  <a:lnTo>
                    <a:pt x="0" y="1523881"/>
                  </a:lnTo>
                  <a:lnTo>
                    <a:pt x="3162025" y="1523881"/>
                  </a:lnTo>
                  <a:lnTo>
                    <a:pt x="3162025" y="0"/>
                  </a:lnTo>
                  <a:close/>
                </a:path>
              </a:pathLst>
            </a:custGeom>
            <a:solidFill>
              <a:srgbClr val="F8C55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2" name="object 162"/>
            <p:cNvSpPr/>
            <p:nvPr/>
          </p:nvSpPr>
          <p:spPr>
            <a:xfrm>
              <a:off x="1880972" y="4988146"/>
              <a:ext cx="3186430" cy="1550035"/>
            </a:xfrm>
            <a:custGeom>
              <a:avLst/>
              <a:gdLst/>
              <a:ahLst/>
              <a:cxnLst/>
              <a:rect l="l" t="t" r="r" b="b"/>
              <a:pathLst>
                <a:path w="3186429" h="1550034">
                  <a:moveTo>
                    <a:pt x="3186418" y="0"/>
                  </a:moveTo>
                  <a:lnTo>
                    <a:pt x="0" y="0"/>
                  </a:lnTo>
                  <a:lnTo>
                    <a:pt x="0" y="1549789"/>
                  </a:lnTo>
                  <a:lnTo>
                    <a:pt x="3186418" y="1549789"/>
                  </a:lnTo>
                  <a:lnTo>
                    <a:pt x="3186418" y="1537597"/>
                  </a:lnTo>
                  <a:lnTo>
                    <a:pt x="24384" y="1537597"/>
                  </a:lnTo>
                  <a:lnTo>
                    <a:pt x="12192" y="1523881"/>
                  </a:lnTo>
                  <a:lnTo>
                    <a:pt x="24384" y="1523881"/>
                  </a:lnTo>
                  <a:lnTo>
                    <a:pt x="24384" y="25908"/>
                  </a:lnTo>
                  <a:lnTo>
                    <a:pt x="12192" y="25908"/>
                  </a:lnTo>
                  <a:lnTo>
                    <a:pt x="24384" y="13716"/>
                  </a:lnTo>
                  <a:lnTo>
                    <a:pt x="3186418" y="13716"/>
                  </a:lnTo>
                  <a:lnTo>
                    <a:pt x="3186418" y="0"/>
                  </a:lnTo>
                  <a:close/>
                </a:path>
                <a:path w="3186429" h="1550034">
                  <a:moveTo>
                    <a:pt x="24384" y="1523881"/>
                  </a:moveTo>
                  <a:lnTo>
                    <a:pt x="12192" y="1523881"/>
                  </a:lnTo>
                  <a:lnTo>
                    <a:pt x="24384" y="1537597"/>
                  </a:lnTo>
                  <a:lnTo>
                    <a:pt x="24384" y="1523881"/>
                  </a:lnTo>
                  <a:close/>
                </a:path>
                <a:path w="3186429" h="1550034">
                  <a:moveTo>
                    <a:pt x="3162034" y="1523881"/>
                  </a:moveTo>
                  <a:lnTo>
                    <a:pt x="24384" y="1523881"/>
                  </a:lnTo>
                  <a:lnTo>
                    <a:pt x="24384" y="1537597"/>
                  </a:lnTo>
                  <a:lnTo>
                    <a:pt x="3162034" y="1537597"/>
                  </a:lnTo>
                  <a:lnTo>
                    <a:pt x="3162034" y="1523881"/>
                  </a:lnTo>
                  <a:close/>
                </a:path>
                <a:path w="3186429" h="1550034">
                  <a:moveTo>
                    <a:pt x="3162034" y="13716"/>
                  </a:moveTo>
                  <a:lnTo>
                    <a:pt x="3162034" y="1537597"/>
                  </a:lnTo>
                  <a:lnTo>
                    <a:pt x="3174226" y="1523881"/>
                  </a:lnTo>
                  <a:lnTo>
                    <a:pt x="3186418" y="1523881"/>
                  </a:lnTo>
                  <a:lnTo>
                    <a:pt x="3186418" y="25908"/>
                  </a:lnTo>
                  <a:lnTo>
                    <a:pt x="3174226" y="25908"/>
                  </a:lnTo>
                  <a:lnTo>
                    <a:pt x="3162034" y="13716"/>
                  </a:lnTo>
                  <a:close/>
                </a:path>
                <a:path w="3186429" h="1550034">
                  <a:moveTo>
                    <a:pt x="3186418" y="1523881"/>
                  </a:moveTo>
                  <a:lnTo>
                    <a:pt x="3174226" y="1523881"/>
                  </a:lnTo>
                  <a:lnTo>
                    <a:pt x="3162034" y="1537597"/>
                  </a:lnTo>
                  <a:lnTo>
                    <a:pt x="3186418" y="1537597"/>
                  </a:lnTo>
                  <a:lnTo>
                    <a:pt x="3186418" y="1523881"/>
                  </a:lnTo>
                  <a:close/>
                </a:path>
                <a:path w="3186429" h="1550034">
                  <a:moveTo>
                    <a:pt x="24384" y="13716"/>
                  </a:moveTo>
                  <a:lnTo>
                    <a:pt x="12192" y="25908"/>
                  </a:lnTo>
                  <a:lnTo>
                    <a:pt x="24384" y="25908"/>
                  </a:lnTo>
                  <a:lnTo>
                    <a:pt x="24384" y="13716"/>
                  </a:lnTo>
                  <a:close/>
                </a:path>
                <a:path w="3186429" h="1550034">
                  <a:moveTo>
                    <a:pt x="3162034" y="13716"/>
                  </a:moveTo>
                  <a:lnTo>
                    <a:pt x="24384" y="13716"/>
                  </a:lnTo>
                  <a:lnTo>
                    <a:pt x="24384" y="25908"/>
                  </a:lnTo>
                  <a:lnTo>
                    <a:pt x="3162034" y="25908"/>
                  </a:lnTo>
                  <a:lnTo>
                    <a:pt x="3162034" y="13716"/>
                  </a:lnTo>
                  <a:close/>
                </a:path>
                <a:path w="3186429" h="1550034">
                  <a:moveTo>
                    <a:pt x="3186418" y="13716"/>
                  </a:moveTo>
                  <a:lnTo>
                    <a:pt x="3162034" y="13716"/>
                  </a:lnTo>
                  <a:lnTo>
                    <a:pt x="3174226" y="25908"/>
                  </a:lnTo>
                  <a:lnTo>
                    <a:pt x="3186418" y="25908"/>
                  </a:lnTo>
                  <a:lnTo>
                    <a:pt x="3186418" y="13716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3" name="object 163"/>
            <p:cNvSpPr/>
            <p:nvPr/>
          </p:nvSpPr>
          <p:spPr>
            <a:xfrm>
              <a:off x="7379116" y="3892479"/>
              <a:ext cx="1961514" cy="746760"/>
            </a:xfrm>
            <a:custGeom>
              <a:avLst/>
              <a:gdLst/>
              <a:ahLst/>
              <a:cxnLst/>
              <a:rect l="l" t="t" r="r" b="b"/>
              <a:pathLst>
                <a:path w="1961515" h="746760">
                  <a:moveTo>
                    <a:pt x="0" y="746698"/>
                  </a:moveTo>
                  <a:lnTo>
                    <a:pt x="1961220" y="746698"/>
                  </a:lnTo>
                  <a:lnTo>
                    <a:pt x="1961220" y="0"/>
                  </a:lnTo>
                  <a:lnTo>
                    <a:pt x="0" y="0"/>
                  </a:lnTo>
                  <a:lnTo>
                    <a:pt x="0" y="746698"/>
                  </a:lnTo>
                  <a:close/>
                </a:path>
              </a:pathLst>
            </a:custGeom>
            <a:solidFill>
              <a:srgbClr val="FCDA8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4" name="object 164"/>
            <p:cNvSpPr/>
            <p:nvPr/>
          </p:nvSpPr>
          <p:spPr>
            <a:xfrm>
              <a:off x="7366924" y="3892479"/>
              <a:ext cx="1987550" cy="759460"/>
            </a:xfrm>
            <a:custGeom>
              <a:avLst/>
              <a:gdLst/>
              <a:ahLst/>
              <a:cxnLst/>
              <a:rect l="l" t="t" r="r" b="b"/>
              <a:pathLst>
                <a:path w="1987550" h="759460">
                  <a:moveTo>
                    <a:pt x="24384" y="0"/>
                  </a:moveTo>
                  <a:lnTo>
                    <a:pt x="0" y="0"/>
                  </a:lnTo>
                  <a:lnTo>
                    <a:pt x="0" y="758890"/>
                  </a:lnTo>
                  <a:lnTo>
                    <a:pt x="1987113" y="758890"/>
                  </a:lnTo>
                  <a:lnTo>
                    <a:pt x="1987113" y="746698"/>
                  </a:lnTo>
                  <a:lnTo>
                    <a:pt x="24384" y="746698"/>
                  </a:lnTo>
                  <a:lnTo>
                    <a:pt x="12192" y="734506"/>
                  </a:lnTo>
                  <a:lnTo>
                    <a:pt x="24384" y="734506"/>
                  </a:lnTo>
                  <a:lnTo>
                    <a:pt x="24384" y="0"/>
                  </a:lnTo>
                  <a:close/>
                </a:path>
                <a:path w="1987550" h="759460">
                  <a:moveTo>
                    <a:pt x="24384" y="734506"/>
                  </a:moveTo>
                  <a:lnTo>
                    <a:pt x="12192" y="734506"/>
                  </a:lnTo>
                  <a:lnTo>
                    <a:pt x="24384" y="746698"/>
                  </a:lnTo>
                  <a:lnTo>
                    <a:pt x="24384" y="734506"/>
                  </a:lnTo>
                  <a:close/>
                </a:path>
                <a:path w="1987550" h="759460">
                  <a:moveTo>
                    <a:pt x="1961205" y="734506"/>
                  </a:moveTo>
                  <a:lnTo>
                    <a:pt x="24384" y="734506"/>
                  </a:lnTo>
                  <a:lnTo>
                    <a:pt x="24384" y="746698"/>
                  </a:lnTo>
                  <a:lnTo>
                    <a:pt x="1961205" y="746698"/>
                  </a:lnTo>
                  <a:lnTo>
                    <a:pt x="1961205" y="734506"/>
                  </a:lnTo>
                  <a:close/>
                </a:path>
                <a:path w="1987550" h="759460">
                  <a:moveTo>
                    <a:pt x="1987113" y="0"/>
                  </a:moveTo>
                  <a:lnTo>
                    <a:pt x="1961205" y="0"/>
                  </a:lnTo>
                  <a:lnTo>
                    <a:pt x="1961205" y="746698"/>
                  </a:lnTo>
                  <a:lnTo>
                    <a:pt x="1973397" y="734506"/>
                  </a:lnTo>
                  <a:lnTo>
                    <a:pt x="1987113" y="734506"/>
                  </a:lnTo>
                  <a:lnTo>
                    <a:pt x="1987113" y="0"/>
                  </a:lnTo>
                  <a:close/>
                </a:path>
                <a:path w="1987550" h="759460">
                  <a:moveTo>
                    <a:pt x="1987113" y="734506"/>
                  </a:moveTo>
                  <a:lnTo>
                    <a:pt x="1973397" y="734506"/>
                  </a:lnTo>
                  <a:lnTo>
                    <a:pt x="1961205" y="746698"/>
                  </a:lnTo>
                  <a:lnTo>
                    <a:pt x="1987113" y="746698"/>
                  </a:lnTo>
                  <a:lnTo>
                    <a:pt x="1987113" y="734506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5" name="object 165"/>
            <p:cNvSpPr/>
            <p:nvPr/>
          </p:nvSpPr>
          <p:spPr>
            <a:xfrm>
              <a:off x="730447" y="3892479"/>
              <a:ext cx="1981200" cy="728980"/>
            </a:xfrm>
            <a:custGeom>
              <a:avLst/>
              <a:gdLst/>
              <a:ahLst/>
              <a:cxnLst/>
              <a:rect l="l" t="t" r="r" b="b"/>
              <a:pathLst>
                <a:path w="1981200" h="728979">
                  <a:moveTo>
                    <a:pt x="0" y="728410"/>
                  </a:moveTo>
                  <a:lnTo>
                    <a:pt x="1981032" y="728410"/>
                  </a:lnTo>
                  <a:lnTo>
                    <a:pt x="1981032" y="0"/>
                  </a:lnTo>
                  <a:lnTo>
                    <a:pt x="0" y="0"/>
                  </a:lnTo>
                  <a:lnTo>
                    <a:pt x="0" y="728410"/>
                  </a:lnTo>
                  <a:close/>
                </a:path>
              </a:pathLst>
            </a:custGeom>
            <a:solidFill>
              <a:srgbClr val="FCDA8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6" name="object 166"/>
            <p:cNvSpPr/>
            <p:nvPr/>
          </p:nvSpPr>
          <p:spPr>
            <a:xfrm>
              <a:off x="718255" y="3892479"/>
              <a:ext cx="2007235" cy="741045"/>
            </a:xfrm>
            <a:custGeom>
              <a:avLst/>
              <a:gdLst/>
              <a:ahLst/>
              <a:cxnLst/>
              <a:rect l="l" t="t" r="r" b="b"/>
              <a:pathLst>
                <a:path w="2007235" h="741045">
                  <a:moveTo>
                    <a:pt x="25908" y="0"/>
                  </a:moveTo>
                  <a:lnTo>
                    <a:pt x="0" y="0"/>
                  </a:lnTo>
                  <a:lnTo>
                    <a:pt x="0" y="740602"/>
                  </a:lnTo>
                  <a:lnTo>
                    <a:pt x="2006943" y="740602"/>
                  </a:lnTo>
                  <a:lnTo>
                    <a:pt x="2006943" y="728410"/>
                  </a:lnTo>
                  <a:lnTo>
                    <a:pt x="25908" y="728410"/>
                  </a:lnTo>
                  <a:lnTo>
                    <a:pt x="12192" y="714694"/>
                  </a:lnTo>
                  <a:lnTo>
                    <a:pt x="25908" y="714694"/>
                  </a:lnTo>
                  <a:lnTo>
                    <a:pt x="25908" y="0"/>
                  </a:lnTo>
                  <a:close/>
                </a:path>
                <a:path w="2007235" h="741045">
                  <a:moveTo>
                    <a:pt x="25908" y="714694"/>
                  </a:moveTo>
                  <a:lnTo>
                    <a:pt x="12192" y="714694"/>
                  </a:lnTo>
                  <a:lnTo>
                    <a:pt x="25908" y="728410"/>
                  </a:lnTo>
                  <a:lnTo>
                    <a:pt x="25908" y="714694"/>
                  </a:lnTo>
                  <a:close/>
                </a:path>
                <a:path w="2007235" h="741045">
                  <a:moveTo>
                    <a:pt x="1981047" y="714694"/>
                  </a:moveTo>
                  <a:lnTo>
                    <a:pt x="25908" y="714694"/>
                  </a:lnTo>
                  <a:lnTo>
                    <a:pt x="25908" y="728410"/>
                  </a:lnTo>
                  <a:lnTo>
                    <a:pt x="1981047" y="728410"/>
                  </a:lnTo>
                  <a:lnTo>
                    <a:pt x="1981047" y="714694"/>
                  </a:lnTo>
                  <a:close/>
                </a:path>
                <a:path w="2007235" h="741045">
                  <a:moveTo>
                    <a:pt x="2006943" y="0"/>
                  </a:moveTo>
                  <a:lnTo>
                    <a:pt x="1981047" y="0"/>
                  </a:lnTo>
                  <a:lnTo>
                    <a:pt x="1981047" y="728410"/>
                  </a:lnTo>
                  <a:lnTo>
                    <a:pt x="1993227" y="714694"/>
                  </a:lnTo>
                  <a:lnTo>
                    <a:pt x="2006943" y="714694"/>
                  </a:lnTo>
                  <a:lnTo>
                    <a:pt x="2006943" y="0"/>
                  </a:lnTo>
                  <a:close/>
                </a:path>
                <a:path w="2007235" h="741045">
                  <a:moveTo>
                    <a:pt x="2006943" y="714694"/>
                  </a:moveTo>
                  <a:lnTo>
                    <a:pt x="1993227" y="714694"/>
                  </a:lnTo>
                  <a:lnTo>
                    <a:pt x="1981047" y="728410"/>
                  </a:lnTo>
                  <a:lnTo>
                    <a:pt x="2006943" y="728410"/>
                  </a:lnTo>
                  <a:lnTo>
                    <a:pt x="2006943" y="714694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7" name="object 167"/>
            <p:cNvSpPr/>
            <p:nvPr/>
          </p:nvSpPr>
          <p:spPr>
            <a:xfrm>
              <a:off x="1600580" y="4076883"/>
              <a:ext cx="10795" cy="36830"/>
            </a:xfrm>
            <a:custGeom>
              <a:avLst/>
              <a:gdLst/>
              <a:ahLst/>
              <a:cxnLst/>
              <a:rect l="l" t="t" r="r" b="b"/>
              <a:pathLst>
                <a:path w="10794" h="36829">
                  <a:moveTo>
                    <a:pt x="0" y="0"/>
                  </a:moveTo>
                  <a:lnTo>
                    <a:pt x="0" y="35051"/>
                  </a:lnTo>
                  <a:lnTo>
                    <a:pt x="10667" y="36575"/>
                  </a:lnTo>
                  <a:lnTo>
                    <a:pt x="10667" y="106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F9F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8" name="object 168"/>
            <p:cNvSpPr/>
            <p:nvPr/>
          </p:nvSpPr>
          <p:spPr>
            <a:xfrm>
              <a:off x="1119045" y="3892479"/>
              <a:ext cx="934719" cy="300355"/>
            </a:xfrm>
            <a:custGeom>
              <a:avLst/>
              <a:gdLst/>
              <a:ahLst/>
              <a:cxnLst/>
              <a:rect l="l" t="t" r="r" b="b"/>
              <a:pathLst>
                <a:path w="934719" h="300354">
                  <a:moveTo>
                    <a:pt x="934126" y="0"/>
                  </a:moveTo>
                  <a:lnTo>
                    <a:pt x="583220" y="0"/>
                  </a:lnTo>
                  <a:lnTo>
                    <a:pt x="0" y="164591"/>
                  </a:lnTo>
                  <a:lnTo>
                    <a:pt x="18275" y="172211"/>
                  </a:lnTo>
                  <a:lnTo>
                    <a:pt x="18275" y="220979"/>
                  </a:lnTo>
                  <a:lnTo>
                    <a:pt x="35039" y="227075"/>
                  </a:lnTo>
                  <a:lnTo>
                    <a:pt x="35039" y="300197"/>
                  </a:lnTo>
                  <a:lnTo>
                    <a:pt x="934126" y="300197"/>
                  </a:lnTo>
                  <a:lnTo>
                    <a:pt x="934126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9" name="object 169"/>
            <p:cNvSpPr/>
            <p:nvPr/>
          </p:nvSpPr>
          <p:spPr>
            <a:xfrm>
              <a:off x="1193698" y="4073842"/>
              <a:ext cx="222885" cy="64135"/>
            </a:xfrm>
            <a:custGeom>
              <a:avLst/>
              <a:gdLst/>
              <a:ahLst/>
              <a:cxnLst/>
              <a:rect l="l" t="t" r="r" b="b"/>
              <a:pathLst>
                <a:path w="222884" h="64135">
                  <a:moveTo>
                    <a:pt x="6096" y="44196"/>
                  </a:moveTo>
                  <a:lnTo>
                    <a:pt x="4572" y="38100"/>
                  </a:lnTo>
                  <a:lnTo>
                    <a:pt x="1524" y="38100"/>
                  </a:lnTo>
                  <a:lnTo>
                    <a:pt x="0" y="44196"/>
                  </a:lnTo>
                  <a:lnTo>
                    <a:pt x="0" y="57873"/>
                  </a:lnTo>
                  <a:lnTo>
                    <a:pt x="1524" y="63969"/>
                  </a:lnTo>
                  <a:lnTo>
                    <a:pt x="4572" y="63969"/>
                  </a:lnTo>
                  <a:lnTo>
                    <a:pt x="6096" y="57873"/>
                  </a:lnTo>
                  <a:lnTo>
                    <a:pt x="6096" y="44196"/>
                  </a:lnTo>
                  <a:close/>
                </a:path>
                <a:path w="222884" h="64135">
                  <a:moveTo>
                    <a:pt x="15240" y="44196"/>
                  </a:moveTo>
                  <a:lnTo>
                    <a:pt x="13716" y="38100"/>
                  </a:lnTo>
                  <a:lnTo>
                    <a:pt x="10668" y="38100"/>
                  </a:lnTo>
                  <a:lnTo>
                    <a:pt x="9144" y="44196"/>
                  </a:lnTo>
                  <a:lnTo>
                    <a:pt x="9144" y="57873"/>
                  </a:lnTo>
                  <a:lnTo>
                    <a:pt x="10668" y="63969"/>
                  </a:lnTo>
                  <a:lnTo>
                    <a:pt x="13716" y="63969"/>
                  </a:lnTo>
                  <a:lnTo>
                    <a:pt x="15240" y="57873"/>
                  </a:lnTo>
                  <a:lnTo>
                    <a:pt x="15240" y="44196"/>
                  </a:lnTo>
                  <a:close/>
                </a:path>
                <a:path w="222884" h="64135">
                  <a:moveTo>
                    <a:pt x="25908" y="42672"/>
                  </a:moveTo>
                  <a:lnTo>
                    <a:pt x="24384" y="36576"/>
                  </a:lnTo>
                  <a:lnTo>
                    <a:pt x="19812" y="36576"/>
                  </a:lnTo>
                  <a:lnTo>
                    <a:pt x="18288" y="42672"/>
                  </a:lnTo>
                  <a:lnTo>
                    <a:pt x="18288" y="56349"/>
                  </a:lnTo>
                  <a:lnTo>
                    <a:pt x="19812" y="62445"/>
                  </a:lnTo>
                  <a:lnTo>
                    <a:pt x="24384" y="62445"/>
                  </a:lnTo>
                  <a:lnTo>
                    <a:pt x="25908" y="56349"/>
                  </a:lnTo>
                  <a:lnTo>
                    <a:pt x="25908" y="42672"/>
                  </a:lnTo>
                  <a:close/>
                </a:path>
                <a:path w="222884" h="64135">
                  <a:moveTo>
                    <a:pt x="35052" y="42672"/>
                  </a:moveTo>
                  <a:lnTo>
                    <a:pt x="33528" y="36576"/>
                  </a:lnTo>
                  <a:lnTo>
                    <a:pt x="30480" y="36576"/>
                  </a:lnTo>
                  <a:lnTo>
                    <a:pt x="28956" y="42672"/>
                  </a:lnTo>
                  <a:lnTo>
                    <a:pt x="28956" y="56349"/>
                  </a:lnTo>
                  <a:lnTo>
                    <a:pt x="30480" y="62445"/>
                  </a:lnTo>
                  <a:lnTo>
                    <a:pt x="33528" y="62445"/>
                  </a:lnTo>
                  <a:lnTo>
                    <a:pt x="35052" y="56349"/>
                  </a:lnTo>
                  <a:lnTo>
                    <a:pt x="35052" y="42672"/>
                  </a:lnTo>
                  <a:close/>
                </a:path>
                <a:path w="222884" h="64135">
                  <a:moveTo>
                    <a:pt x="45720" y="42672"/>
                  </a:moveTo>
                  <a:lnTo>
                    <a:pt x="44196" y="36576"/>
                  </a:lnTo>
                  <a:lnTo>
                    <a:pt x="39624" y="36576"/>
                  </a:lnTo>
                  <a:lnTo>
                    <a:pt x="38100" y="42672"/>
                  </a:lnTo>
                  <a:lnTo>
                    <a:pt x="38100" y="54825"/>
                  </a:lnTo>
                  <a:lnTo>
                    <a:pt x="39624" y="60921"/>
                  </a:lnTo>
                  <a:lnTo>
                    <a:pt x="44196" y="60921"/>
                  </a:lnTo>
                  <a:lnTo>
                    <a:pt x="45720" y="54825"/>
                  </a:lnTo>
                  <a:lnTo>
                    <a:pt x="45720" y="42672"/>
                  </a:lnTo>
                  <a:close/>
                </a:path>
                <a:path w="222884" h="64135">
                  <a:moveTo>
                    <a:pt x="56388" y="41148"/>
                  </a:moveTo>
                  <a:lnTo>
                    <a:pt x="54864" y="35052"/>
                  </a:lnTo>
                  <a:lnTo>
                    <a:pt x="50292" y="35052"/>
                  </a:lnTo>
                  <a:lnTo>
                    <a:pt x="48768" y="41148"/>
                  </a:lnTo>
                  <a:lnTo>
                    <a:pt x="48768" y="53301"/>
                  </a:lnTo>
                  <a:lnTo>
                    <a:pt x="50292" y="59397"/>
                  </a:lnTo>
                  <a:lnTo>
                    <a:pt x="54864" y="59397"/>
                  </a:lnTo>
                  <a:lnTo>
                    <a:pt x="56388" y="53301"/>
                  </a:lnTo>
                  <a:lnTo>
                    <a:pt x="56388" y="41148"/>
                  </a:lnTo>
                  <a:close/>
                </a:path>
                <a:path w="222884" h="64135">
                  <a:moveTo>
                    <a:pt x="135623" y="28956"/>
                  </a:moveTo>
                  <a:lnTo>
                    <a:pt x="121907" y="12192"/>
                  </a:lnTo>
                  <a:lnTo>
                    <a:pt x="121907" y="56349"/>
                  </a:lnTo>
                  <a:lnTo>
                    <a:pt x="135623" y="56349"/>
                  </a:lnTo>
                  <a:lnTo>
                    <a:pt x="135623" y="28956"/>
                  </a:lnTo>
                  <a:close/>
                </a:path>
                <a:path w="222884" h="64135">
                  <a:moveTo>
                    <a:pt x="164579" y="24384"/>
                  </a:moveTo>
                  <a:lnTo>
                    <a:pt x="150863" y="6096"/>
                  </a:lnTo>
                  <a:lnTo>
                    <a:pt x="150863" y="25908"/>
                  </a:lnTo>
                  <a:lnTo>
                    <a:pt x="137147" y="9144"/>
                  </a:lnTo>
                  <a:lnTo>
                    <a:pt x="137147" y="53301"/>
                  </a:lnTo>
                  <a:lnTo>
                    <a:pt x="150863" y="53301"/>
                  </a:lnTo>
                  <a:lnTo>
                    <a:pt x="150863" y="50253"/>
                  </a:lnTo>
                  <a:lnTo>
                    <a:pt x="164579" y="50253"/>
                  </a:lnTo>
                  <a:lnTo>
                    <a:pt x="164579" y="24384"/>
                  </a:lnTo>
                  <a:close/>
                </a:path>
                <a:path w="222884" h="64135">
                  <a:moveTo>
                    <a:pt x="192011" y="21336"/>
                  </a:moveTo>
                  <a:lnTo>
                    <a:pt x="178295" y="3048"/>
                  </a:lnTo>
                  <a:lnTo>
                    <a:pt x="178295" y="22860"/>
                  </a:lnTo>
                  <a:lnTo>
                    <a:pt x="166103" y="6096"/>
                  </a:lnTo>
                  <a:lnTo>
                    <a:pt x="166103" y="50253"/>
                  </a:lnTo>
                  <a:lnTo>
                    <a:pt x="178295" y="50253"/>
                  </a:lnTo>
                  <a:lnTo>
                    <a:pt x="178295" y="47244"/>
                  </a:lnTo>
                  <a:lnTo>
                    <a:pt x="192011" y="47244"/>
                  </a:lnTo>
                  <a:lnTo>
                    <a:pt x="192011" y="21336"/>
                  </a:lnTo>
                  <a:close/>
                </a:path>
                <a:path w="222884" h="64135">
                  <a:moveTo>
                    <a:pt x="207251" y="19812"/>
                  </a:moveTo>
                  <a:lnTo>
                    <a:pt x="193535" y="1524"/>
                  </a:lnTo>
                  <a:lnTo>
                    <a:pt x="193535" y="45720"/>
                  </a:lnTo>
                  <a:lnTo>
                    <a:pt x="207251" y="45720"/>
                  </a:lnTo>
                  <a:lnTo>
                    <a:pt x="207251" y="19812"/>
                  </a:lnTo>
                  <a:close/>
                </a:path>
                <a:path w="222884" h="64135">
                  <a:moveTo>
                    <a:pt x="222478" y="18288"/>
                  </a:moveTo>
                  <a:lnTo>
                    <a:pt x="208775" y="0"/>
                  </a:lnTo>
                  <a:lnTo>
                    <a:pt x="208775" y="44196"/>
                  </a:lnTo>
                  <a:lnTo>
                    <a:pt x="222478" y="44196"/>
                  </a:lnTo>
                  <a:lnTo>
                    <a:pt x="222478" y="1828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0" name="object 170"/>
            <p:cNvSpPr/>
            <p:nvPr/>
          </p:nvSpPr>
          <p:spPr>
            <a:xfrm>
              <a:off x="1509153" y="4043355"/>
              <a:ext cx="135623" cy="64007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1" name="object 171"/>
            <p:cNvSpPr/>
            <p:nvPr/>
          </p:nvSpPr>
          <p:spPr>
            <a:xfrm>
              <a:off x="1827644" y="4008310"/>
              <a:ext cx="175260" cy="67310"/>
            </a:xfrm>
            <a:custGeom>
              <a:avLst/>
              <a:gdLst/>
              <a:ahLst/>
              <a:cxnLst/>
              <a:rect l="l" t="t" r="r" b="b"/>
              <a:pathLst>
                <a:path w="175260" h="67310">
                  <a:moveTo>
                    <a:pt x="16751" y="27432"/>
                  </a:moveTo>
                  <a:lnTo>
                    <a:pt x="0" y="16764"/>
                  </a:lnTo>
                  <a:lnTo>
                    <a:pt x="0" y="67056"/>
                  </a:lnTo>
                  <a:lnTo>
                    <a:pt x="16751" y="67056"/>
                  </a:lnTo>
                  <a:lnTo>
                    <a:pt x="16751" y="27432"/>
                  </a:lnTo>
                  <a:close/>
                </a:path>
                <a:path w="175260" h="67310">
                  <a:moveTo>
                    <a:pt x="54851" y="21336"/>
                  </a:moveTo>
                  <a:lnTo>
                    <a:pt x="38087" y="10668"/>
                  </a:lnTo>
                  <a:lnTo>
                    <a:pt x="38087" y="60960"/>
                  </a:lnTo>
                  <a:lnTo>
                    <a:pt x="54851" y="60960"/>
                  </a:lnTo>
                  <a:lnTo>
                    <a:pt x="54851" y="21336"/>
                  </a:lnTo>
                  <a:close/>
                </a:path>
                <a:path w="175260" h="67310">
                  <a:moveTo>
                    <a:pt x="95999" y="18288"/>
                  </a:moveTo>
                  <a:lnTo>
                    <a:pt x="79235" y="6096"/>
                  </a:lnTo>
                  <a:lnTo>
                    <a:pt x="79235" y="56388"/>
                  </a:lnTo>
                  <a:lnTo>
                    <a:pt x="95999" y="56388"/>
                  </a:lnTo>
                  <a:lnTo>
                    <a:pt x="95999" y="18288"/>
                  </a:lnTo>
                  <a:close/>
                </a:path>
                <a:path w="175260" h="67310">
                  <a:moveTo>
                    <a:pt x="135623" y="15240"/>
                  </a:moveTo>
                  <a:lnTo>
                    <a:pt x="118859" y="3048"/>
                  </a:lnTo>
                  <a:lnTo>
                    <a:pt x="118859" y="53340"/>
                  </a:lnTo>
                  <a:lnTo>
                    <a:pt x="135623" y="53340"/>
                  </a:lnTo>
                  <a:lnTo>
                    <a:pt x="135623" y="15240"/>
                  </a:lnTo>
                  <a:close/>
                </a:path>
                <a:path w="175260" h="67310">
                  <a:moveTo>
                    <a:pt x="175234" y="12192"/>
                  </a:moveTo>
                  <a:lnTo>
                    <a:pt x="158470" y="0"/>
                  </a:lnTo>
                  <a:lnTo>
                    <a:pt x="158470" y="50292"/>
                  </a:lnTo>
                  <a:lnTo>
                    <a:pt x="175234" y="50292"/>
                  </a:lnTo>
                  <a:lnTo>
                    <a:pt x="175234" y="1219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2" name="object 172"/>
            <p:cNvSpPr/>
            <p:nvPr/>
          </p:nvSpPr>
          <p:spPr>
            <a:xfrm>
              <a:off x="1135786" y="3913822"/>
              <a:ext cx="916305" cy="256540"/>
            </a:xfrm>
            <a:custGeom>
              <a:avLst/>
              <a:gdLst/>
              <a:ahLst/>
              <a:cxnLst/>
              <a:rect l="l" t="t" r="r" b="b"/>
              <a:pathLst>
                <a:path w="916305" h="256539">
                  <a:moveTo>
                    <a:pt x="915860" y="134112"/>
                  </a:moveTo>
                  <a:lnTo>
                    <a:pt x="18288" y="223989"/>
                  </a:lnTo>
                  <a:lnTo>
                    <a:pt x="18288" y="255993"/>
                  </a:lnTo>
                  <a:lnTo>
                    <a:pt x="915860" y="201168"/>
                  </a:lnTo>
                  <a:lnTo>
                    <a:pt x="915860" y="134112"/>
                  </a:lnTo>
                  <a:close/>
                </a:path>
                <a:path w="916305" h="256539">
                  <a:moveTo>
                    <a:pt x="915860" y="0"/>
                  </a:moveTo>
                  <a:lnTo>
                    <a:pt x="0" y="176784"/>
                  </a:lnTo>
                  <a:lnTo>
                    <a:pt x="0" y="201168"/>
                  </a:lnTo>
                  <a:lnTo>
                    <a:pt x="915860" y="54864"/>
                  </a:lnTo>
                  <a:lnTo>
                    <a:pt x="915860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3" name="object 173"/>
            <p:cNvSpPr/>
            <p:nvPr/>
          </p:nvSpPr>
          <p:spPr>
            <a:xfrm>
              <a:off x="1119045" y="3892479"/>
              <a:ext cx="647700" cy="165735"/>
            </a:xfrm>
            <a:custGeom>
              <a:avLst/>
              <a:gdLst/>
              <a:ahLst/>
              <a:cxnLst/>
              <a:rect l="l" t="t" r="r" b="b"/>
              <a:pathLst>
                <a:path w="647700" h="165735">
                  <a:moveTo>
                    <a:pt x="647091" y="0"/>
                  </a:moveTo>
                  <a:lnTo>
                    <a:pt x="343825" y="0"/>
                  </a:lnTo>
                  <a:lnTo>
                    <a:pt x="0" y="118347"/>
                  </a:lnTo>
                  <a:lnTo>
                    <a:pt x="0" y="165725"/>
                  </a:lnTo>
                  <a:lnTo>
                    <a:pt x="647091" y="0"/>
                  </a:lnTo>
                  <a:close/>
                </a:path>
              </a:pathLst>
            </a:custGeom>
            <a:solidFill>
              <a:srgbClr val="9F9F9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4" name="object 174"/>
            <p:cNvSpPr/>
            <p:nvPr/>
          </p:nvSpPr>
          <p:spPr>
            <a:xfrm>
              <a:off x="2053172" y="4139336"/>
              <a:ext cx="210820" cy="53340"/>
            </a:xfrm>
            <a:custGeom>
              <a:avLst/>
              <a:gdLst/>
              <a:ahLst/>
              <a:cxnLst/>
              <a:rect l="l" t="t" r="r" b="b"/>
              <a:pathLst>
                <a:path w="210819" h="53339">
                  <a:moveTo>
                    <a:pt x="0" y="0"/>
                  </a:moveTo>
                  <a:lnTo>
                    <a:pt x="0" y="53339"/>
                  </a:lnTo>
                  <a:lnTo>
                    <a:pt x="210299" y="39623"/>
                  </a:lnTo>
                  <a:lnTo>
                    <a:pt x="210299" y="167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E5E5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5" name="object 175"/>
            <p:cNvSpPr/>
            <p:nvPr/>
          </p:nvSpPr>
          <p:spPr>
            <a:xfrm>
              <a:off x="2051648" y="3892479"/>
              <a:ext cx="285115" cy="269875"/>
            </a:xfrm>
            <a:custGeom>
              <a:avLst/>
              <a:gdLst/>
              <a:ahLst/>
              <a:cxnLst/>
              <a:rect l="l" t="t" r="r" b="b"/>
              <a:pathLst>
                <a:path w="285114" h="269875">
                  <a:moveTo>
                    <a:pt x="127148" y="0"/>
                  </a:moveTo>
                  <a:lnTo>
                    <a:pt x="0" y="0"/>
                  </a:lnTo>
                  <a:lnTo>
                    <a:pt x="0" y="256001"/>
                  </a:lnTo>
                  <a:lnTo>
                    <a:pt x="217919" y="269717"/>
                  </a:lnTo>
                  <a:lnTo>
                    <a:pt x="249911" y="260573"/>
                  </a:lnTo>
                  <a:lnTo>
                    <a:pt x="249911" y="175259"/>
                  </a:lnTo>
                  <a:lnTo>
                    <a:pt x="262103" y="175259"/>
                  </a:lnTo>
                  <a:lnTo>
                    <a:pt x="249911" y="167639"/>
                  </a:lnTo>
                  <a:lnTo>
                    <a:pt x="249911" y="102107"/>
                  </a:lnTo>
                  <a:lnTo>
                    <a:pt x="284963" y="102107"/>
                  </a:lnTo>
                  <a:lnTo>
                    <a:pt x="127148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6" name="object 176"/>
            <p:cNvSpPr/>
            <p:nvPr/>
          </p:nvSpPr>
          <p:spPr>
            <a:xfrm>
              <a:off x="2051721" y="3891028"/>
              <a:ext cx="284890" cy="258902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7" name="object 177"/>
            <p:cNvSpPr/>
            <p:nvPr/>
          </p:nvSpPr>
          <p:spPr>
            <a:xfrm>
              <a:off x="2051646" y="3913822"/>
              <a:ext cx="264160" cy="239395"/>
            </a:xfrm>
            <a:custGeom>
              <a:avLst/>
              <a:gdLst/>
              <a:ahLst/>
              <a:cxnLst/>
              <a:rect l="l" t="t" r="r" b="b"/>
              <a:pathLst>
                <a:path w="264160" h="239395">
                  <a:moveTo>
                    <a:pt x="252958" y="202692"/>
                  </a:moveTo>
                  <a:lnTo>
                    <a:pt x="0" y="134112"/>
                  </a:lnTo>
                  <a:lnTo>
                    <a:pt x="0" y="201168"/>
                  </a:lnTo>
                  <a:lnTo>
                    <a:pt x="252958" y="239229"/>
                  </a:lnTo>
                  <a:lnTo>
                    <a:pt x="252958" y="202692"/>
                  </a:lnTo>
                  <a:close/>
                </a:path>
                <a:path w="264160" h="239395">
                  <a:moveTo>
                    <a:pt x="263626" y="123444"/>
                  </a:moveTo>
                  <a:lnTo>
                    <a:pt x="0" y="0"/>
                  </a:lnTo>
                  <a:lnTo>
                    <a:pt x="0" y="54864"/>
                  </a:lnTo>
                  <a:lnTo>
                    <a:pt x="263626" y="155448"/>
                  </a:lnTo>
                  <a:lnTo>
                    <a:pt x="263626" y="123444"/>
                  </a:lnTo>
                  <a:close/>
                </a:path>
              </a:pathLst>
            </a:custGeom>
            <a:solidFill>
              <a:srgbClr val="9F9F9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8" name="object 178"/>
            <p:cNvSpPr/>
            <p:nvPr/>
          </p:nvSpPr>
          <p:spPr>
            <a:xfrm>
              <a:off x="1454289" y="3892479"/>
              <a:ext cx="55244" cy="355600"/>
            </a:xfrm>
            <a:custGeom>
              <a:avLst/>
              <a:gdLst/>
              <a:ahLst/>
              <a:cxnLst/>
              <a:rect l="l" t="t" r="r" b="b"/>
              <a:pathLst>
                <a:path w="55244" h="355600">
                  <a:moveTo>
                    <a:pt x="54864" y="338297"/>
                  </a:moveTo>
                  <a:lnTo>
                    <a:pt x="30480" y="338297"/>
                  </a:lnTo>
                  <a:lnTo>
                    <a:pt x="30480" y="355061"/>
                  </a:lnTo>
                  <a:lnTo>
                    <a:pt x="47026" y="355061"/>
                  </a:lnTo>
                  <a:lnTo>
                    <a:pt x="54864" y="345917"/>
                  </a:lnTo>
                  <a:lnTo>
                    <a:pt x="54864" y="338297"/>
                  </a:lnTo>
                  <a:close/>
                </a:path>
                <a:path w="55244" h="355600">
                  <a:moveTo>
                    <a:pt x="54864" y="0"/>
                  </a:moveTo>
                  <a:lnTo>
                    <a:pt x="0" y="0"/>
                  </a:lnTo>
                  <a:lnTo>
                    <a:pt x="0" y="355061"/>
                  </a:lnTo>
                  <a:lnTo>
                    <a:pt x="16764" y="338297"/>
                  </a:lnTo>
                  <a:lnTo>
                    <a:pt x="54864" y="338297"/>
                  </a:lnTo>
                  <a:lnTo>
                    <a:pt x="5486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9" name="object 179"/>
            <p:cNvSpPr/>
            <p:nvPr/>
          </p:nvSpPr>
          <p:spPr>
            <a:xfrm>
              <a:off x="1445133" y="3892486"/>
              <a:ext cx="53340" cy="355600"/>
            </a:xfrm>
            <a:custGeom>
              <a:avLst/>
              <a:gdLst/>
              <a:ahLst/>
              <a:cxnLst/>
              <a:rect l="l" t="t" r="r" b="b"/>
              <a:pathLst>
                <a:path w="53340" h="355600">
                  <a:moveTo>
                    <a:pt x="9144" y="0"/>
                  </a:moveTo>
                  <a:lnTo>
                    <a:pt x="0" y="0"/>
                  </a:lnTo>
                  <a:lnTo>
                    <a:pt x="0" y="355053"/>
                  </a:lnTo>
                  <a:lnTo>
                    <a:pt x="9144" y="355053"/>
                  </a:lnTo>
                  <a:lnTo>
                    <a:pt x="9144" y="0"/>
                  </a:lnTo>
                  <a:close/>
                </a:path>
                <a:path w="53340" h="355600">
                  <a:moveTo>
                    <a:pt x="53340" y="0"/>
                  </a:moveTo>
                  <a:lnTo>
                    <a:pt x="39624" y="0"/>
                  </a:lnTo>
                  <a:lnTo>
                    <a:pt x="39624" y="355066"/>
                  </a:lnTo>
                  <a:lnTo>
                    <a:pt x="53340" y="355066"/>
                  </a:lnTo>
                  <a:lnTo>
                    <a:pt x="53340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0" name="object 180"/>
            <p:cNvSpPr/>
            <p:nvPr/>
          </p:nvSpPr>
          <p:spPr>
            <a:xfrm>
              <a:off x="1464957" y="3892479"/>
              <a:ext cx="20320" cy="342900"/>
            </a:xfrm>
            <a:custGeom>
              <a:avLst/>
              <a:gdLst/>
              <a:ahLst/>
              <a:cxnLst/>
              <a:rect l="l" t="t" r="r" b="b"/>
              <a:pathLst>
                <a:path w="20319" h="342900">
                  <a:moveTo>
                    <a:pt x="0" y="342869"/>
                  </a:moveTo>
                  <a:lnTo>
                    <a:pt x="0" y="0"/>
                  </a:lnTo>
                  <a:lnTo>
                    <a:pt x="19812" y="0"/>
                  </a:lnTo>
                  <a:lnTo>
                    <a:pt x="19812" y="342869"/>
                  </a:lnTo>
                  <a:lnTo>
                    <a:pt x="0" y="342869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1" name="object 181"/>
            <p:cNvSpPr/>
            <p:nvPr/>
          </p:nvSpPr>
          <p:spPr>
            <a:xfrm>
              <a:off x="1745348" y="3892479"/>
              <a:ext cx="70485" cy="353695"/>
            </a:xfrm>
            <a:custGeom>
              <a:avLst/>
              <a:gdLst/>
              <a:ahLst/>
              <a:cxnLst/>
              <a:rect l="l" t="t" r="r" b="b"/>
              <a:pathLst>
                <a:path w="70485" h="353695">
                  <a:moveTo>
                    <a:pt x="70104" y="330677"/>
                  </a:moveTo>
                  <a:lnTo>
                    <a:pt x="39624" y="330677"/>
                  </a:lnTo>
                  <a:lnTo>
                    <a:pt x="39624" y="353537"/>
                  </a:lnTo>
                  <a:lnTo>
                    <a:pt x="56388" y="353537"/>
                  </a:lnTo>
                  <a:lnTo>
                    <a:pt x="70104" y="341345"/>
                  </a:lnTo>
                  <a:lnTo>
                    <a:pt x="70104" y="330677"/>
                  </a:lnTo>
                  <a:close/>
                </a:path>
                <a:path w="70485" h="353695">
                  <a:moveTo>
                    <a:pt x="70104" y="0"/>
                  </a:moveTo>
                  <a:lnTo>
                    <a:pt x="0" y="0"/>
                  </a:lnTo>
                  <a:lnTo>
                    <a:pt x="0" y="352013"/>
                  </a:lnTo>
                  <a:lnTo>
                    <a:pt x="21336" y="330677"/>
                  </a:lnTo>
                  <a:lnTo>
                    <a:pt x="70104" y="330677"/>
                  </a:lnTo>
                  <a:lnTo>
                    <a:pt x="7010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2" name="object 182"/>
            <p:cNvSpPr/>
            <p:nvPr/>
          </p:nvSpPr>
          <p:spPr>
            <a:xfrm>
              <a:off x="1733156" y="3892486"/>
              <a:ext cx="68580" cy="353695"/>
            </a:xfrm>
            <a:custGeom>
              <a:avLst/>
              <a:gdLst/>
              <a:ahLst/>
              <a:cxnLst/>
              <a:rect l="l" t="t" r="r" b="b"/>
              <a:pathLst>
                <a:path w="68580" h="353695">
                  <a:moveTo>
                    <a:pt x="12192" y="0"/>
                  </a:moveTo>
                  <a:lnTo>
                    <a:pt x="0" y="0"/>
                  </a:lnTo>
                  <a:lnTo>
                    <a:pt x="0" y="352005"/>
                  </a:lnTo>
                  <a:lnTo>
                    <a:pt x="12192" y="352005"/>
                  </a:lnTo>
                  <a:lnTo>
                    <a:pt x="12192" y="0"/>
                  </a:lnTo>
                  <a:close/>
                </a:path>
                <a:path w="68580" h="353695">
                  <a:moveTo>
                    <a:pt x="68580" y="0"/>
                  </a:moveTo>
                  <a:lnTo>
                    <a:pt x="51816" y="0"/>
                  </a:lnTo>
                  <a:lnTo>
                    <a:pt x="51816" y="353529"/>
                  </a:lnTo>
                  <a:lnTo>
                    <a:pt x="68580" y="353529"/>
                  </a:lnTo>
                  <a:lnTo>
                    <a:pt x="68580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3" name="object 183"/>
            <p:cNvSpPr/>
            <p:nvPr/>
          </p:nvSpPr>
          <p:spPr>
            <a:xfrm>
              <a:off x="1759064" y="3892479"/>
              <a:ext cx="26034" cy="337185"/>
            </a:xfrm>
            <a:custGeom>
              <a:avLst/>
              <a:gdLst/>
              <a:ahLst/>
              <a:cxnLst/>
              <a:rect l="l" t="t" r="r" b="b"/>
              <a:pathLst>
                <a:path w="26035" h="337185">
                  <a:moveTo>
                    <a:pt x="0" y="336773"/>
                  </a:moveTo>
                  <a:lnTo>
                    <a:pt x="0" y="0"/>
                  </a:lnTo>
                  <a:lnTo>
                    <a:pt x="25908" y="0"/>
                  </a:lnTo>
                  <a:lnTo>
                    <a:pt x="25908" y="336773"/>
                  </a:lnTo>
                  <a:lnTo>
                    <a:pt x="0" y="336773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4" name="object 184"/>
            <p:cNvSpPr/>
            <p:nvPr/>
          </p:nvSpPr>
          <p:spPr>
            <a:xfrm>
              <a:off x="1274469" y="3897051"/>
              <a:ext cx="90170" cy="344805"/>
            </a:xfrm>
            <a:custGeom>
              <a:avLst/>
              <a:gdLst/>
              <a:ahLst/>
              <a:cxnLst/>
              <a:rect l="l" t="t" r="r" b="b"/>
              <a:pathLst>
                <a:path w="90169" h="344804">
                  <a:moveTo>
                    <a:pt x="41147" y="0"/>
                  </a:moveTo>
                  <a:lnTo>
                    <a:pt x="36575" y="0"/>
                  </a:lnTo>
                  <a:lnTo>
                    <a:pt x="25907" y="1523"/>
                  </a:lnTo>
                  <a:lnTo>
                    <a:pt x="9143" y="18287"/>
                  </a:lnTo>
                  <a:lnTo>
                    <a:pt x="0" y="13715"/>
                  </a:lnTo>
                  <a:lnTo>
                    <a:pt x="0" y="342869"/>
                  </a:lnTo>
                  <a:lnTo>
                    <a:pt x="13715" y="329153"/>
                  </a:lnTo>
                  <a:lnTo>
                    <a:pt x="24383" y="329153"/>
                  </a:lnTo>
                  <a:lnTo>
                    <a:pt x="24383" y="344393"/>
                  </a:lnTo>
                  <a:lnTo>
                    <a:pt x="36575" y="344393"/>
                  </a:lnTo>
                  <a:lnTo>
                    <a:pt x="44195" y="335249"/>
                  </a:lnTo>
                  <a:lnTo>
                    <a:pt x="44195" y="45719"/>
                  </a:lnTo>
                  <a:lnTo>
                    <a:pt x="89915" y="28955"/>
                  </a:lnTo>
                  <a:lnTo>
                    <a:pt x="4114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5" name="object 185"/>
            <p:cNvSpPr/>
            <p:nvPr/>
          </p:nvSpPr>
          <p:spPr>
            <a:xfrm>
              <a:off x="1268374" y="3897058"/>
              <a:ext cx="43180" cy="342900"/>
            </a:xfrm>
            <a:custGeom>
              <a:avLst/>
              <a:gdLst/>
              <a:ahLst/>
              <a:cxnLst/>
              <a:rect l="l" t="t" r="r" b="b"/>
              <a:pathLst>
                <a:path w="43180" h="342900">
                  <a:moveTo>
                    <a:pt x="6083" y="12192"/>
                  </a:moveTo>
                  <a:lnTo>
                    <a:pt x="0" y="15240"/>
                  </a:lnTo>
                  <a:lnTo>
                    <a:pt x="0" y="342861"/>
                  </a:lnTo>
                  <a:lnTo>
                    <a:pt x="6083" y="342861"/>
                  </a:lnTo>
                  <a:lnTo>
                    <a:pt x="6083" y="12192"/>
                  </a:lnTo>
                  <a:close/>
                </a:path>
                <a:path w="43180" h="342900">
                  <a:moveTo>
                    <a:pt x="42659" y="0"/>
                  </a:moveTo>
                  <a:lnTo>
                    <a:pt x="30467" y="3048"/>
                  </a:lnTo>
                  <a:lnTo>
                    <a:pt x="30467" y="342861"/>
                  </a:lnTo>
                  <a:lnTo>
                    <a:pt x="42659" y="342861"/>
                  </a:lnTo>
                  <a:lnTo>
                    <a:pt x="42659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6" name="object 186"/>
            <p:cNvSpPr/>
            <p:nvPr/>
          </p:nvSpPr>
          <p:spPr>
            <a:xfrm>
              <a:off x="1283613" y="3904671"/>
              <a:ext cx="15240" cy="326390"/>
            </a:xfrm>
            <a:custGeom>
              <a:avLst/>
              <a:gdLst/>
              <a:ahLst/>
              <a:cxnLst/>
              <a:rect l="l" t="t" r="r" b="b"/>
              <a:pathLst>
                <a:path w="15240" h="326389">
                  <a:moveTo>
                    <a:pt x="15239" y="0"/>
                  </a:moveTo>
                  <a:lnTo>
                    <a:pt x="0" y="15239"/>
                  </a:lnTo>
                  <a:lnTo>
                    <a:pt x="0" y="326105"/>
                  </a:lnTo>
                  <a:lnTo>
                    <a:pt x="15239" y="326105"/>
                  </a:lnTo>
                  <a:lnTo>
                    <a:pt x="15239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7" name="object 187"/>
            <p:cNvSpPr/>
            <p:nvPr/>
          </p:nvSpPr>
          <p:spPr>
            <a:xfrm>
              <a:off x="1152561" y="3948867"/>
              <a:ext cx="79375" cy="281940"/>
            </a:xfrm>
            <a:custGeom>
              <a:avLst/>
              <a:gdLst/>
              <a:ahLst/>
              <a:cxnLst/>
              <a:rect l="l" t="t" r="r" b="b"/>
              <a:pathLst>
                <a:path w="79375" h="281939">
                  <a:moveTo>
                    <a:pt x="36575" y="0"/>
                  </a:moveTo>
                  <a:lnTo>
                    <a:pt x="32003" y="0"/>
                  </a:lnTo>
                  <a:lnTo>
                    <a:pt x="22859" y="1523"/>
                  </a:lnTo>
                  <a:lnTo>
                    <a:pt x="9143" y="15239"/>
                  </a:lnTo>
                  <a:lnTo>
                    <a:pt x="0" y="10667"/>
                  </a:lnTo>
                  <a:lnTo>
                    <a:pt x="0" y="280385"/>
                  </a:lnTo>
                  <a:lnTo>
                    <a:pt x="12191" y="269717"/>
                  </a:lnTo>
                  <a:lnTo>
                    <a:pt x="22859" y="269717"/>
                  </a:lnTo>
                  <a:lnTo>
                    <a:pt x="22859" y="281909"/>
                  </a:lnTo>
                  <a:lnTo>
                    <a:pt x="32003" y="281909"/>
                  </a:lnTo>
                  <a:lnTo>
                    <a:pt x="39623" y="275813"/>
                  </a:lnTo>
                  <a:lnTo>
                    <a:pt x="39623" y="36575"/>
                  </a:lnTo>
                  <a:lnTo>
                    <a:pt x="79247" y="22859"/>
                  </a:lnTo>
                  <a:lnTo>
                    <a:pt x="3657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8" name="object 188"/>
            <p:cNvSpPr/>
            <p:nvPr/>
          </p:nvSpPr>
          <p:spPr>
            <a:xfrm>
              <a:off x="1146454" y="3948874"/>
              <a:ext cx="38100" cy="281940"/>
            </a:xfrm>
            <a:custGeom>
              <a:avLst/>
              <a:gdLst/>
              <a:ahLst/>
              <a:cxnLst/>
              <a:rect l="l" t="t" r="r" b="b"/>
              <a:pathLst>
                <a:path w="38100" h="281939">
                  <a:moveTo>
                    <a:pt x="7620" y="10668"/>
                  </a:moveTo>
                  <a:lnTo>
                    <a:pt x="0" y="12192"/>
                  </a:lnTo>
                  <a:lnTo>
                    <a:pt x="0" y="280377"/>
                  </a:lnTo>
                  <a:lnTo>
                    <a:pt x="7620" y="280377"/>
                  </a:lnTo>
                  <a:lnTo>
                    <a:pt x="7620" y="10668"/>
                  </a:lnTo>
                  <a:close/>
                </a:path>
                <a:path w="38100" h="281939">
                  <a:moveTo>
                    <a:pt x="38100" y="0"/>
                  </a:moveTo>
                  <a:lnTo>
                    <a:pt x="28956" y="1524"/>
                  </a:lnTo>
                  <a:lnTo>
                    <a:pt x="28956" y="281901"/>
                  </a:lnTo>
                  <a:lnTo>
                    <a:pt x="38100" y="281901"/>
                  </a:lnTo>
                  <a:lnTo>
                    <a:pt x="38100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9" name="object 189"/>
            <p:cNvSpPr/>
            <p:nvPr/>
          </p:nvSpPr>
          <p:spPr>
            <a:xfrm>
              <a:off x="1161705" y="3956487"/>
              <a:ext cx="13970" cy="265430"/>
            </a:xfrm>
            <a:custGeom>
              <a:avLst/>
              <a:gdLst/>
              <a:ahLst/>
              <a:cxnLst/>
              <a:rect l="l" t="t" r="r" b="b"/>
              <a:pathLst>
                <a:path w="13969" h="265429">
                  <a:moveTo>
                    <a:pt x="13715" y="0"/>
                  </a:moveTo>
                  <a:lnTo>
                    <a:pt x="0" y="13715"/>
                  </a:lnTo>
                  <a:lnTo>
                    <a:pt x="0" y="265145"/>
                  </a:lnTo>
                  <a:lnTo>
                    <a:pt x="13715" y="265145"/>
                  </a:lnTo>
                  <a:lnTo>
                    <a:pt x="13715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0" name="object 190"/>
            <p:cNvSpPr/>
            <p:nvPr/>
          </p:nvSpPr>
          <p:spPr>
            <a:xfrm>
              <a:off x="882810" y="3892479"/>
              <a:ext cx="248920" cy="55244"/>
            </a:xfrm>
            <a:custGeom>
              <a:avLst/>
              <a:gdLst/>
              <a:ahLst/>
              <a:cxnLst/>
              <a:rect l="l" t="t" r="r" b="b"/>
              <a:pathLst>
                <a:path w="248919" h="55245">
                  <a:moveTo>
                    <a:pt x="248666" y="0"/>
                  </a:moveTo>
                  <a:lnTo>
                    <a:pt x="0" y="0"/>
                  </a:lnTo>
                  <a:lnTo>
                    <a:pt x="33272" y="27940"/>
                  </a:lnTo>
                  <a:lnTo>
                    <a:pt x="76630" y="47815"/>
                  </a:lnTo>
                  <a:lnTo>
                    <a:pt x="124983" y="54863"/>
                  </a:lnTo>
                  <a:lnTo>
                    <a:pt x="172699" y="47815"/>
                  </a:lnTo>
                  <a:lnTo>
                    <a:pt x="215629" y="27940"/>
                  </a:lnTo>
                  <a:lnTo>
                    <a:pt x="248666" y="0"/>
                  </a:lnTo>
                  <a:close/>
                </a:path>
              </a:pathLst>
            </a:custGeom>
            <a:solidFill>
              <a:srgbClr val="FF65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1" name="object 191"/>
            <p:cNvSpPr/>
            <p:nvPr/>
          </p:nvSpPr>
          <p:spPr>
            <a:xfrm>
              <a:off x="873863" y="3892479"/>
              <a:ext cx="267970" cy="60960"/>
            </a:xfrm>
            <a:custGeom>
              <a:avLst/>
              <a:gdLst/>
              <a:ahLst/>
              <a:cxnLst/>
              <a:rect l="l" t="t" r="r" b="b"/>
              <a:pathLst>
                <a:path w="267969" h="60960">
                  <a:moveTo>
                    <a:pt x="18118" y="0"/>
                  </a:moveTo>
                  <a:lnTo>
                    <a:pt x="0" y="0"/>
                  </a:lnTo>
                  <a:lnTo>
                    <a:pt x="1354" y="1523"/>
                  </a:lnTo>
                  <a:lnTo>
                    <a:pt x="44026" y="36575"/>
                  </a:lnTo>
                  <a:lnTo>
                    <a:pt x="95842" y="56387"/>
                  </a:lnTo>
                  <a:lnTo>
                    <a:pt x="133930" y="60959"/>
                  </a:lnTo>
                  <a:lnTo>
                    <a:pt x="153742" y="59435"/>
                  </a:lnTo>
                  <a:lnTo>
                    <a:pt x="172030" y="56387"/>
                  </a:lnTo>
                  <a:lnTo>
                    <a:pt x="190318" y="51815"/>
                  </a:lnTo>
                  <a:lnTo>
                    <a:pt x="197023" y="48767"/>
                  </a:lnTo>
                  <a:lnTo>
                    <a:pt x="132406" y="48767"/>
                  </a:lnTo>
                  <a:lnTo>
                    <a:pt x="115642" y="47243"/>
                  </a:lnTo>
                  <a:lnTo>
                    <a:pt x="65362" y="33527"/>
                  </a:lnTo>
                  <a:lnTo>
                    <a:pt x="22690" y="4571"/>
                  </a:lnTo>
                  <a:lnTo>
                    <a:pt x="18118" y="0"/>
                  </a:lnTo>
                  <a:close/>
                </a:path>
                <a:path w="267969" h="60960">
                  <a:moveTo>
                    <a:pt x="267725" y="0"/>
                  </a:moveTo>
                  <a:lnTo>
                    <a:pt x="248796" y="0"/>
                  </a:lnTo>
                  <a:lnTo>
                    <a:pt x="243658" y="4571"/>
                  </a:lnTo>
                  <a:lnTo>
                    <a:pt x="231466" y="16763"/>
                  </a:lnTo>
                  <a:lnTo>
                    <a:pt x="216226" y="25907"/>
                  </a:lnTo>
                  <a:lnTo>
                    <a:pt x="168982" y="44195"/>
                  </a:lnTo>
                  <a:lnTo>
                    <a:pt x="132406" y="48767"/>
                  </a:lnTo>
                  <a:lnTo>
                    <a:pt x="197023" y="48767"/>
                  </a:lnTo>
                  <a:lnTo>
                    <a:pt x="223846" y="36575"/>
                  </a:lnTo>
                  <a:lnTo>
                    <a:pt x="239086" y="25907"/>
                  </a:lnTo>
                  <a:lnTo>
                    <a:pt x="266506" y="1523"/>
                  </a:lnTo>
                  <a:lnTo>
                    <a:pt x="267725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92" name="object 192"/>
          <p:cNvSpPr txBox="1"/>
          <p:nvPr/>
        </p:nvSpPr>
        <p:spPr>
          <a:xfrm>
            <a:off x="3458031" y="3608650"/>
            <a:ext cx="3162300" cy="556260"/>
          </a:xfrm>
          <a:prstGeom prst="rect">
            <a:avLst/>
          </a:prstGeom>
        </p:spPr>
        <p:txBody>
          <a:bodyPr vert="horz" wrap="square" lIns="0" tIns="20955" rIns="0" bIns="0" rtlCol="0">
            <a:spAutoFit/>
          </a:bodyPr>
          <a:lstStyle/>
          <a:p>
            <a:pPr marL="1034415" marR="1640839">
              <a:lnSpc>
                <a:spcPct val="100000"/>
              </a:lnSpc>
              <a:spcBef>
                <a:spcPts val="165"/>
              </a:spcBef>
            </a:pPr>
            <a:r>
              <a:rPr sz="1800" b="1" dirty="0">
                <a:solidFill>
                  <a:srgbClr val="323299"/>
                </a:solidFill>
                <a:latin typeface="Liberation Sans Narrow"/>
                <a:cs typeface="Liberation Sans Narrow"/>
              </a:rPr>
              <a:t>N</a:t>
            </a:r>
            <a:r>
              <a:rPr sz="1800" b="1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igh</a:t>
            </a:r>
            <a:r>
              <a:rPr sz="1800" b="1" dirty="0">
                <a:solidFill>
                  <a:srgbClr val="323299"/>
                </a:solidFill>
                <a:latin typeface="Liberation Sans Narrow"/>
                <a:cs typeface="Liberation Sans Narrow"/>
              </a:rPr>
              <a:t>t  Off</a:t>
            </a:r>
            <a:endParaRPr sz="1800">
              <a:latin typeface="Liberation Sans Narrow"/>
              <a:cs typeface="Liberation Sans Narrow"/>
            </a:endParaRPr>
          </a:p>
        </p:txBody>
      </p:sp>
      <p:grpSp>
        <p:nvGrpSpPr>
          <p:cNvPr id="193" name="object 193"/>
          <p:cNvGrpSpPr/>
          <p:nvPr/>
        </p:nvGrpSpPr>
        <p:grpSpPr>
          <a:xfrm>
            <a:off x="760771" y="3608650"/>
            <a:ext cx="4966970" cy="1292860"/>
            <a:chOff x="699979" y="3892479"/>
            <a:chExt cx="4966970" cy="1292860"/>
          </a:xfrm>
        </p:grpSpPr>
        <p:sp>
          <p:nvSpPr>
            <p:cNvPr id="194" name="object 194"/>
            <p:cNvSpPr/>
            <p:nvPr/>
          </p:nvSpPr>
          <p:spPr>
            <a:xfrm>
              <a:off x="5035385" y="3892486"/>
              <a:ext cx="631825" cy="424180"/>
            </a:xfrm>
            <a:custGeom>
              <a:avLst/>
              <a:gdLst/>
              <a:ahLst/>
              <a:cxnLst/>
              <a:rect l="l" t="t" r="r" b="b"/>
              <a:pathLst>
                <a:path w="631825" h="424179">
                  <a:moveTo>
                    <a:pt x="311721" y="0"/>
                  </a:moveTo>
                  <a:lnTo>
                    <a:pt x="243293" y="0"/>
                  </a:lnTo>
                  <a:lnTo>
                    <a:pt x="100749" y="86639"/>
                  </a:lnTo>
                  <a:lnTo>
                    <a:pt x="82296" y="56388"/>
                  </a:lnTo>
                  <a:lnTo>
                    <a:pt x="19812" y="156972"/>
                  </a:lnTo>
                  <a:lnTo>
                    <a:pt x="137160" y="146304"/>
                  </a:lnTo>
                  <a:lnTo>
                    <a:pt x="125069" y="126492"/>
                  </a:lnTo>
                  <a:lnTo>
                    <a:pt x="119265" y="116979"/>
                  </a:lnTo>
                  <a:lnTo>
                    <a:pt x="311721" y="0"/>
                  </a:lnTo>
                  <a:close/>
                </a:path>
                <a:path w="631825" h="424179">
                  <a:moveTo>
                    <a:pt x="631380" y="0"/>
                  </a:moveTo>
                  <a:lnTo>
                    <a:pt x="570941" y="0"/>
                  </a:lnTo>
                  <a:lnTo>
                    <a:pt x="76187" y="348449"/>
                  </a:lnTo>
                  <a:lnTo>
                    <a:pt x="56388" y="320001"/>
                  </a:lnTo>
                  <a:lnTo>
                    <a:pt x="0" y="423633"/>
                  </a:lnTo>
                  <a:lnTo>
                    <a:pt x="115824" y="405345"/>
                  </a:lnTo>
                  <a:lnTo>
                    <a:pt x="103085" y="387057"/>
                  </a:lnTo>
                  <a:lnTo>
                    <a:pt x="96240" y="377228"/>
                  </a:lnTo>
                  <a:lnTo>
                    <a:pt x="63138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5" name="object 195"/>
            <p:cNvSpPr/>
            <p:nvPr/>
          </p:nvSpPr>
          <p:spPr>
            <a:xfrm>
              <a:off x="4149401" y="3892479"/>
              <a:ext cx="220059" cy="175259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6" name="object 196"/>
            <p:cNvSpPr/>
            <p:nvPr/>
          </p:nvSpPr>
          <p:spPr>
            <a:xfrm>
              <a:off x="3935737" y="3892479"/>
              <a:ext cx="452120" cy="441959"/>
            </a:xfrm>
            <a:custGeom>
              <a:avLst/>
              <a:gdLst/>
              <a:ahLst/>
              <a:cxnLst/>
              <a:rect l="l" t="t" r="r" b="b"/>
              <a:pathLst>
                <a:path w="452120" h="441960">
                  <a:moveTo>
                    <a:pt x="367118" y="379500"/>
                  </a:moveTo>
                  <a:lnTo>
                    <a:pt x="342283" y="403829"/>
                  </a:lnTo>
                  <a:lnTo>
                    <a:pt x="452011" y="441929"/>
                  </a:lnTo>
                  <a:lnTo>
                    <a:pt x="436165" y="391637"/>
                  </a:lnTo>
                  <a:lnTo>
                    <a:pt x="378859" y="391637"/>
                  </a:lnTo>
                  <a:lnTo>
                    <a:pt x="367118" y="379500"/>
                  </a:lnTo>
                  <a:close/>
                </a:path>
                <a:path w="452120" h="441960">
                  <a:moveTo>
                    <a:pt x="392526" y="354611"/>
                  </a:moveTo>
                  <a:lnTo>
                    <a:pt x="367118" y="379500"/>
                  </a:lnTo>
                  <a:lnTo>
                    <a:pt x="378859" y="391637"/>
                  </a:lnTo>
                  <a:lnTo>
                    <a:pt x="404767" y="367253"/>
                  </a:lnTo>
                  <a:lnTo>
                    <a:pt x="392526" y="354611"/>
                  </a:lnTo>
                  <a:close/>
                </a:path>
                <a:path w="452120" h="441960">
                  <a:moveTo>
                    <a:pt x="416959" y="330677"/>
                  </a:moveTo>
                  <a:lnTo>
                    <a:pt x="392526" y="354611"/>
                  </a:lnTo>
                  <a:lnTo>
                    <a:pt x="404767" y="367253"/>
                  </a:lnTo>
                  <a:lnTo>
                    <a:pt x="378859" y="391637"/>
                  </a:lnTo>
                  <a:lnTo>
                    <a:pt x="436165" y="391637"/>
                  </a:lnTo>
                  <a:lnTo>
                    <a:pt x="416959" y="330677"/>
                  </a:lnTo>
                  <a:close/>
                </a:path>
                <a:path w="452120" h="441960">
                  <a:moveTo>
                    <a:pt x="49172" y="0"/>
                  </a:moveTo>
                  <a:lnTo>
                    <a:pt x="0" y="0"/>
                  </a:lnTo>
                  <a:lnTo>
                    <a:pt x="367118" y="379500"/>
                  </a:lnTo>
                  <a:lnTo>
                    <a:pt x="392526" y="354611"/>
                  </a:lnTo>
                  <a:lnTo>
                    <a:pt x="49172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7" name="object 197"/>
            <p:cNvSpPr/>
            <p:nvPr/>
          </p:nvSpPr>
          <p:spPr>
            <a:xfrm>
              <a:off x="712159" y="4448699"/>
              <a:ext cx="2743200" cy="723900"/>
            </a:xfrm>
            <a:custGeom>
              <a:avLst/>
              <a:gdLst/>
              <a:ahLst/>
              <a:cxnLst/>
              <a:rect l="l" t="t" r="r" b="b"/>
              <a:pathLst>
                <a:path w="2743200" h="723900">
                  <a:moveTo>
                    <a:pt x="2742974" y="0"/>
                  </a:moveTo>
                  <a:lnTo>
                    <a:pt x="0" y="0"/>
                  </a:lnTo>
                  <a:lnTo>
                    <a:pt x="0" y="723839"/>
                  </a:lnTo>
                  <a:lnTo>
                    <a:pt x="2742974" y="723839"/>
                  </a:lnTo>
                  <a:lnTo>
                    <a:pt x="2742974" y="0"/>
                  </a:lnTo>
                  <a:close/>
                </a:path>
              </a:pathLst>
            </a:custGeom>
            <a:solidFill>
              <a:srgbClr val="FCD1C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8" name="object 198"/>
            <p:cNvSpPr/>
            <p:nvPr/>
          </p:nvSpPr>
          <p:spPr>
            <a:xfrm>
              <a:off x="699979" y="4436516"/>
              <a:ext cx="2767330" cy="748665"/>
            </a:xfrm>
            <a:custGeom>
              <a:avLst/>
              <a:gdLst/>
              <a:ahLst/>
              <a:cxnLst/>
              <a:rect l="l" t="t" r="r" b="b"/>
              <a:pathLst>
                <a:path w="2767329" h="748664">
                  <a:moveTo>
                    <a:pt x="2767334" y="0"/>
                  </a:moveTo>
                  <a:lnTo>
                    <a:pt x="0" y="0"/>
                  </a:lnTo>
                  <a:lnTo>
                    <a:pt x="0" y="748213"/>
                  </a:lnTo>
                  <a:lnTo>
                    <a:pt x="2767334" y="748213"/>
                  </a:lnTo>
                  <a:lnTo>
                    <a:pt x="2767334" y="736021"/>
                  </a:lnTo>
                  <a:lnTo>
                    <a:pt x="24371" y="736021"/>
                  </a:lnTo>
                  <a:lnTo>
                    <a:pt x="12179" y="723829"/>
                  </a:lnTo>
                  <a:lnTo>
                    <a:pt x="24371" y="723829"/>
                  </a:lnTo>
                  <a:lnTo>
                    <a:pt x="24371" y="24384"/>
                  </a:lnTo>
                  <a:lnTo>
                    <a:pt x="12179" y="24384"/>
                  </a:lnTo>
                  <a:lnTo>
                    <a:pt x="24371" y="12192"/>
                  </a:lnTo>
                  <a:lnTo>
                    <a:pt x="2767334" y="12192"/>
                  </a:lnTo>
                  <a:lnTo>
                    <a:pt x="2767334" y="0"/>
                  </a:lnTo>
                  <a:close/>
                </a:path>
                <a:path w="2767329" h="748664">
                  <a:moveTo>
                    <a:pt x="24371" y="723829"/>
                  </a:moveTo>
                  <a:lnTo>
                    <a:pt x="12179" y="723829"/>
                  </a:lnTo>
                  <a:lnTo>
                    <a:pt x="24371" y="736021"/>
                  </a:lnTo>
                  <a:lnTo>
                    <a:pt x="24371" y="723829"/>
                  </a:lnTo>
                  <a:close/>
                </a:path>
                <a:path w="2767329" h="748664">
                  <a:moveTo>
                    <a:pt x="2742950" y="723829"/>
                  </a:moveTo>
                  <a:lnTo>
                    <a:pt x="24371" y="723829"/>
                  </a:lnTo>
                  <a:lnTo>
                    <a:pt x="24371" y="736021"/>
                  </a:lnTo>
                  <a:lnTo>
                    <a:pt x="2742950" y="736021"/>
                  </a:lnTo>
                  <a:lnTo>
                    <a:pt x="2742950" y="723829"/>
                  </a:lnTo>
                  <a:close/>
                </a:path>
                <a:path w="2767329" h="748664">
                  <a:moveTo>
                    <a:pt x="2742950" y="12192"/>
                  </a:moveTo>
                  <a:lnTo>
                    <a:pt x="2742950" y="736021"/>
                  </a:lnTo>
                  <a:lnTo>
                    <a:pt x="2755142" y="723829"/>
                  </a:lnTo>
                  <a:lnTo>
                    <a:pt x="2767334" y="723829"/>
                  </a:lnTo>
                  <a:lnTo>
                    <a:pt x="2767334" y="24384"/>
                  </a:lnTo>
                  <a:lnTo>
                    <a:pt x="2755142" y="24384"/>
                  </a:lnTo>
                  <a:lnTo>
                    <a:pt x="2742950" y="12192"/>
                  </a:lnTo>
                  <a:close/>
                </a:path>
                <a:path w="2767329" h="748664">
                  <a:moveTo>
                    <a:pt x="2767334" y="723829"/>
                  </a:moveTo>
                  <a:lnTo>
                    <a:pt x="2755142" y="723829"/>
                  </a:lnTo>
                  <a:lnTo>
                    <a:pt x="2742950" y="736021"/>
                  </a:lnTo>
                  <a:lnTo>
                    <a:pt x="2767334" y="736021"/>
                  </a:lnTo>
                  <a:lnTo>
                    <a:pt x="2767334" y="723829"/>
                  </a:lnTo>
                  <a:close/>
                </a:path>
                <a:path w="2767329" h="748664">
                  <a:moveTo>
                    <a:pt x="24371" y="12192"/>
                  </a:moveTo>
                  <a:lnTo>
                    <a:pt x="12179" y="24384"/>
                  </a:lnTo>
                  <a:lnTo>
                    <a:pt x="24371" y="24384"/>
                  </a:lnTo>
                  <a:lnTo>
                    <a:pt x="24371" y="12192"/>
                  </a:lnTo>
                  <a:close/>
                </a:path>
                <a:path w="2767329" h="748664">
                  <a:moveTo>
                    <a:pt x="2742950" y="12192"/>
                  </a:moveTo>
                  <a:lnTo>
                    <a:pt x="24371" y="12192"/>
                  </a:lnTo>
                  <a:lnTo>
                    <a:pt x="24371" y="24384"/>
                  </a:lnTo>
                  <a:lnTo>
                    <a:pt x="2742950" y="24384"/>
                  </a:lnTo>
                  <a:lnTo>
                    <a:pt x="2742950" y="12192"/>
                  </a:lnTo>
                  <a:close/>
                </a:path>
                <a:path w="2767329" h="748664">
                  <a:moveTo>
                    <a:pt x="2767334" y="12192"/>
                  </a:moveTo>
                  <a:lnTo>
                    <a:pt x="2742950" y="12192"/>
                  </a:lnTo>
                  <a:lnTo>
                    <a:pt x="2755142" y="24384"/>
                  </a:lnTo>
                  <a:lnTo>
                    <a:pt x="2767334" y="24384"/>
                  </a:lnTo>
                  <a:lnTo>
                    <a:pt x="2767334" y="1219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99" name="object 199"/>
          <p:cNvSpPr txBox="1"/>
          <p:nvPr/>
        </p:nvSpPr>
        <p:spPr>
          <a:xfrm>
            <a:off x="791239" y="4356110"/>
            <a:ext cx="2724785" cy="361950"/>
          </a:xfrm>
          <a:prstGeom prst="rect">
            <a:avLst/>
          </a:prstGeom>
          <a:solidFill>
            <a:srgbClr val="FCD1C1"/>
          </a:solidFill>
        </p:spPr>
        <p:txBody>
          <a:bodyPr vert="horz" wrap="square" lIns="0" tIns="0" rIns="0" bIns="0" rtlCol="0">
            <a:spAutoFit/>
          </a:bodyPr>
          <a:lstStyle/>
          <a:p>
            <a:pPr marR="12700" algn="ctr">
              <a:lnSpc>
                <a:spcPts val="1300"/>
              </a:lnSpc>
            </a:pPr>
            <a:r>
              <a:rPr sz="1600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Personnel Subarea</a:t>
            </a:r>
            <a:r>
              <a:rPr sz="1600" spc="-90" dirty="0">
                <a:solidFill>
                  <a:srgbClr val="323299"/>
                </a:solidFill>
                <a:latin typeface="Liberation Sans Narrow"/>
                <a:cs typeface="Liberation Sans Narrow"/>
              </a:rPr>
              <a:t> </a:t>
            </a:r>
            <a:r>
              <a:rPr sz="1600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grouping</a:t>
            </a:r>
            <a:endParaRPr sz="1600">
              <a:latin typeface="Liberation Sans Narrow"/>
              <a:cs typeface="Liberation Sans Narrow"/>
            </a:endParaRPr>
          </a:p>
          <a:p>
            <a:pPr marR="12700" algn="ctr">
              <a:lnSpc>
                <a:spcPts val="1550"/>
              </a:lnSpc>
            </a:pPr>
            <a:r>
              <a:rPr sz="1600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for </a:t>
            </a:r>
            <a:r>
              <a:rPr sz="1600" spc="-10" dirty="0">
                <a:solidFill>
                  <a:srgbClr val="323299"/>
                </a:solidFill>
                <a:latin typeface="Liberation Sans Narrow"/>
                <a:cs typeface="Liberation Sans Narrow"/>
              </a:rPr>
              <a:t>Work </a:t>
            </a:r>
            <a:r>
              <a:rPr sz="1600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Daily</a:t>
            </a:r>
            <a:r>
              <a:rPr sz="1600" spc="-1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 </a:t>
            </a:r>
            <a:r>
              <a:rPr sz="1600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Schedules</a:t>
            </a:r>
            <a:endParaRPr sz="1600">
              <a:latin typeface="Liberation Sans Narrow"/>
              <a:cs typeface="Liberation Sans Narrow"/>
            </a:endParaRPr>
          </a:p>
        </p:txBody>
      </p:sp>
      <p:grpSp>
        <p:nvGrpSpPr>
          <p:cNvPr id="200" name="object 200"/>
          <p:cNvGrpSpPr/>
          <p:nvPr/>
        </p:nvGrpSpPr>
        <p:grpSpPr>
          <a:xfrm>
            <a:off x="6836435" y="4152687"/>
            <a:ext cx="2769235" cy="748665"/>
            <a:chOff x="6775643" y="4436516"/>
            <a:chExt cx="2769235" cy="748665"/>
          </a:xfrm>
        </p:grpSpPr>
        <p:sp>
          <p:nvSpPr>
            <p:cNvPr id="201" name="object 201"/>
            <p:cNvSpPr/>
            <p:nvPr/>
          </p:nvSpPr>
          <p:spPr>
            <a:xfrm>
              <a:off x="6787834" y="4448699"/>
              <a:ext cx="2743200" cy="723900"/>
            </a:xfrm>
            <a:custGeom>
              <a:avLst/>
              <a:gdLst/>
              <a:ahLst/>
              <a:cxnLst/>
              <a:rect l="l" t="t" r="r" b="b"/>
              <a:pathLst>
                <a:path w="2743200" h="723900">
                  <a:moveTo>
                    <a:pt x="2742974" y="0"/>
                  </a:moveTo>
                  <a:lnTo>
                    <a:pt x="0" y="0"/>
                  </a:lnTo>
                  <a:lnTo>
                    <a:pt x="0" y="723839"/>
                  </a:lnTo>
                  <a:lnTo>
                    <a:pt x="2742974" y="723839"/>
                  </a:lnTo>
                  <a:lnTo>
                    <a:pt x="2742974" y="0"/>
                  </a:lnTo>
                  <a:close/>
                </a:path>
              </a:pathLst>
            </a:custGeom>
            <a:solidFill>
              <a:srgbClr val="FCD1C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2" name="object 202"/>
            <p:cNvSpPr/>
            <p:nvPr/>
          </p:nvSpPr>
          <p:spPr>
            <a:xfrm>
              <a:off x="6775643" y="4436516"/>
              <a:ext cx="2769235" cy="748665"/>
            </a:xfrm>
            <a:custGeom>
              <a:avLst/>
              <a:gdLst/>
              <a:ahLst/>
              <a:cxnLst/>
              <a:rect l="l" t="t" r="r" b="b"/>
              <a:pathLst>
                <a:path w="2769234" h="748664">
                  <a:moveTo>
                    <a:pt x="2768894" y="0"/>
                  </a:moveTo>
                  <a:lnTo>
                    <a:pt x="0" y="0"/>
                  </a:lnTo>
                  <a:lnTo>
                    <a:pt x="0" y="748213"/>
                  </a:lnTo>
                  <a:lnTo>
                    <a:pt x="2768894" y="748213"/>
                  </a:lnTo>
                  <a:lnTo>
                    <a:pt x="2768894" y="736021"/>
                  </a:lnTo>
                  <a:lnTo>
                    <a:pt x="25908" y="736021"/>
                  </a:lnTo>
                  <a:lnTo>
                    <a:pt x="12192" y="723829"/>
                  </a:lnTo>
                  <a:lnTo>
                    <a:pt x="25908" y="723829"/>
                  </a:lnTo>
                  <a:lnTo>
                    <a:pt x="25908" y="24384"/>
                  </a:lnTo>
                  <a:lnTo>
                    <a:pt x="12192" y="24384"/>
                  </a:lnTo>
                  <a:lnTo>
                    <a:pt x="25908" y="12192"/>
                  </a:lnTo>
                  <a:lnTo>
                    <a:pt x="2768894" y="12192"/>
                  </a:lnTo>
                  <a:lnTo>
                    <a:pt x="2768894" y="0"/>
                  </a:lnTo>
                  <a:close/>
                </a:path>
                <a:path w="2769234" h="748664">
                  <a:moveTo>
                    <a:pt x="25908" y="723829"/>
                  </a:moveTo>
                  <a:lnTo>
                    <a:pt x="12192" y="723829"/>
                  </a:lnTo>
                  <a:lnTo>
                    <a:pt x="25908" y="736021"/>
                  </a:lnTo>
                  <a:lnTo>
                    <a:pt x="25908" y="723829"/>
                  </a:lnTo>
                  <a:close/>
                </a:path>
                <a:path w="2769234" h="748664">
                  <a:moveTo>
                    <a:pt x="2742986" y="723829"/>
                  </a:moveTo>
                  <a:lnTo>
                    <a:pt x="25908" y="723829"/>
                  </a:lnTo>
                  <a:lnTo>
                    <a:pt x="25908" y="736021"/>
                  </a:lnTo>
                  <a:lnTo>
                    <a:pt x="2742986" y="736021"/>
                  </a:lnTo>
                  <a:lnTo>
                    <a:pt x="2742986" y="723829"/>
                  </a:lnTo>
                  <a:close/>
                </a:path>
                <a:path w="2769234" h="748664">
                  <a:moveTo>
                    <a:pt x="2742986" y="12192"/>
                  </a:moveTo>
                  <a:lnTo>
                    <a:pt x="2742986" y="736021"/>
                  </a:lnTo>
                  <a:lnTo>
                    <a:pt x="2755178" y="723829"/>
                  </a:lnTo>
                  <a:lnTo>
                    <a:pt x="2768894" y="723829"/>
                  </a:lnTo>
                  <a:lnTo>
                    <a:pt x="2768894" y="24384"/>
                  </a:lnTo>
                  <a:lnTo>
                    <a:pt x="2755178" y="24384"/>
                  </a:lnTo>
                  <a:lnTo>
                    <a:pt x="2742986" y="12192"/>
                  </a:lnTo>
                  <a:close/>
                </a:path>
                <a:path w="2769234" h="748664">
                  <a:moveTo>
                    <a:pt x="2768894" y="723829"/>
                  </a:moveTo>
                  <a:lnTo>
                    <a:pt x="2755178" y="723829"/>
                  </a:lnTo>
                  <a:lnTo>
                    <a:pt x="2742986" y="736021"/>
                  </a:lnTo>
                  <a:lnTo>
                    <a:pt x="2768894" y="736021"/>
                  </a:lnTo>
                  <a:lnTo>
                    <a:pt x="2768894" y="723829"/>
                  </a:lnTo>
                  <a:close/>
                </a:path>
                <a:path w="2769234" h="748664">
                  <a:moveTo>
                    <a:pt x="25908" y="12192"/>
                  </a:moveTo>
                  <a:lnTo>
                    <a:pt x="12192" y="24384"/>
                  </a:lnTo>
                  <a:lnTo>
                    <a:pt x="25908" y="24384"/>
                  </a:lnTo>
                  <a:lnTo>
                    <a:pt x="25908" y="12192"/>
                  </a:lnTo>
                  <a:close/>
                </a:path>
                <a:path w="2769234" h="748664">
                  <a:moveTo>
                    <a:pt x="2742986" y="12192"/>
                  </a:moveTo>
                  <a:lnTo>
                    <a:pt x="25908" y="12192"/>
                  </a:lnTo>
                  <a:lnTo>
                    <a:pt x="25908" y="24384"/>
                  </a:lnTo>
                  <a:lnTo>
                    <a:pt x="2742986" y="24384"/>
                  </a:lnTo>
                  <a:lnTo>
                    <a:pt x="2742986" y="12192"/>
                  </a:lnTo>
                  <a:close/>
                </a:path>
                <a:path w="2769234" h="748664">
                  <a:moveTo>
                    <a:pt x="2768894" y="12192"/>
                  </a:moveTo>
                  <a:lnTo>
                    <a:pt x="2742986" y="12192"/>
                  </a:lnTo>
                  <a:lnTo>
                    <a:pt x="2755178" y="24384"/>
                  </a:lnTo>
                  <a:lnTo>
                    <a:pt x="2768894" y="24384"/>
                  </a:lnTo>
                  <a:lnTo>
                    <a:pt x="2768894" y="1219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03" name="object 203"/>
          <p:cNvSpPr txBox="1"/>
          <p:nvPr/>
        </p:nvSpPr>
        <p:spPr>
          <a:xfrm>
            <a:off x="7024344" y="4252803"/>
            <a:ext cx="2587421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Personnel Subarea</a:t>
            </a:r>
            <a:r>
              <a:rPr sz="1600" spc="-110" dirty="0">
                <a:solidFill>
                  <a:srgbClr val="323299"/>
                </a:solidFill>
                <a:latin typeface="Liberation Sans Narrow"/>
                <a:cs typeface="Liberation Sans Narrow"/>
              </a:rPr>
              <a:t> </a:t>
            </a:r>
            <a:r>
              <a:rPr sz="1600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grouping</a:t>
            </a:r>
            <a:endParaRPr sz="1600" dirty="0">
              <a:latin typeface="Liberation Sans Narrow"/>
              <a:cs typeface="Liberation Sans Narrow"/>
            </a:endParaRPr>
          </a:p>
        </p:txBody>
      </p:sp>
      <p:sp>
        <p:nvSpPr>
          <p:cNvPr id="204" name="object 204"/>
          <p:cNvSpPr txBox="1"/>
          <p:nvPr/>
        </p:nvSpPr>
        <p:spPr>
          <a:xfrm>
            <a:off x="7273293" y="4508748"/>
            <a:ext cx="2330724" cy="26567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for </a:t>
            </a:r>
            <a:r>
              <a:rPr sz="1600" spc="-10" dirty="0">
                <a:solidFill>
                  <a:srgbClr val="323299"/>
                </a:solidFill>
                <a:latin typeface="Liberation Sans Narrow"/>
                <a:cs typeface="Liberation Sans Narrow"/>
              </a:rPr>
              <a:t>Work </a:t>
            </a:r>
            <a:r>
              <a:rPr sz="1600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Daily</a:t>
            </a:r>
            <a:r>
              <a:rPr sz="1600" spc="-50" dirty="0">
                <a:solidFill>
                  <a:srgbClr val="323299"/>
                </a:solidFill>
                <a:latin typeface="Liberation Sans Narrow"/>
                <a:cs typeface="Liberation Sans Narrow"/>
              </a:rPr>
              <a:t> </a:t>
            </a:r>
            <a:r>
              <a:rPr sz="1600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Schedules</a:t>
            </a:r>
            <a:endParaRPr sz="1600" dirty="0">
              <a:latin typeface="Liberation Sans Narrow"/>
              <a:cs typeface="Liberation Sans Narrow"/>
            </a:endParaRPr>
          </a:p>
        </p:txBody>
      </p:sp>
      <p:grpSp>
        <p:nvGrpSpPr>
          <p:cNvPr id="205" name="object 205"/>
          <p:cNvGrpSpPr/>
          <p:nvPr/>
        </p:nvGrpSpPr>
        <p:grpSpPr>
          <a:xfrm>
            <a:off x="7337800" y="4768325"/>
            <a:ext cx="375285" cy="407034"/>
            <a:chOff x="7277008" y="5052154"/>
            <a:chExt cx="375285" cy="407034"/>
          </a:xfrm>
        </p:grpSpPr>
        <p:sp>
          <p:nvSpPr>
            <p:cNvPr id="206" name="object 206"/>
            <p:cNvSpPr/>
            <p:nvPr/>
          </p:nvSpPr>
          <p:spPr>
            <a:xfrm>
              <a:off x="7283104" y="5058250"/>
              <a:ext cx="363220" cy="393700"/>
            </a:xfrm>
            <a:custGeom>
              <a:avLst/>
              <a:gdLst/>
              <a:ahLst/>
              <a:cxnLst/>
              <a:rect l="l" t="t" r="r" b="b"/>
              <a:pathLst>
                <a:path w="363220" h="393700">
                  <a:moveTo>
                    <a:pt x="181325" y="0"/>
                  </a:moveTo>
                  <a:lnTo>
                    <a:pt x="133508" y="7047"/>
                  </a:lnTo>
                  <a:lnTo>
                    <a:pt x="90302" y="26920"/>
                  </a:lnTo>
                  <a:lnTo>
                    <a:pt x="53526" y="57715"/>
                  </a:lnTo>
                  <a:lnTo>
                    <a:pt x="25003" y="97526"/>
                  </a:lnTo>
                  <a:lnTo>
                    <a:pt x="6554" y="144451"/>
                  </a:lnTo>
                  <a:lnTo>
                    <a:pt x="0" y="196583"/>
                  </a:lnTo>
                  <a:lnTo>
                    <a:pt x="6554" y="249240"/>
                  </a:lnTo>
                  <a:lnTo>
                    <a:pt x="25003" y="296310"/>
                  </a:lnTo>
                  <a:lnTo>
                    <a:pt x="53526" y="336014"/>
                  </a:lnTo>
                  <a:lnTo>
                    <a:pt x="90302" y="366575"/>
                  </a:lnTo>
                  <a:lnTo>
                    <a:pt x="133508" y="386216"/>
                  </a:lnTo>
                  <a:lnTo>
                    <a:pt x="181325" y="393158"/>
                  </a:lnTo>
                  <a:lnTo>
                    <a:pt x="229684" y="386216"/>
                  </a:lnTo>
                  <a:lnTo>
                    <a:pt x="273047" y="366575"/>
                  </a:lnTo>
                  <a:lnTo>
                    <a:pt x="309722" y="336014"/>
                  </a:lnTo>
                  <a:lnTo>
                    <a:pt x="338015" y="296310"/>
                  </a:lnTo>
                  <a:lnTo>
                    <a:pt x="356232" y="249240"/>
                  </a:lnTo>
                  <a:lnTo>
                    <a:pt x="362681" y="196583"/>
                  </a:lnTo>
                  <a:lnTo>
                    <a:pt x="356232" y="144451"/>
                  </a:lnTo>
                  <a:lnTo>
                    <a:pt x="338015" y="97526"/>
                  </a:lnTo>
                  <a:lnTo>
                    <a:pt x="309722" y="57715"/>
                  </a:lnTo>
                  <a:lnTo>
                    <a:pt x="273047" y="26920"/>
                  </a:lnTo>
                  <a:lnTo>
                    <a:pt x="229684" y="7047"/>
                  </a:lnTo>
                  <a:lnTo>
                    <a:pt x="181325" y="0"/>
                  </a:lnTo>
                  <a:close/>
                </a:path>
              </a:pathLst>
            </a:custGeom>
            <a:solidFill>
              <a:srgbClr val="FF65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7" name="object 207"/>
            <p:cNvSpPr/>
            <p:nvPr/>
          </p:nvSpPr>
          <p:spPr>
            <a:xfrm>
              <a:off x="7277008" y="5052154"/>
              <a:ext cx="375285" cy="407034"/>
            </a:xfrm>
            <a:custGeom>
              <a:avLst/>
              <a:gdLst/>
              <a:ahLst/>
              <a:cxnLst/>
              <a:rect l="l" t="t" r="r" b="b"/>
              <a:pathLst>
                <a:path w="375284" h="407035">
                  <a:moveTo>
                    <a:pt x="187421" y="0"/>
                  </a:moveTo>
                  <a:lnTo>
                    <a:pt x="149321" y="4572"/>
                  </a:lnTo>
                  <a:lnTo>
                    <a:pt x="97536" y="24384"/>
                  </a:lnTo>
                  <a:lnTo>
                    <a:pt x="54864" y="59436"/>
                  </a:lnTo>
                  <a:lnTo>
                    <a:pt x="22860" y="106667"/>
                  </a:lnTo>
                  <a:lnTo>
                    <a:pt x="9144" y="143243"/>
                  </a:lnTo>
                  <a:lnTo>
                    <a:pt x="1524" y="182867"/>
                  </a:lnTo>
                  <a:lnTo>
                    <a:pt x="0" y="202679"/>
                  </a:lnTo>
                  <a:lnTo>
                    <a:pt x="1524" y="224003"/>
                  </a:lnTo>
                  <a:lnTo>
                    <a:pt x="9144" y="263627"/>
                  </a:lnTo>
                  <a:lnTo>
                    <a:pt x="22860" y="300203"/>
                  </a:lnTo>
                  <a:lnTo>
                    <a:pt x="54864" y="347447"/>
                  </a:lnTo>
                  <a:lnTo>
                    <a:pt x="99060" y="382490"/>
                  </a:lnTo>
                  <a:lnTo>
                    <a:pt x="150845" y="402302"/>
                  </a:lnTo>
                  <a:lnTo>
                    <a:pt x="187421" y="406874"/>
                  </a:lnTo>
                  <a:lnTo>
                    <a:pt x="207233" y="405350"/>
                  </a:lnTo>
                  <a:lnTo>
                    <a:pt x="225521" y="402302"/>
                  </a:lnTo>
                  <a:lnTo>
                    <a:pt x="243809" y="396206"/>
                  </a:lnTo>
                  <a:lnTo>
                    <a:pt x="252191" y="393158"/>
                  </a:lnTo>
                  <a:lnTo>
                    <a:pt x="169133" y="393158"/>
                  </a:lnTo>
                  <a:lnTo>
                    <a:pt x="152369" y="390110"/>
                  </a:lnTo>
                  <a:lnTo>
                    <a:pt x="105156" y="370298"/>
                  </a:lnTo>
                  <a:lnTo>
                    <a:pt x="64008" y="338303"/>
                  </a:lnTo>
                  <a:lnTo>
                    <a:pt x="33528" y="294107"/>
                  </a:lnTo>
                  <a:lnTo>
                    <a:pt x="16764" y="240767"/>
                  </a:lnTo>
                  <a:lnTo>
                    <a:pt x="13716" y="222479"/>
                  </a:lnTo>
                  <a:lnTo>
                    <a:pt x="13716" y="182867"/>
                  </a:lnTo>
                  <a:lnTo>
                    <a:pt x="27432" y="128003"/>
                  </a:lnTo>
                  <a:lnTo>
                    <a:pt x="53340" y="80759"/>
                  </a:lnTo>
                  <a:lnTo>
                    <a:pt x="77724" y="56388"/>
                  </a:lnTo>
                  <a:lnTo>
                    <a:pt x="89916" y="44196"/>
                  </a:lnTo>
                  <a:lnTo>
                    <a:pt x="135636" y="21336"/>
                  </a:lnTo>
                  <a:lnTo>
                    <a:pt x="187421" y="12192"/>
                  </a:lnTo>
                  <a:lnTo>
                    <a:pt x="252191" y="12192"/>
                  </a:lnTo>
                  <a:lnTo>
                    <a:pt x="243809" y="9144"/>
                  </a:lnTo>
                  <a:lnTo>
                    <a:pt x="225521" y="4572"/>
                  </a:lnTo>
                  <a:lnTo>
                    <a:pt x="207233" y="1524"/>
                  </a:lnTo>
                  <a:lnTo>
                    <a:pt x="187421" y="0"/>
                  </a:lnTo>
                  <a:close/>
                </a:path>
                <a:path w="375284" h="407035">
                  <a:moveTo>
                    <a:pt x="252191" y="12192"/>
                  </a:moveTo>
                  <a:lnTo>
                    <a:pt x="187421" y="12192"/>
                  </a:lnTo>
                  <a:lnTo>
                    <a:pt x="205709" y="13716"/>
                  </a:lnTo>
                  <a:lnTo>
                    <a:pt x="222473" y="16764"/>
                  </a:lnTo>
                  <a:lnTo>
                    <a:pt x="271241" y="35052"/>
                  </a:lnTo>
                  <a:lnTo>
                    <a:pt x="310865" y="68580"/>
                  </a:lnTo>
                  <a:lnTo>
                    <a:pt x="341345" y="112763"/>
                  </a:lnTo>
                  <a:lnTo>
                    <a:pt x="358109" y="164579"/>
                  </a:lnTo>
                  <a:lnTo>
                    <a:pt x="362681" y="202679"/>
                  </a:lnTo>
                  <a:lnTo>
                    <a:pt x="361157" y="222479"/>
                  </a:lnTo>
                  <a:lnTo>
                    <a:pt x="355061" y="260579"/>
                  </a:lnTo>
                  <a:lnTo>
                    <a:pt x="332201" y="309347"/>
                  </a:lnTo>
                  <a:lnTo>
                    <a:pt x="298673" y="350495"/>
                  </a:lnTo>
                  <a:lnTo>
                    <a:pt x="256001" y="379442"/>
                  </a:lnTo>
                  <a:lnTo>
                    <a:pt x="205709" y="393158"/>
                  </a:lnTo>
                  <a:lnTo>
                    <a:pt x="252191" y="393158"/>
                  </a:lnTo>
                  <a:lnTo>
                    <a:pt x="292577" y="371822"/>
                  </a:lnTo>
                  <a:lnTo>
                    <a:pt x="332201" y="332207"/>
                  </a:lnTo>
                  <a:lnTo>
                    <a:pt x="361157" y="281915"/>
                  </a:lnTo>
                  <a:lnTo>
                    <a:pt x="371825" y="243815"/>
                  </a:lnTo>
                  <a:lnTo>
                    <a:pt x="374873" y="224003"/>
                  </a:lnTo>
                  <a:lnTo>
                    <a:pt x="374873" y="202679"/>
                  </a:lnTo>
                  <a:lnTo>
                    <a:pt x="371825" y="161531"/>
                  </a:lnTo>
                  <a:lnTo>
                    <a:pt x="359633" y="123431"/>
                  </a:lnTo>
                  <a:lnTo>
                    <a:pt x="332201" y="73139"/>
                  </a:lnTo>
                  <a:lnTo>
                    <a:pt x="292577" y="35052"/>
                  </a:lnTo>
                  <a:lnTo>
                    <a:pt x="260573" y="15240"/>
                  </a:lnTo>
                  <a:lnTo>
                    <a:pt x="252191" y="1219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08" name="object 208"/>
          <p:cNvSpPr txBox="1"/>
          <p:nvPr/>
        </p:nvSpPr>
        <p:spPr>
          <a:xfrm>
            <a:off x="7408916" y="4816584"/>
            <a:ext cx="603948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solidFill>
                  <a:srgbClr val="F6EDE0"/>
                </a:solidFill>
                <a:latin typeface="Liberation Sans Narrow"/>
                <a:cs typeface="Liberation Sans Narrow"/>
              </a:rPr>
              <a:t>0</a:t>
            </a:r>
            <a:r>
              <a:rPr sz="1800" dirty="0">
                <a:solidFill>
                  <a:srgbClr val="F6EDE0"/>
                </a:solidFill>
                <a:latin typeface="Liberation Sans Narrow"/>
                <a:cs typeface="Liberation Sans Narrow"/>
              </a:rPr>
              <a:t>2</a:t>
            </a:r>
            <a:endParaRPr sz="1800" dirty="0">
              <a:latin typeface="Liberation Sans Narrow"/>
              <a:cs typeface="Liberation Sans Narrow"/>
            </a:endParaRPr>
          </a:p>
        </p:txBody>
      </p:sp>
      <p:grpSp>
        <p:nvGrpSpPr>
          <p:cNvPr id="209" name="object 209"/>
          <p:cNvGrpSpPr/>
          <p:nvPr/>
        </p:nvGrpSpPr>
        <p:grpSpPr>
          <a:xfrm>
            <a:off x="2537603" y="4768325"/>
            <a:ext cx="375285" cy="407034"/>
            <a:chOff x="2476811" y="5052154"/>
            <a:chExt cx="375285" cy="407034"/>
          </a:xfrm>
        </p:grpSpPr>
        <p:sp>
          <p:nvSpPr>
            <p:cNvPr id="210" name="object 210"/>
            <p:cNvSpPr/>
            <p:nvPr/>
          </p:nvSpPr>
          <p:spPr>
            <a:xfrm>
              <a:off x="2482907" y="5058250"/>
              <a:ext cx="363220" cy="393700"/>
            </a:xfrm>
            <a:custGeom>
              <a:avLst/>
              <a:gdLst/>
              <a:ahLst/>
              <a:cxnLst/>
              <a:rect l="l" t="t" r="r" b="b"/>
              <a:pathLst>
                <a:path w="363219" h="393700">
                  <a:moveTo>
                    <a:pt x="181343" y="0"/>
                  </a:moveTo>
                  <a:lnTo>
                    <a:pt x="133515" y="7047"/>
                  </a:lnTo>
                  <a:lnTo>
                    <a:pt x="90302" y="26920"/>
                  </a:lnTo>
                  <a:lnTo>
                    <a:pt x="53524" y="57715"/>
                  </a:lnTo>
                  <a:lnTo>
                    <a:pt x="25001" y="97526"/>
                  </a:lnTo>
                  <a:lnTo>
                    <a:pt x="6553" y="144451"/>
                  </a:lnTo>
                  <a:lnTo>
                    <a:pt x="0" y="196583"/>
                  </a:lnTo>
                  <a:lnTo>
                    <a:pt x="6553" y="249240"/>
                  </a:lnTo>
                  <a:lnTo>
                    <a:pt x="25001" y="296310"/>
                  </a:lnTo>
                  <a:lnTo>
                    <a:pt x="53524" y="336014"/>
                  </a:lnTo>
                  <a:lnTo>
                    <a:pt x="90302" y="366575"/>
                  </a:lnTo>
                  <a:lnTo>
                    <a:pt x="133515" y="386216"/>
                  </a:lnTo>
                  <a:lnTo>
                    <a:pt x="181343" y="393158"/>
                  </a:lnTo>
                  <a:lnTo>
                    <a:pt x="229696" y="386216"/>
                  </a:lnTo>
                  <a:lnTo>
                    <a:pt x="273054" y="366575"/>
                  </a:lnTo>
                  <a:lnTo>
                    <a:pt x="309724" y="336014"/>
                  </a:lnTo>
                  <a:lnTo>
                    <a:pt x="338012" y="296310"/>
                  </a:lnTo>
                  <a:lnTo>
                    <a:pt x="356227" y="249240"/>
                  </a:lnTo>
                  <a:lnTo>
                    <a:pt x="362675" y="196583"/>
                  </a:lnTo>
                  <a:lnTo>
                    <a:pt x="356227" y="144451"/>
                  </a:lnTo>
                  <a:lnTo>
                    <a:pt x="338012" y="97526"/>
                  </a:lnTo>
                  <a:lnTo>
                    <a:pt x="309724" y="57715"/>
                  </a:lnTo>
                  <a:lnTo>
                    <a:pt x="273054" y="26920"/>
                  </a:lnTo>
                  <a:lnTo>
                    <a:pt x="229696" y="7047"/>
                  </a:lnTo>
                  <a:lnTo>
                    <a:pt x="181343" y="0"/>
                  </a:lnTo>
                  <a:close/>
                </a:path>
              </a:pathLst>
            </a:custGeom>
            <a:solidFill>
              <a:srgbClr val="FF65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1" name="object 211"/>
            <p:cNvSpPr/>
            <p:nvPr/>
          </p:nvSpPr>
          <p:spPr>
            <a:xfrm>
              <a:off x="2476811" y="5052154"/>
              <a:ext cx="375285" cy="407034"/>
            </a:xfrm>
            <a:custGeom>
              <a:avLst/>
              <a:gdLst/>
              <a:ahLst/>
              <a:cxnLst/>
              <a:rect l="l" t="t" r="r" b="b"/>
              <a:pathLst>
                <a:path w="375285" h="407035">
                  <a:moveTo>
                    <a:pt x="187439" y="0"/>
                  </a:moveTo>
                  <a:lnTo>
                    <a:pt x="149339" y="4572"/>
                  </a:lnTo>
                  <a:lnTo>
                    <a:pt x="97523" y="24384"/>
                  </a:lnTo>
                  <a:lnTo>
                    <a:pt x="54864" y="59436"/>
                  </a:lnTo>
                  <a:lnTo>
                    <a:pt x="22860" y="106667"/>
                  </a:lnTo>
                  <a:lnTo>
                    <a:pt x="9144" y="143243"/>
                  </a:lnTo>
                  <a:lnTo>
                    <a:pt x="1524" y="182867"/>
                  </a:lnTo>
                  <a:lnTo>
                    <a:pt x="0" y="202679"/>
                  </a:lnTo>
                  <a:lnTo>
                    <a:pt x="1524" y="224003"/>
                  </a:lnTo>
                  <a:lnTo>
                    <a:pt x="9144" y="263627"/>
                  </a:lnTo>
                  <a:lnTo>
                    <a:pt x="22860" y="300203"/>
                  </a:lnTo>
                  <a:lnTo>
                    <a:pt x="54864" y="347447"/>
                  </a:lnTo>
                  <a:lnTo>
                    <a:pt x="99047" y="382490"/>
                  </a:lnTo>
                  <a:lnTo>
                    <a:pt x="150863" y="402302"/>
                  </a:lnTo>
                  <a:lnTo>
                    <a:pt x="187439" y="406874"/>
                  </a:lnTo>
                  <a:lnTo>
                    <a:pt x="207251" y="405350"/>
                  </a:lnTo>
                  <a:lnTo>
                    <a:pt x="225527" y="402302"/>
                  </a:lnTo>
                  <a:lnTo>
                    <a:pt x="243815" y="396206"/>
                  </a:lnTo>
                  <a:lnTo>
                    <a:pt x="252197" y="393158"/>
                  </a:lnTo>
                  <a:lnTo>
                    <a:pt x="169151" y="393158"/>
                  </a:lnTo>
                  <a:lnTo>
                    <a:pt x="152387" y="390110"/>
                  </a:lnTo>
                  <a:lnTo>
                    <a:pt x="105143" y="370298"/>
                  </a:lnTo>
                  <a:lnTo>
                    <a:pt x="64008" y="338303"/>
                  </a:lnTo>
                  <a:lnTo>
                    <a:pt x="33528" y="294107"/>
                  </a:lnTo>
                  <a:lnTo>
                    <a:pt x="16764" y="240767"/>
                  </a:lnTo>
                  <a:lnTo>
                    <a:pt x="13716" y="222479"/>
                  </a:lnTo>
                  <a:lnTo>
                    <a:pt x="13716" y="182867"/>
                  </a:lnTo>
                  <a:lnTo>
                    <a:pt x="27432" y="128003"/>
                  </a:lnTo>
                  <a:lnTo>
                    <a:pt x="53340" y="80759"/>
                  </a:lnTo>
                  <a:lnTo>
                    <a:pt x="77724" y="56388"/>
                  </a:lnTo>
                  <a:lnTo>
                    <a:pt x="89903" y="44196"/>
                  </a:lnTo>
                  <a:lnTo>
                    <a:pt x="135623" y="21336"/>
                  </a:lnTo>
                  <a:lnTo>
                    <a:pt x="187439" y="12192"/>
                  </a:lnTo>
                  <a:lnTo>
                    <a:pt x="252197" y="12192"/>
                  </a:lnTo>
                  <a:lnTo>
                    <a:pt x="243815" y="9144"/>
                  </a:lnTo>
                  <a:lnTo>
                    <a:pt x="225527" y="4572"/>
                  </a:lnTo>
                  <a:lnTo>
                    <a:pt x="207251" y="1524"/>
                  </a:lnTo>
                  <a:lnTo>
                    <a:pt x="187439" y="0"/>
                  </a:lnTo>
                  <a:close/>
                </a:path>
                <a:path w="375285" h="407035">
                  <a:moveTo>
                    <a:pt x="252197" y="12192"/>
                  </a:moveTo>
                  <a:lnTo>
                    <a:pt x="187439" y="12192"/>
                  </a:lnTo>
                  <a:lnTo>
                    <a:pt x="205727" y="13716"/>
                  </a:lnTo>
                  <a:lnTo>
                    <a:pt x="222491" y="16764"/>
                  </a:lnTo>
                  <a:lnTo>
                    <a:pt x="271247" y="35052"/>
                  </a:lnTo>
                  <a:lnTo>
                    <a:pt x="310871" y="68580"/>
                  </a:lnTo>
                  <a:lnTo>
                    <a:pt x="341351" y="112763"/>
                  </a:lnTo>
                  <a:lnTo>
                    <a:pt x="358115" y="164579"/>
                  </a:lnTo>
                  <a:lnTo>
                    <a:pt x="362687" y="202679"/>
                  </a:lnTo>
                  <a:lnTo>
                    <a:pt x="361163" y="222479"/>
                  </a:lnTo>
                  <a:lnTo>
                    <a:pt x="355067" y="260579"/>
                  </a:lnTo>
                  <a:lnTo>
                    <a:pt x="332207" y="309347"/>
                  </a:lnTo>
                  <a:lnTo>
                    <a:pt x="298679" y="350495"/>
                  </a:lnTo>
                  <a:lnTo>
                    <a:pt x="256007" y="379442"/>
                  </a:lnTo>
                  <a:lnTo>
                    <a:pt x="205727" y="393158"/>
                  </a:lnTo>
                  <a:lnTo>
                    <a:pt x="252197" y="393158"/>
                  </a:lnTo>
                  <a:lnTo>
                    <a:pt x="292583" y="371822"/>
                  </a:lnTo>
                  <a:lnTo>
                    <a:pt x="332207" y="332207"/>
                  </a:lnTo>
                  <a:lnTo>
                    <a:pt x="361163" y="281915"/>
                  </a:lnTo>
                  <a:lnTo>
                    <a:pt x="371819" y="243815"/>
                  </a:lnTo>
                  <a:lnTo>
                    <a:pt x="374867" y="224003"/>
                  </a:lnTo>
                  <a:lnTo>
                    <a:pt x="374867" y="202679"/>
                  </a:lnTo>
                  <a:lnTo>
                    <a:pt x="371819" y="161531"/>
                  </a:lnTo>
                  <a:lnTo>
                    <a:pt x="359639" y="123431"/>
                  </a:lnTo>
                  <a:lnTo>
                    <a:pt x="332207" y="73139"/>
                  </a:lnTo>
                  <a:lnTo>
                    <a:pt x="292583" y="35052"/>
                  </a:lnTo>
                  <a:lnTo>
                    <a:pt x="260579" y="15240"/>
                  </a:lnTo>
                  <a:lnTo>
                    <a:pt x="252197" y="1219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2" name="object 212"/>
          <p:cNvSpPr txBox="1"/>
          <p:nvPr/>
        </p:nvSpPr>
        <p:spPr>
          <a:xfrm>
            <a:off x="1933790" y="4838500"/>
            <a:ext cx="1990410" cy="131191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267970" algn="ctr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solidFill>
                  <a:srgbClr val="F6EDE0"/>
                </a:solidFill>
                <a:latin typeface="Liberation Sans Narrow"/>
                <a:cs typeface="Liberation Sans Narrow"/>
              </a:rPr>
              <a:t>01</a:t>
            </a:r>
            <a:endParaRPr sz="1800" dirty="0">
              <a:latin typeface="Liberation Sans Narrow"/>
              <a:cs typeface="Liberation Sans Narrow"/>
            </a:endParaRPr>
          </a:p>
          <a:p>
            <a:pPr marL="168910" indent="-169545">
              <a:lnSpc>
                <a:spcPct val="100000"/>
              </a:lnSpc>
              <a:spcBef>
                <a:spcPts val="1485"/>
              </a:spcBef>
              <a:buFont typeface="Liberation Sans Narrow"/>
              <a:buChar char="•"/>
              <a:tabLst>
                <a:tab pos="169545" algn="l"/>
              </a:tabLst>
            </a:pPr>
            <a:r>
              <a:rPr sz="1800" b="1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Normal (8H)</a:t>
            </a:r>
            <a:endParaRPr sz="1800" dirty="0">
              <a:latin typeface="Liberation Sans Narrow"/>
              <a:cs typeface="Liberation Sans Narrow"/>
            </a:endParaRPr>
          </a:p>
          <a:p>
            <a:pPr marL="168910" indent="-169545">
              <a:lnSpc>
                <a:spcPct val="100000"/>
              </a:lnSpc>
              <a:buFont typeface="Liberation Sans Narrow"/>
              <a:buChar char="•"/>
              <a:tabLst>
                <a:tab pos="169545" algn="l"/>
              </a:tabLst>
            </a:pPr>
            <a:r>
              <a:rPr sz="1800" b="1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Executives</a:t>
            </a:r>
            <a:r>
              <a:rPr sz="1800" b="1" spc="-1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 </a:t>
            </a:r>
            <a:r>
              <a:rPr sz="1800" b="1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(9H)</a:t>
            </a:r>
            <a:endParaRPr sz="1800" dirty="0">
              <a:latin typeface="Liberation Sans Narrow"/>
              <a:cs typeface="Liberation Sans Narrow"/>
            </a:endParaRPr>
          </a:p>
          <a:p>
            <a:pPr marL="168910" indent="-169545">
              <a:lnSpc>
                <a:spcPct val="100000"/>
              </a:lnSpc>
              <a:buFont typeface="Liberation Sans Narrow"/>
              <a:buChar char="•"/>
              <a:tabLst>
                <a:tab pos="169545" algn="l"/>
              </a:tabLst>
            </a:pPr>
            <a:r>
              <a:rPr sz="1800" b="1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Early</a:t>
            </a:r>
            <a:endParaRPr sz="1800" dirty="0">
              <a:latin typeface="Liberation Sans Narrow"/>
              <a:cs typeface="Liberation Sans Narrow"/>
            </a:endParaRPr>
          </a:p>
        </p:txBody>
      </p:sp>
      <p:sp>
        <p:nvSpPr>
          <p:cNvPr id="213" name="object 213"/>
          <p:cNvSpPr txBox="1"/>
          <p:nvPr/>
        </p:nvSpPr>
        <p:spPr>
          <a:xfrm>
            <a:off x="4264152" y="5279841"/>
            <a:ext cx="917777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68910" indent="-169545">
              <a:lnSpc>
                <a:spcPct val="100000"/>
              </a:lnSpc>
              <a:spcBef>
                <a:spcPts val="100"/>
              </a:spcBef>
              <a:buFont typeface="Liberation Sans Narrow"/>
              <a:buChar char="•"/>
              <a:tabLst>
                <a:tab pos="169545" algn="l"/>
              </a:tabLst>
            </a:pPr>
            <a:r>
              <a:rPr sz="1800" b="1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Late</a:t>
            </a:r>
            <a:endParaRPr sz="1800" dirty="0">
              <a:latin typeface="Liberation Sans Narrow"/>
              <a:cs typeface="Liberation Sans Narrow"/>
            </a:endParaRPr>
          </a:p>
          <a:p>
            <a:pPr marL="168910" indent="-169545">
              <a:lnSpc>
                <a:spcPct val="100000"/>
              </a:lnSpc>
              <a:buFont typeface="Liberation Sans Narrow"/>
              <a:buChar char="•"/>
              <a:tabLst>
                <a:tab pos="169545" algn="l"/>
              </a:tabLst>
            </a:pPr>
            <a:r>
              <a:rPr sz="1800" b="1" dirty="0">
                <a:solidFill>
                  <a:srgbClr val="323299"/>
                </a:solidFill>
                <a:latin typeface="Liberation Sans Narrow"/>
                <a:cs typeface="Liberation Sans Narrow"/>
              </a:rPr>
              <a:t>N</a:t>
            </a:r>
            <a:r>
              <a:rPr sz="1800" b="1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igh</a:t>
            </a:r>
            <a:r>
              <a:rPr sz="1800" b="1" dirty="0">
                <a:solidFill>
                  <a:srgbClr val="323299"/>
                </a:solidFill>
                <a:latin typeface="Liberation Sans Narrow"/>
                <a:cs typeface="Liberation Sans Narrow"/>
              </a:rPr>
              <a:t>t</a:t>
            </a:r>
            <a:endParaRPr sz="1800" dirty="0">
              <a:latin typeface="Liberation Sans Narrow"/>
              <a:cs typeface="Liberation Sans Narrow"/>
            </a:endParaRPr>
          </a:p>
          <a:p>
            <a:pPr marL="168910" indent="-169545">
              <a:lnSpc>
                <a:spcPct val="100000"/>
              </a:lnSpc>
              <a:buFont typeface="Liberation Sans Narrow"/>
              <a:buChar char="•"/>
              <a:tabLst>
                <a:tab pos="169545" algn="l"/>
              </a:tabLst>
            </a:pPr>
            <a:r>
              <a:rPr sz="1800" b="1" dirty="0">
                <a:solidFill>
                  <a:srgbClr val="323299"/>
                </a:solidFill>
                <a:latin typeface="Liberation Sans Narrow"/>
                <a:cs typeface="Liberation Sans Narrow"/>
              </a:rPr>
              <a:t>Off</a:t>
            </a:r>
            <a:endParaRPr sz="1800" dirty="0">
              <a:latin typeface="Liberation Sans Narrow"/>
              <a:cs typeface="Liberation Sans Narrow"/>
            </a:endParaRPr>
          </a:p>
        </p:txBody>
      </p:sp>
      <p:sp>
        <p:nvSpPr>
          <p:cNvPr id="214" name="object 214"/>
          <p:cNvSpPr txBox="1"/>
          <p:nvPr/>
        </p:nvSpPr>
        <p:spPr>
          <a:xfrm>
            <a:off x="5793617" y="5298127"/>
            <a:ext cx="1615299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1610" indent="-169545">
              <a:lnSpc>
                <a:spcPct val="100000"/>
              </a:lnSpc>
              <a:spcBef>
                <a:spcPts val="100"/>
              </a:spcBef>
              <a:buFont typeface="Liberation Sans Narrow"/>
              <a:buChar char="•"/>
              <a:tabLst>
                <a:tab pos="182245" algn="l"/>
              </a:tabLst>
            </a:pPr>
            <a:r>
              <a:rPr sz="1800" b="1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Normal</a:t>
            </a:r>
            <a:r>
              <a:rPr sz="1800" b="1" spc="-50" dirty="0">
                <a:solidFill>
                  <a:srgbClr val="323299"/>
                </a:solidFill>
                <a:latin typeface="Liberation Sans Narrow"/>
                <a:cs typeface="Liberation Sans Narrow"/>
              </a:rPr>
              <a:t> </a:t>
            </a:r>
            <a:r>
              <a:rPr sz="1800" b="1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(10H)</a:t>
            </a:r>
            <a:endParaRPr sz="1800" dirty="0">
              <a:latin typeface="Liberation Sans Narrow"/>
              <a:cs typeface="Liberation Sans Narrow"/>
            </a:endParaRPr>
          </a:p>
          <a:p>
            <a:pPr marL="181610" indent="-169545">
              <a:lnSpc>
                <a:spcPct val="100000"/>
              </a:lnSpc>
              <a:buFont typeface="Liberation Sans Narrow"/>
              <a:buChar char="•"/>
              <a:tabLst>
                <a:tab pos="182245" algn="l"/>
              </a:tabLst>
            </a:pPr>
            <a:r>
              <a:rPr sz="1800" b="1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Early</a:t>
            </a:r>
            <a:endParaRPr sz="1800" dirty="0">
              <a:latin typeface="Liberation Sans Narrow"/>
              <a:cs typeface="Liberation Sans Narrow"/>
            </a:endParaRPr>
          </a:p>
          <a:p>
            <a:pPr marL="181610" indent="-169545">
              <a:lnSpc>
                <a:spcPct val="100000"/>
              </a:lnSpc>
              <a:buFont typeface="Liberation Sans Narrow"/>
              <a:buChar char="•"/>
              <a:tabLst>
                <a:tab pos="182245" algn="l"/>
              </a:tabLst>
            </a:pPr>
            <a:r>
              <a:rPr sz="1800" b="1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Late</a:t>
            </a:r>
            <a:endParaRPr sz="1800" dirty="0">
              <a:latin typeface="Liberation Sans Narrow"/>
              <a:cs typeface="Liberation Sans Narrow"/>
            </a:endParaRPr>
          </a:p>
        </p:txBody>
      </p:sp>
      <p:sp>
        <p:nvSpPr>
          <p:cNvPr id="215" name="object 215"/>
          <p:cNvSpPr txBox="1"/>
          <p:nvPr/>
        </p:nvSpPr>
        <p:spPr>
          <a:xfrm>
            <a:off x="7984953" y="5435275"/>
            <a:ext cx="117744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1610" indent="-169545">
              <a:lnSpc>
                <a:spcPct val="100000"/>
              </a:lnSpc>
              <a:spcBef>
                <a:spcPts val="100"/>
              </a:spcBef>
              <a:buFont typeface="Liberation Sans Narrow"/>
              <a:buChar char="•"/>
              <a:tabLst>
                <a:tab pos="182245" algn="l"/>
              </a:tabLst>
            </a:pPr>
            <a:r>
              <a:rPr sz="1800" b="1" dirty="0">
                <a:solidFill>
                  <a:srgbClr val="323299"/>
                </a:solidFill>
                <a:latin typeface="Liberation Sans Narrow"/>
                <a:cs typeface="Liberation Sans Narrow"/>
              </a:rPr>
              <a:t>N</a:t>
            </a:r>
            <a:r>
              <a:rPr sz="1800" b="1" spc="-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igh</a:t>
            </a:r>
            <a:r>
              <a:rPr sz="1800" b="1" dirty="0">
                <a:solidFill>
                  <a:srgbClr val="323299"/>
                </a:solidFill>
                <a:latin typeface="Liberation Sans Narrow"/>
                <a:cs typeface="Liberation Sans Narrow"/>
              </a:rPr>
              <a:t>t</a:t>
            </a:r>
            <a:endParaRPr sz="1800" dirty="0">
              <a:latin typeface="Liberation Sans Narrow"/>
              <a:cs typeface="Liberation Sans Narrow"/>
            </a:endParaRPr>
          </a:p>
          <a:p>
            <a:pPr marL="181610" indent="-169545">
              <a:lnSpc>
                <a:spcPct val="100000"/>
              </a:lnSpc>
              <a:buFont typeface="Liberation Sans Narrow"/>
              <a:buChar char="•"/>
              <a:tabLst>
                <a:tab pos="182245" algn="l"/>
              </a:tabLst>
            </a:pPr>
            <a:r>
              <a:rPr sz="1800" b="1" dirty="0">
                <a:solidFill>
                  <a:srgbClr val="323299"/>
                </a:solidFill>
                <a:latin typeface="Liberation Sans Narrow"/>
                <a:cs typeface="Liberation Sans Narrow"/>
              </a:rPr>
              <a:t>Off</a:t>
            </a:r>
            <a:endParaRPr sz="1800" dirty="0">
              <a:latin typeface="Liberation Sans Narrow"/>
              <a:cs typeface="Liberation Sans Narrow"/>
            </a:endParaRPr>
          </a:p>
        </p:txBody>
      </p:sp>
    </p:spTree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3041650"/>
            <a:ext cx="7112634" cy="1242695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L="12700" marR="5080">
              <a:lnSpc>
                <a:spcPts val="4790"/>
              </a:lnSpc>
              <a:spcBef>
                <a:spcPts val="260"/>
              </a:spcBef>
            </a:pPr>
            <a:r>
              <a:rPr sz="4000" spc="-5" dirty="0">
                <a:solidFill>
                  <a:srgbClr val="FF0000"/>
                </a:solidFill>
                <a:latin typeface="Liberation Sans Narrow"/>
                <a:cs typeface="Liberation Sans Narrow"/>
              </a:rPr>
              <a:t>CATS </a:t>
            </a:r>
            <a:r>
              <a:rPr sz="4000" spc="-10" dirty="0">
                <a:solidFill>
                  <a:srgbClr val="FF0000"/>
                </a:solidFill>
              </a:rPr>
              <a:t>(Cross </a:t>
            </a:r>
            <a:r>
              <a:rPr sz="4000" spc="-5" dirty="0">
                <a:solidFill>
                  <a:srgbClr val="FF0000"/>
                </a:solidFill>
              </a:rPr>
              <a:t>Application Time  </a:t>
            </a:r>
            <a:r>
              <a:rPr sz="4000" spc="-10" dirty="0">
                <a:solidFill>
                  <a:srgbClr val="FF0000"/>
                </a:solidFill>
              </a:rPr>
              <a:t>Sheet)</a:t>
            </a:r>
            <a:endParaRPr sz="4000">
              <a:latin typeface="Liberation Sans Narrow"/>
              <a:cs typeface="Liberation Sans Narrow"/>
            </a:endParaRPr>
          </a:p>
        </p:txBody>
      </p:sp>
    </p:spTree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278066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>
                <a:solidFill>
                  <a:schemeClr val="accent1"/>
                </a:solidFill>
              </a:rPr>
              <a:t>CATS</a:t>
            </a:r>
            <a:r>
              <a:rPr spc="-110" dirty="0">
                <a:solidFill>
                  <a:schemeClr val="accent1"/>
                </a:solidFill>
              </a:rPr>
              <a:t> </a:t>
            </a:r>
            <a:r>
              <a:rPr dirty="0">
                <a:solidFill>
                  <a:schemeClr val="accent1"/>
                </a:solidFill>
              </a:rPr>
              <a:t>BASICS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961564" y="2139522"/>
            <a:ext cx="8039100" cy="51161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93065" indent="-342900">
              <a:lnSpc>
                <a:spcPct val="100000"/>
              </a:lnSpc>
              <a:spcBef>
                <a:spcPts val="100"/>
              </a:spcBef>
              <a:buClr>
                <a:srgbClr val="323299"/>
              </a:buClr>
              <a:buFont typeface="Wingdings"/>
              <a:buChar char=""/>
              <a:tabLst>
                <a:tab pos="393065" algn="l"/>
                <a:tab pos="3937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CATS = Cross-Application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Time</a:t>
            </a:r>
            <a:r>
              <a:rPr sz="2000" spc="-9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Sheet</a:t>
            </a:r>
            <a:endParaRPr sz="2000" dirty="0">
              <a:latin typeface="Arial"/>
              <a:cs typeface="Arial"/>
            </a:endParaRPr>
          </a:p>
          <a:p>
            <a:pPr marL="461645" indent="-411480">
              <a:lnSpc>
                <a:spcPct val="100000"/>
              </a:lnSpc>
              <a:spcBef>
                <a:spcPts val="1920"/>
              </a:spcBef>
              <a:buClr>
                <a:srgbClr val="323299"/>
              </a:buClr>
              <a:buFont typeface="Wingdings"/>
              <a:buChar char=""/>
              <a:tabLst>
                <a:tab pos="461645" algn="l"/>
                <a:tab pos="462280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Time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capture and data transfer</a:t>
            </a:r>
            <a:r>
              <a:rPr sz="2000" spc="-12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tool</a:t>
            </a:r>
            <a:endParaRPr sz="2000" dirty="0">
              <a:latin typeface="Arial"/>
              <a:cs typeface="Arial"/>
            </a:endParaRPr>
          </a:p>
          <a:p>
            <a:pPr marL="461645" indent="-411480">
              <a:lnSpc>
                <a:spcPct val="100000"/>
              </a:lnSpc>
              <a:spcBef>
                <a:spcPts val="1920"/>
              </a:spcBef>
              <a:buClr>
                <a:srgbClr val="323299"/>
              </a:buClr>
              <a:buFont typeface="Wingdings"/>
              <a:buChar char=""/>
              <a:tabLst>
                <a:tab pos="461645" algn="l"/>
                <a:tab pos="462280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Additional functionality for Payroll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and</a:t>
            </a:r>
            <a:r>
              <a:rPr sz="2000" spc="-4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FI/CO</a:t>
            </a:r>
            <a:endParaRPr sz="2000" dirty="0">
              <a:latin typeface="Arial"/>
              <a:cs typeface="Arial"/>
            </a:endParaRPr>
          </a:p>
          <a:p>
            <a:pPr marL="393065" indent="-342900">
              <a:lnSpc>
                <a:spcPct val="100000"/>
              </a:lnSpc>
              <a:spcBef>
                <a:spcPts val="1920"/>
              </a:spcBef>
              <a:buClr>
                <a:srgbClr val="323299"/>
              </a:buClr>
              <a:buFont typeface="Wingdings"/>
              <a:buChar char=""/>
              <a:tabLst>
                <a:tab pos="393065" algn="l"/>
                <a:tab pos="3937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CATS uses the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SAP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Human Resources authorization</a:t>
            </a:r>
            <a:r>
              <a:rPr sz="2000" spc="-17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concept</a:t>
            </a:r>
            <a:endParaRPr sz="2000" dirty="0">
              <a:latin typeface="Arial"/>
              <a:cs typeface="Arial"/>
            </a:endParaRPr>
          </a:p>
          <a:p>
            <a:pPr marL="393065" marR="17780" indent="-342900">
              <a:lnSpc>
                <a:spcPct val="130000"/>
              </a:lnSpc>
              <a:spcBef>
                <a:spcPts val="1200"/>
              </a:spcBef>
              <a:buClr>
                <a:srgbClr val="323299"/>
              </a:buClr>
              <a:buFont typeface="Wingdings"/>
              <a:buChar char=""/>
              <a:tabLst>
                <a:tab pos="393065" algn="l"/>
                <a:tab pos="3937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CATS may be updated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via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transaction code CAT2 or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via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a</a:t>
            </a:r>
            <a:r>
              <a:rPr sz="2000" spc="-19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company  intranet Web</a:t>
            </a:r>
            <a:r>
              <a:rPr sz="2000" spc="-6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site</a:t>
            </a:r>
            <a:endParaRPr sz="2000" dirty="0">
              <a:latin typeface="Arial"/>
              <a:cs typeface="Arial"/>
            </a:endParaRPr>
          </a:p>
          <a:p>
            <a:pPr marL="393065" indent="-342900">
              <a:lnSpc>
                <a:spcPct val="100000"/>
              </a:lnSpc>
              <a:spcBef>
                <a:spcPts val="1920"/>
              </a:spcBef>
              <a:buClr>
                <a:srgbClr val="323299"/>
              </a:buClr>
              <a:buFont typeface="Wingdings"/>
              <a:buChar char=""/>
              <a:tabLst>
                <a:tab pos="393065" algn="l"/>
                <a:tab pos="3937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Data entry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in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CATS may be done by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individual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employee or</a:t>
            </a:r>
            <a:r>
              <a:rPr sz="2000" spc="-16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by</a:t>
            </a:r>
            <a:endParaRPr sz="2000" dirty="0">
              <a:latin typeface="Arial"/>
              <a:cs typeface="Arial"/>
            </a:endParaRPr>
          </a:p>
          <a:p>
            <a:pPr marL="393065" indent="-342900">
              <a:lnSpc>
                <a:spcPct val="100000"/>
              </a:lnSpc>
              <a:spcBef>
                <a:spcPts val="1920"/>
              </a:spcBef>
              <a:buClr>
                <a:srgbClr val="323299"/>
              </a:buClr>
              <a:buFont typeface="Wingdings"/>
              <a:buChar char=""/>
              <a:tabLst>
                <a:tab pos="393065" algn="l"/>
                <a:tab pos="3937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defined groups of</a:t>
            </a:r>
            <a:r>
              <a:rPr sz="2000" spc="-9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employees</a:t>
            </a:r>
            <a:endParaRPr sz="2000" dirty="0">
              <a:latin typeface="Arial"/>
              <a:cs typeface="Arial"/>
            </a:endParaRPr>
          </a:p>
          <a:p>
            <a:pPr marL="393065" indent="-342900">
              <a:lnSpc>
                <a:spcPct val="100000"/>
              </a:lnSpc>
              <a:spcBef>
                <a:spcPts val="1920"/>
              </a:spcBef>
              <a:buClr>
                <a:srgbClr val="323299"/>
              </a:buClr>
              <a:buFont typeface="Wingdings"/>
              <a:buChar char=""/>
              <a:tabLst>
                <a:tab pos="393065" algn="l"/>
                <a:tab pos="3937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CATS may be used as the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time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transfer tool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to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update</a:t>
            </a:r>
            <a:r>
              <a:rPr sz="2000" spc="-19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Human</a:t>
            </a:r>
            <a:endParaRPr sz="2000" dirty="0">
              <a:latin typeface="Arial"/>
              <a:cs typeface="Arial"/>
            </a:endParaRPr>
          </a:p>
          <a:p>
            <a:pPr marL="393065" indent="-342900">
              <a:lnSpc>
                <a:spcPct val="100000"/>
              </a:lnSpc>
              <a:spcBef>
                <a:spcPts val="1920"/>
              </a:spcBef>
              <a:buClr>
                <a:srgbClr val="323299"/>
              </a:buClr>
              <a:buFont typeface="Wingdings"/>
              <a:buChar char=""/>
              <a:tabLst>
                <a:tab pos="393065" algn="l"/>
                <a:tab pos="3937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Resources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with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hours worked</a:t>
            </a:r>
            <a:r>
              <a:rPr sz="2000" spc="-13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spc="-245" dirty="0">
                <a:solidFill>
                  <a:srgbClr val="5E5E5E"/>
                </a:solidFill>
                <a:latin typeface="Arial"/>
                <a:cs typeface="Arial"/>
              </a:rPr>
              <a:t>b</a:t>
            </a:r>
            <a:r>
              <a:rPr sz="1500" spc="-367" baseline="41666" dirty="0">
                <a:solidFill>
                  <a:srgbClr val="4D84C4"/>
                </a:solidFill>
                <a:latin typeface="Arial"/>
                <a:cs typeface="Arial"/>
              </a:rPr>
              <a:t>-</a:t>
            </a:r>
            <a:r>
              <a:rPr sz="2000" spc="-245" dirty="0">
                <a:solidFill>
                  <a:srgbClr val="5E5E5E"/>
                </a:solidFill>
                <a:latin typeface="Arial"/>
                <a:cs typeface="Arial"/>
              </a:rPr>
              <a:t>y</a:t>
            </a:r>
            <a:r>
              <a:rPr sz="1500" spc="-367" baseline="41666" dirty="0">
                <a:solidFill>
                  <a:srgbClr val="4D84C4"/>
                </a:solidFill>
                <a:latin typeface="Arial"/>
                <a:cs typeface="Arial"/>
              </a:rPr>
              <a:t>184</a:t>
            </a:r>
            <a:r>
              <a:rPr sz="2000" spc="-245" dirty="0">
                <a:solidFill>
                  <a:srgbClr val="5E5E5E"/>
                </a:solidFill>
                <a:latin typeface="Arial"/>
                <a:cs typeface="Arial"/>
              </a:rPr>
              <a:t>e</a:t>
            </a:r>
            <a:r>
              <a:rPr sz="1500" spc="-367" baseline="41666" dirty="0">
                <a:solidFill>
                  <a:srgbClr val="4D84C4"/>
                </a:solidFill>
                <a:latin typeface="Arial"/>
                <a:cs typeface="Arial"/>
              </a:rPr>
              <a:t>-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mployee</a:t>
            </a:r>
            <a:endParaRPr sz="20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773938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Benefits of Using </a:t>
            </a:r>
            <a:r>
              <a:rPr dirty="0">
                <a:solidFill>
                  <a:schemeClr val="accent1"/>
                </a:solidFill>
              </a:rPr>
              <a:t>CATS for </a:t>
            </a:r>
            <a:r>
              <a:rPr spc="-5" dirty="0">
                <a:solidFill>
                  <a:schemeClr val="accent1"/>
                </a:solidFill>
              </a:rPr>
              <a:t>Time</a:t>
            </a:r>
            <a:r>
              <a:rPr spc="-125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Sheet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885377" y="2661287"/>
            <a:ext cx="7392670" cy="7569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4965" marR="5080" indent="-342900">
              <a:lnSpc>
                <a:spcPct val="120000"/>
              </a:lnSpc>
              <a:spcBef>
                <a:spcPts val="1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Several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advantages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to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both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employee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and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employer </a:t>
            </a:r>
            <a:r>
              <a:rPr sz="2000" spc="5" dirty="0">
                <a:solidFill>
                  <a:srgbClr val="5E5E5E"/>
                </a:solidFill>
                <a:latin typeface="Arial"/>
                <a:cs typeface="Arial"/>
              </a:rPr>
              <a:t>are</a:t>
            </a:r>
            <a:r>
              <a:rPr sz="2000" spc="-12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easily 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identifiable.</a:t>
            </a:r>
            <a:endParaRPr sz="2000">
              <a:latin typeface="Arial"/>
              <a:cs typeface="Arial"/>
            </a:endParaRPr>
          </a:p>
        </p:txBody>
      </p:sp>
      <p:graphicFrame>
        <p:nvGraphicFramePr>
          <p:cNvPr id="5" name="object 5"/>
          <p:cNvGraphicFramePr>
            <a:graphicFrameLocks noGrp="1"/>
          </p:cNvGraphicFramePr>
          <p:nvPr/>
        </p:nvGraphicFramePr>
        <p:xfrm>
          <a:off x="1429905" y="3892479"/>
          <a:ext cx="7150100" cy="191777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5750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750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8783">
                <a:tc>
                  <a:txBody>
                    <a:bodyPr/>
                    <a:lstStyle/>
                    <a:p>
                      <a:pPr marL="875665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800" b="1" spc="-5" dirty="0">
                          <a:solidFill>
                            <a:srgbClr val="FFFFFF"/>
                          </a:solidFill>
                          <a:latin typeface="Liberation Sans Narrow"/>
                          <a:cs typeface="Liberation Sans Narrow"/>
                        </a:rPr>
                        <a:t>Employee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3683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9525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23298"/>
                    </a:solidFill>
                  </a:tcPr>
                </a:tc>
                <a:tc>
                  <a:txBody>
                    <a:bodyPr/>
                    <a:lstStyle/>
                    <a:p>
                      <a:pPr marL="558800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800" b="1" spc="-5" dirty="0">
                          <a:solidFill>
                            <a:srgbClr val="FFFFFF"/>
                          </a:solidFill>
                          <a:latin typeface="Liberation Sans Narrow"/>
                          <a:cs typeface="Liberation Sans Narrow"/>
                        </a:rPr>
                        <a:t>Employer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3683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9525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2329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1057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spc="-10" dirty="0">
                          <a:latin typeface="Liberation Sans Narrow"/>
                          <a:cs typeface="Liberation Sans Narrow"/>
                        </a:rPr>
                        <a:t>Time </a:t>
                      </a:r>
                      <a:r>
                        <a:rPr sz="1800" b="1" spc="-5" dirty="0">
                          <a:latin typeface="Liberation Sans Narrow"/>
                          <a:cs typeface="Liberation Sans Narrow"/>
                        </a:rPr>
                        <a:t>entry at any time,</a:t>
                      </a:r>
                      <a:r>
                        <a:rPr sz="1800" b="1" spc="45" dirty="0">
                          <a:latin typeface="Liberation Sans Narrow"/>
                          <a:cs typeface="Liberation Sans Narrow"/>
                        </a:rPr>
                        <a:t> </a:t>
                      </a:r>
                      <a:r>
                        <a:rPr sz="1800" b="1" spc="-5" dirty="0">
                          <a:latin typeface="Liberation Sans Narrow"/>
                          <a:cs typeface="Liberation Sans Narrow"/>
                        </a:rPr>
                        <a:t>anywhere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DCDDE"/>
                    </a:solidFill>
                  </a:tcPr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spc="-5" dirty="0">
                          <a:latin typeface="Liberation Sans Narrow"/>
                          <a:cs typeface="Liberation Sans Narrow"/>
                        </a:rPr>
                        <a:t>Decentralized time</a:t>
                      </a:r>
                      <a:r>
                        <a:rPr sz="1800" b="1" spc="30" dirty="0">
                          <a:latin typeface="Liberation Sans Narrow"/>
                          <a:cs typeface="Liberation Sans Narrow"/>
                        </a:rPr>
                        <a:t> </a:t>
                      </a:r>
                      <a:r>
                        <a:rPr sz="1800" b="1" spc="-5" dirty="0">
                          <a:latin typeface="Liberation Sans Narrow"/>
                          <a:cs typeface="Liberation Sans Narrow"/>
                        </a:rPr>
                        <a:t>recording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DCD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1828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800" b="1" spc="-5" dirty="0">
                          <a:latin typeface="Liberation Sans Narrow"/>
                          <a:cs typeface="Liberation Sans Narrow"/>
                        </a:rPr>
                        <a:t>Fewer administrative</a:t>
                      </a:r>
                      <a:r>
                        <a:rPr sz="1800" b="1" spc="45" dirty="0">
                          <a:latin typeface="Liberation Sans Narrow"/>
                          <a:cs typeface="Liberation Sans Narrow"/>
                        </a:rPr>
                        <a:t> </a:t>
                      </a:r>
                      <a:r>
                        <a:rPr sz="1800" b="1" spc="-5" dirty="0">
                          <a:latin typeface="Liberation Sans Narrow"/>
                          <a:cs typeface="Liberation Sans Narrow"/>
                        </a:rPr>
                        <a:t>steps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8EF"/>
                    </a:solidFill>
                  </a:tcPr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800" b="1" spc="-5" dirty="0">
                          <a:latin typeface="Liberation Sans Narrow"/>
                          <a:cs typeface="Liberation Sans Narrow"/>
                        </a:rPr>
                        <a:t>Reduction in administrative</a:t>
                      </a:r>
                      <a:r>
                        <a:rPr sz="1800" b="1" spc="40" dirty="0">
                          <a:latin typeface="Liberation Sans Narrow"/>
                          <a:cs typeface="Liberation Sans Narrow"/>
                        </a:rPr>
                        <a:t> </a:t>
                      </a:r>
                      <a:r>
                        <a:rPr sz="1800" b="1" spc="-5" dirty="0">
                          <a:latin typeface="Liberation Sans Narrow"/>
                          <a:cs typeface="Liberation Sans Narrow"/>
                        </a:rPr>
                        <a:t>work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8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1069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310"/>
                        </a:spcBef>
                      </a:pPr>
                      <a:r>
                        <a:rPr sz="1800" b="1" spc="-5" dirty="0">
                          <a:latin typeface="Liberation Sans Narrow"/>
                          <a:cs typeface="Liberation Sans Narrow"/>
                        </a:rPr>
                        <a:t>Ease of</a:t>
                      </a:r>
                      <a:r>
                        <a:rPr sz="1800" b="1" spc="10" dirty="0">
                          <a:latin typeface="Liberation Sans Narrow"/>
                          <a:cs typeface="Liberation Sans Narrow"/>
                        </a:rPr>
                        <a:t> </a:t>
                      </a:r>
                      <a:r>
                        <a:rPr sz="1800" b="1" spc="-5" dirty="0">
                          <a:latin typeface="Liberation Sans Narrow"/>
                          <a:cs typeface="Liberation Sans Narrow"/>
                        </a:rPr>
                        <a:t>use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3937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CDCDDE"/>
                    </a:solidFill>
                  </a:tcPr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310"/>
                        </a:spcBef>
                      </a:pPr>
                      <a:r>
                        <a:rPr sz="1800" b="1" spc="-5" dirty="0">
                          <a:latin typeface="Liberation Sans Narrow"/>
                          <a:cs typeface="Liberation Sans Narrow"/>
                        </a:rPr>
                        <a:t>Standard </a:t>
                      </a:r>
                      <a:r>
                        <a:rPr sz="1800" b="1" spc="-10" dirty="0">
                          <a:latin typeface="Liberation Sans Narrow"/>
                          <a:cs typeface="Liberation Sans Narrow"/>
                        </a:rPr>
                        <a:t>Web</a:t>
                      </a:r>
                      <a:r>
                        <a:rPr sz="1800" b="1" dirty="0">
                          <a:latin typeface="Liberation Sans Narrow"/>
                          <a:cs typeface="Liberation Sans Narrow"/>
                        </a:rPr>
                        <a:t> </a:t>
                      </a:r>
                      <a:r>
                        <a:rPr sz="1800" b="1" spc="-5" dirty="0">
                          <a:latin typeface="Liberation Sans Narrow"/>
                          <a:cs typeface="Liberation Sans Narrow"/>
                        </a:rPr>
                        <a:t>browser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3937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CDCD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499173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>
                <a:solidFill>
                  <a:schemeClr val="accent1"/>
                </a:solidFill>
              </a:rPr>
              <a:t>SAP </a:t>
            </a:r>
            <a:r>
              <a:rPr spc="-5" dirty="0">
                <a:solidFill>
                  <a:schemeClr val="accent1"/>
                </a:solidFill>
              </a:rPr>
              <a:t>Provides </a:t>
            </a:r>
            <a:r>
              <a:rPr dirty="0">
                <a:solidFill>
                  <a:schemeClr val="accent1"/>
                </a:solidFill>
              </a:rPr>
              <a:t>4</a:t>
            </a:r>
            <a:r>
              <a:rPr spc="-9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Solution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999664" y="1927026"/>
            <a:ext cx="7484109" cy="4616450"/>
          </a:xfrm>
          <a:prstGeom prst="rect">
            <a:avLst/>
          </a:prstGeom>
        </p:spPr>
        <p:txBody>
          <a:bodyPr vert="horz" wrap="square" lIns="0" tIns="175260" rIns="0" bIns="0" rtlCol="0">
            <a:spAutoFit/>
          </a:bodyPr>
          <a:lstStyle/>
          <a:p>
            <a:pPr marL="354965" indent="-342900">
              <a:lnSpc>
                <a:spcPct val="100000"/>
              </a:lnSpc>
              <a:spcBef>
                <a:spcPts val="138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b="1" dirty="0">
                <a:solidFill>
                  <a:srgbClr val="FF0000"/>
                </a:solidFill>
                <a:latin typeface="Arial"/>
                <a:cs typeface="Arial"/>
              </a:rPr>
              <a:t>CATS</a:t>
            </a:r>
            <a:r>
              <a:rPr sz="2000" b="1" spc="-2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FF0000"/>
                </a:solidFill>
                <a:latin typeface="Arial"/>
                <a:cs typeface="Arial"/>
              </a:rPr>
              <a:t>Classic</a:t>
            </a:r>
            <a:endParaRPr sz="2000">
              <a:latin typeface="Arial"/>
              <a:cs typeface="Arial"/>
            </a:endParaRPr>
          </a:p>
          <a:p>
            <a:pPr marL="756285" lvl="1" indent="-287655">
              <a:lnSpc>
                <a:spcPct val="100000"/>
              </a:lnSpc>
              <a:spcBef>
                <a:spcPts val="1145"/>
              </a:spcBef>
              <a:buClr>
                <a:srgbClr val="323299"/>
              </a:buClr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For HR </a:t>
            </a:r>
            <a:r>
              <a:rPr sz="1800" dirty="0">
                <a:solidFill>
                  <a:srgbClr val="5E5E5E"/>
                </a:solidFill>
                <a:latin typeface="Arial"/>
                <a:cs typeface="Arial"/>
              </a:rPr>
              <a:t>/ Time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Administrator for multiple EE</a:t>
            </a:r>
            <a:r>
              <a:rPr sz="1800" spc="1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entry.</a:t>
            </a:r>
            <a:endParaRPr sz="18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135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b="1" dirty="0">
                <a:solidFill>
                  <a:srgbClr val="FF0000"/>
                </a:solidFill>
                <a:latin typeface="Arial"/>
                <a:cs typeface="Arial"/>
              </a:rPr>
              <a:t>CATS</a:t>
            </a:r>
            <a:r>
              <a:rPr sz="2000" b="1" spc="-2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FF0000"/>
                </a:solidFill>
                <a:latin typeface="Arial"/>
                <a:cs typeface="Arial"/>
              </a:rPr>
              <a:t>Regular**</a:t>
            </a:r>
            <a:endParaRPr sz="2000">
              <a:latin typeface="Arial"/>
              <a:cs typeface="Arial"/>
            </a:endParaRPr>
          </a:p>
          <a:p>
            <a:pPr marL="756285" lvl="1" indent="-287655">
              <a:lnSpc>
                <a:spcPct val="100000"/>
              </a:lnSpc>
              <a:spcBef>
                <a:spcPts val="1145"/>
              </a:spcBef>
              <a:buClr>
                <a:srgbClr val="323299"/>
              </a:buClr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Can be used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through </a:t>
            </a:r>
            <a:r>
              <a:rPr sz="1800" spc="-20" dirty="0">
                <a:solidFill>
                  <a:srgbClr val="5E5E5E"/>
                </a:solidFill>
                <a:latin typeface="Arial"/>
                <a:cs typeface="Arial"/>
              </a:rPr>
              <a:t>web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browser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in ESS</a:t>
            </a:r>
            <a:r>
              <a:rPr sz="1800" spc="13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application</a:t>
            </a:r>
            <a:endParaRPr sz="1800">
              <a:latin typeface="Arial"/>
              <a:cs typeface="Arial"/>
            </a:endParaRPr>
          </a:p>
          <a:p>
            <a:pPr marL="756285" lvl="1" indent="-287655">
              <a:lnSpc>
                <a:spcPct val="100000"/>
              </a:lnSpc>
              <a:spcBef>
                <a:spcPts val="1080"/>
              </a:spcBef>
              <a:buClr>
                <a:srgbClr val="323299"/>
              </a:buClr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Extensively</a:t>
            </a:r>
            <a:r>
              <a:rPr sz="1800" spc="1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Used</a:t>
            </a:r>
            <a:endParaRPr sz="18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135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b="1" dirty="0">
                <a:solidFill>
                  <a:srgbClr val="FF0000"/>
                </a:solidFill>
                <a:latin typeface="Arial"/>
                <a:cs typeface="Arial"/>
              </a:rPr>
              <a:t>CATS</a:t>
            </a:r>
            <a:r>
              <a:rPr sz="2000" b="1" spc="-2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FF0000"/>
                </a:solidFill>
                <a:latin typeface="Arial"/>
                <a:cs typeface="Arial"/>
              </a:rPr>
              <a:t>Notebook</a:t>
            </a:r>
            <a:endParaRPr sz="2000">
              <a:latin typeface="Arial"/>
              <a:cs typeface="Arial"/>
            </a:endParaRPr>
          </a:p>
          <a:p>
            <a:pPr marL="756285" marR="5080" lvl="1" indent="-287020">
              <a:lnSpc>
                <a:spcPct val="100000"/>
              </a:lnSpc>
              <a:spcBef>
                <a:spcPts val="1145"/>
              </a:spcBef>
              <a:buClr>
                <a:srgbClr val="323299"/>
              </a:buClr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Good for marketing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employees, </a:t>
            </a:r>
            <a:r>
              <a:rPr sz="1800" spc="-20" dirty="0">
                <a:solidFill>
                  <a:srgbClr val="5E5E5E"/>
                </a:solidFill>
                <a:latin typeface="Arial"/>
                <a:cs typeface="Arial"/>
              </a:rPr>
              <a:t>whom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internet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is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not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accessible all  times.</a:t>
            </a:r>
            <a:endParaRPr sz="18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13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b="1" dirty="0">
                <a:solidFill>
                  <a:srgbClr val="FF0000"/>
                </a:solidFill>
                <a:latin typeface="Arial"/>
                <a:cs typeface="Arial"/>
              </a:rPr>
              <a:t>CATS for </a:t>
            </a:r>
            <a:r>
              <a:rPr sz="2000" b="1" spc="-5" dirty="0">
                <a:solidFill>
                  <a:srgbClr val="FF0000"/>
                </a:solidFill>
                <a:latin typeface="Arial"/>
                <a:cs typeface="Arial"/>
              </a:rPr>
              <a:t>service</a:t>
            </a:r>
            <a:r>
              <a:rPr sz="2000" b="1" spc="-5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2000" b="1" spc="-5" dirty="0">
                <a:solidFill>
                  <a:srgbClr val="FF0000"/>
                </a:solidFill>
                <a:latin typeface="Arial"/>
                <a:cs typeface="Arial"/>
              </a:rPr>
              <a:t>Providers</a:t>
            </a:r>
            <a:endParaRPr sz="2000">
              <a:latin typeface="Arial"/>
              <a:cs typeface="Arial"/>
            </a:endParaRPr>
          </a:p>
          <a:p>
            <a:pPr marL="756285" lvl="1" indent="-287655">
              <a:lnSpc>
                <a:spcPct val="100000"/>
              </a:lnSpc>
              <a:spcBef>
                <a:spcPts val="1150"/>
              </a:spcBef>
              <a:buClr>
                <a:srgbClr val="323299"/>
              </a:buClr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For temporary contract EE</a:t>
            </a:r>
            <a:r>
              <a:rPr sz="1800" spc="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5E5E5E"/>
                </a:solidFill>
                <a:latin typeface="Arial"/>
                <a:cs typeface="Arial"/>
              </a:rPr>
              <a:t>.</a:t>
            </a:r>
            <a:endParaRPr sz="1800">
              <a:latin typeface="Arial"/>
              <a:cs typeface="Arial"/>
            </a:endParaRPr>
          </a:p>
          <a:p>
            <a:pPr marL="756285" lvl="1" indent="-287655">
              <a:lnSpc>
                <a:spcPct val="100000"/>
              </a:lnSpc>
              <a:spcBef>
                <a:spcPts val="1080"/>
              </a:spcBef>
              <a:buClr>
                <a:srgbClr val="323299"/>
              </a:buClr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Offer </a:t>
            </a:r>
            <a:r>
              <a:rPr sz="1800" spc="-15" dirty="0">
                <a:solidFill>
                  <a:srgbClr val="5E5E5E"/>
                </a:solidFill>
                <a:latin typeface="Arial"/>
                <a:cs typeface="Arial"/>
              </a:rPr>
              <a:t>with </a:t>
            </a:r>
            <a:r>
              <a:rPr sz="1800" dirty="0">
                <a:solidFill>
                  <a:srgbClr val="5E5E5E"/>
                </a:solidFill>
                <a:latin typeface="Arial"/>
                <a:cs typeface="Arial"/>
              </a:rPr>
              <a:t>to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specify basic data that is valid for more than </a:t>
            </a:r>
            <a:r>
              <a:rPr sz="1800" dirty="0">
                <a:solidFill>
                  <a:srgbClr val="5E5E5E"/>
                </a:solidFill>
                <a:latin typeface="Arial"/>
                <a:cs typeface="Arial"/>
              </a:rPr>
              <a:t>a</a:t>
            </a:r>
            <a:r>
              <a:rPr sz="1800" spc="6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15" dirty="0">
                <a:solidFill>
                  <a:srgbClr val="5E5E5E"/>
                </a:solidFill>
                <a:latin typeface="Arial"/>
                <a:cs typeface="Arial"/>
              </a:rPr>
              <a:t>day.</a:t>
            </a:r>
            <a:endParaRPr sz="18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769493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>
                <a:solidFill>
                  <a:schemeClr val="accent1"/>
                </a:solidFill>
              </a:rPr>
              <a:t>CATS – </a:t>
            </a:r>
            <a:r>
              <a:rPr spc="-5" dirty="0">
                <a:solidFill>
                  <a:schemeClr val="accent1"/>
                </a:solidFill>
              </a:rPr>
              <a:t>Initial Screen </a:t>
            </a:r>
            <a:r>
              <a:rPr dirty="0">
                <a:solidFill>
                  <a:schemeClr val="accent1"/>
                </a:solidFill>
              </a:rPr>
              <a:t>&amp; </a:t>
            </a:r>
            <a:r>
              <a:rPr spc="-5" dirty="0">
                <a:solidFill>
                  <a:schemeClr val="accent1"/>
                </a:solidFill>
              </a:rPr>
              <a:t>Data Entry</a:t>
            </a:r>
            <a:r>
              <a:rPr spc="-114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View</a:t>
            </a:r>
          </a:p>
        </p:txBody>
      </p:sp>
      <p:grpSp>
        <p:nvGrpSpPr>
          <p:cNvPr id="3" name="object 3"/>
          <p:cNvGrpSpPr/>
          <p:nvPr/>
        </p:nvGrpSpPr>
        <p:grpSpPr>
          <a:xfrm>
            <a:off x="934650" y="1699625"/>
            <a:ext cx="7948930" cy="4821555"/>
            <a:chOff x="934650" y="1699625"/>
            <a:chExt cx="7948930" cy="4821555"/>
          </a:xfrm>
        </p:grpSpPr>
        <p:sp>
          <p:nvSpPr>
            <p:cNvPr id="4" name="object 4"/>
            <p:cNvSpPr/>
            <p:nvPr/>
          </p:nvSpPr>
          <p:spPr>
            <a:xfrm>
              <a:off x="934650" y="1699625"/>
              <a:ext cx="6157965" cy="2192853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1925168" y="3054348"/>
              <a:ext cx="6958004" cy="838129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934650" y="3892478"/>
              <a:ext cx="6157965" cy="64007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925168" y="3892478"/>
              <a:ext cx="6958004" cy="2628689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606806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Using </a:t>
            </a:r>
            <a:r>
              <a:rPr dirty="0">
                <a:solidFill>
                  <a:schemeClr val="accent1"/>
                </a:solidFill>
              </a:rPr>
              <a:t>CATS </a:t>
            </a:r>
            <a:r>
              <a:rPr spc="-5" dirty="0">
                <a:solidFill>
                  <a:schemeClr val="accent1"/>
                </a:solidFill>
              </a:rPr>
              <a:t>Data: </a:t>
            </a:r>
            <a:r>
              <a:rPr i="1" spc="-5" dirty="0">
                <a:solidFill>
                  <a:schemeClr val="accent1"/>
                </a:solidFill>
                <a:latin typeface="Arial"/>
                <a:cs typeface="Arial"/>
              </a:rPr>
              <a:t>Updating</a:t>
            </a:r>
            <a:r>
              <a:rPr i="1" spc="-130" dirty="0">
                <a:solidFill>
                  <a:schemeClr val="accent1"/>
                </a:solidFill>
                <a:latin typeface="Arial"/>
                <a:cs typeface="Arial"/>
              </a:rPr>
              <a:t> </a:t>
            </a:r>
            <a:r>
              <a:rPr i="1" dirty="0">
                <a:solidFill>
                  <a:schemeClr val="accent1"/>
                </a:solidFill>
                <a:latin typeface="Arial"/>
                <a:cs typeface="Arial"/>
              </a:rPr>
              <a:t>HR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1010222" y="1639685"/>
            <a:ext cx="6932295" cy="54292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Attendances/Absences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(Infotypes</a:t>
            </a:r>
            <a:r>
              <a:rPr sz="1800" spc="4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2001/2002)</a:t>
            </a:r>
            <a:endParaRPr sz="1800">
              <a:latin typeface="Arial"/>
              <a:cs typeface="Arial"/>
            </a:endParaRPr>
          </a:p>
          <a:p>
            <a:pPr marL="417830" indent="-405765">
              <a:lnSpc>
                <a:spcPct val="100000"/>
              </a:lnSpc>
              <a:spcBef>
                <a:spcPts val="1510"/>
              </a:spcBef>
              <a:buClr>
                <a:srgbClr val="323299"/>
              </a:buClr>
              <a:buFont typeface="Wingdings"/>
              <a:buChar char=""/>
              <a:tabLst>
                <a:tab pos="417830" algn="l"/>
                <a:tab pos="418465" algn="l"/>
              </a:tabLst>
            </a:pPr>
            <a:r>
              <a:rPr sz="1800" dirty="0">
                <a:solidFill>
                  <a:srgbClr val="5E5E5E"/>
                </a:solidFill>
                <a:latin typeface="Arial"/>
                <a:cs typeface="Arial"/>
              </a:rPr>
              <a:t>CATS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feeds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HR actual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hours attended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or</a:t>
            </a:r>
            <a:r>
              <a:rPr sz="1800" spc="5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absent</a:t>
            </a:r>
            <a:endParaRPr sz="1800">
              <a:latin typeface="Arial"/>
              <a:cs typeface="Arial"/>
            </a:endParaRPr>
          </a:p>
          <a:p>
            <a:pPr marL="417830" indent="-405765">
              <a:lnSpc>
                <a:spcPct val="100000"/>
              </a:lnSpc>
              <a:spcBef>
                <a:spcPts val="1510"/>
              </a:spcBef>
              <a:buClr>
                <a:srgbClr val="323299"/>
              </a:buClr>
              <a:buFont typeface="Wingdings"/>
              <a:buChar char=""/>
              <a:tabLst>
                <a:tab pos="417830" algn="l"/>
                <a:tab pos="418465" algn="l"/>
              </a:tabLst>
            </a:pPr>
            <a:r>
              <a:rPr sz="1800" dirty="0">
                <a:solidFill>
                  <a:srgbClr val="5E5E5E"/>
                </a:solidFill>
                <a:latin typeface="Arial"/>
                <a:cs typeface="Arial"/>
              </a:rPr>
              <a:t>CATS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validates absences </a:t>
            </a:r>
            <a:r>
              <a:rPr sz="1800" spc="-15" dirty="0">
                <a:solidFill>
                  <a:srgbClr val="5E5E5E"/>
                </a:solidFill>
                <a:latin typeface="Arial"/>
                <a:cs typeface="Arial"/>
              </a:rPr>
              <a:t>with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absence</a:t>
            </a:r>
            <a:r>
              <a:rPr sz="1800" spc="10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quotas</a:t>
            </a:r>
            <a:endParaRPr sz="1800">
              <a:latin typeface="Arial"/>
              <a:cs typeface="Arial"/>
            </a:endParaRPr>
          </a:p>
          <a:p>
            <a:pPr marL="12700" marR="870585">
              <a:lnSpc>
                <a:spcPct val="170000"/>
              </a:lnSpc>
              <a:buClr>
                <a:srgbClr val="323299"/>
              </a:buClr>
              <a:buFont typeface="Wingdings"/>
              <a:buChar char=""/>
              <a:tabLst>
                <a:tab pos="417830" algn="l"/>
                <a:tab pos="418465" algn="l"/>
              </a:tabLst>
            </a:pP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Payroll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uses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Infotype 2001/2002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data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during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processing  Substitutions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(Infotype</a:t>
            </a:r>
            <a:r>
              <a:rPr sz="1800" spc="2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2003)</a:t>
            </a:r>
            <a:endParaRPr sz="1800">
              <a:latin typeface="Arial"/>
              <a:cs typeface="Arial"/>
            </a:endParaRPr>
          </a:p>
          <a:p>
            <a:pPr marL="417830" indent="-405765">
              <a:lnSpc>
                <a:spcPct val="100000"/>
              </a:lnSpc>
              <a:spcBef>
                <a:spcPts val="1515"/>
              </a:spcBef>
              <a:buClr>
                <a:srgbClr val="323299"/>
              </a:buClr>
              <a:buFont typeface="Wingdings"/>
              <a:buChar char=""/>
              <a:tabLst>
                <a:tab pos="417830" algn="l"/>
                <a:tab pos="418465" algn="l"/>
              </a:tabLst>
            </a:pP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Position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option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may be used </a:t>
            </a:r>
            <a:r>
              <a:rPr sz="1800" dirty="0">
                <a:solidFill>
                  <a:srgbClr val="5E5E5E"/>
                </a:solidFill>
                <a:latin typeface="Arial"/>
                <a:cs typeface="Arial"/>
              </a:rPr>
              <a:t>to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assign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payment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for the</a:t>
            </a:r>
            <a:r>
              <a:rPr sz="1800" spc="8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15" dirty="0">
                <a:solidFill>
                  <a:srgbClr val="5E5E5E"/>
                </a:solidFill>
                <a:latin typeface="Arial"/>
                <a:cs typeface="Arial"/>
              </a:rPr>
              <a:t>work</a:t>
            </a:r>
            <a:endParaRPr sz="1800">
              <a:latin typeface="Arial"/>
              <a:cs typeface="Arial"/>
            </a:endParaRPr>
          </a:p>
          <a:p>
            <a:pPr marL="74930" marR="1327785" indent="-62865">
              <a:lnSpc>
                <a:spcPct val="170000"/>
              </a:lnSpc>
              <a:buClr>
                <a:srgbClr val="323299"/>
              </a:buClr>
              <a:buFont typeface="Wingdings"/>
              <a:buChar char=""/>
              <a:tabLst>
                <a:tab pos="355600" algn="l"/>
                <a:tab pos="356235" algn="l"/>
              </a:tabLst>
            </a:pP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according </a:t>
            </a:r>
            <a:r>
              <a:rPr sz="1800" dirty="0">
                <a:solidFill>
                  <a:srgbClr val="5E5E5E"/>
                </a:solidFill>
                <a:latin typeface="Arial"/>
                <a:cs typeface="Arial"/>
              </a:rPr>
              <a:t>to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the specifications of </a:t>
            </a:r>
            <a:r>
              <a:rPr sz="1800" dirty="0">
                <a:solidFill>
                  <a:srgbClr val="5E5E5E"/>
                </a:solidFill>
                <a:latin typeface="Arial"/>
                <a:cs typeface="Arial"/>
              </a:rPr>
              <a:t>a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different position 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Employee Remuneration Infotype</a:t>
            </a:r>
            <a:r>
              <a:rPr sz="1800" spc="9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2010)</a:t>
            </a:r>
            <a:endParaRPr sz="1800">
              <a:latin typeface="Arial"/>
              <a:cs typeface="Arial"/>
            </a:endParaRPr>
          </a:p>
          <a:p>
            <a:pPr marL="417830" indent="-405765">
              <a:lnSpc>
                <a:spcPct val="100000"/>
              </a:lnSpc>
              <a:spcBef>
                <a:spcPts val="1510"/>
              </a:spcBef>
              <a:buClr>
                <a:srgbClr val="323299"/>
              </a:buClr>
              <a:buFont typeface="Wingdings"/>
              <a:buChar char=""/>
              <a:tabLst>
                <a:tab pos="417830" algn="l"/>
                <a:tab pos="418465" algn="l"/>
              </a:tabLst>
            </a:pP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One-time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earnings/deductions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may be passed from </a:t>
            </a:r>
            <a:r>
              <a:rPr sz="1800" dirty="0">
                <a:solidFill>
                  <a:srgbClr val="5E5E5E"/>
                </a:solidFill>
                <a:latin typeface="Arial"/>
                <a:cs typeface="Arial"/>
              </a:rPr>
              <a:t>CATS to</a:t>
            </a:r>
            <a:r>
              <a:rPr sz="1800" spc="7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HR</a:t>
            </a:r>
            <a:endParaRPr sz="1800">
              <a:latin typeface="Arial"/>
              <a:cs typeface="Arial"/>
            </a:endParaRPr>
          </a:p>
          <a:p>
            <a:pPr marL="12700" marR="680720">
              <a:lnSpc>
                <a:spcPct val="170000"/>
              </a:lnSpc>
              <a:buClr>
                <a:srgbClr val="323299"/>
              </a:buClr>
              <a:buFont typeface="Wingdings"/>
              <a:buChar char=""/>
              <a:tabLst>
                <a:tab pos="417830" algn="l"/>
                <a:tab pos="418465" algn="l"/>
              </a:tabLst>
            </a:pP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Used </a:t>
            </a:r>
            <a:r>
              <a:rPr sz="1800" dirty="0">
                <a:solidFill>
                  <a:srgbClr val="5E5E5E"/>
                </a:solidFill>
                <a:latin typeface="Arial"/>
                <a:cs typeface="Arial"/>
              </a:rPr>
              <a:t>to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process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manually </a:t>
            </a:r>
            <a:r>
              <a:rPr sz="1800" dirty="0">
                <a:solidFill>
                  <a:srgbClr val="5E5E5E"/>
                </a:solidFill>
                <a:latin typeface="Arial"/>
                <a:cs typeface="Arial"/>
              </a:rPr>
              <a:t>–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calculated </a:t>
            </a:r>
            <a:r>
              <a:rPr sz="1800" spc="-15" dirty="0">
                <a:solidFill>
                  <a:srgbClr val="5E5E5E"/>
                </a:solidFill>
                <a:latin typeface="Arial"/>
                <a:cs typeface="Arial"/>
              </a:rPr>
              <a:t>wages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or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bonuses 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Work </a:t>
            </a:r>
            <a:r>
              <a:rPr sz="1800" dirty="0">
                <a:solidFill>
                  <a:srgbClr val="5E5E5E"/>
                </a:solidFill>
                <a:latin typeface="Arial"/>
                <a:cs typeface="Arial"/>
              </a:rPr>
              <a:t>Tax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Area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(Infotype</a:t>
            </a:r>
            <a:r>
              <a:rPr sz="180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0208)</a:t>
            </a:r>
            <a:endParaRPr sz="1800">
              <a:latin typeface="Arial"/>
              <a:cs typeface="Arial"/>
            </a:endParaRPr>
          </a:p>
          <a:p>
            <a:pPr marL="417830" indent="-405765">
              <a:lnSpc>
                <a:spcPct val="100000"/>
              </a:lnSpc>
              <a:spcBef>
                <a:spcPts val="1510"/>
              </a:spcBef>
              <a:buClr>
                <a:srgbClr val="323299"/>
              </a:buClr>
              <a:buFont typeface="Wingdings"/>
              <a:buChar char=""/>
              <a:tabLst>
                <a:tab pos="417830" algn="l"/>
                <a:tab pos="418465" algn="l"/>
              </a:tabLst>
            </a:pPr>
            <a:r>
              <a:rPr sz="1800" dirty="0">
                <a:solidFill>
                  <a:srgbClr val="5E5E5E"/>
                </a:solidFill>
                <a:latin typeface="Arial"/>
                <a:cs typeface="Arial"/>
              </a:rPr>
              <a:t>CATS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allows </a:t>
            </a:r>
            <a:r>
              <a:rPr sz="1800" dirty="0">
                <a:solidFill>
                  <a:srgbClr val="5E5E5E"/>
                </a:solidFill>
                <a:latin typeface="Arial"/>
                <a:cs typeface="Arial"/>
              </a:rPr>
              <a:t>a </a:t>
            </a:r>
            <a:r>
              <a:rPr sz="1800" spc="-15" dirty="0">
                <a:solidFill>
                  <a:srgbClr val="5E5E5E"/>
                </a:solidFill>
                <a:latin typeface="Arial"/>
                <a:cs typeface="Arial"/>
              </a:rPr>
              <a:t>work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tax area </a:t>
            </a:r>
            <a:r>
              <a:rPr sz="1800" dirty="0">
                <a:solidFill>
                  <a:srgbClr val="5E5E5E"/>
                </a:solidFill>
                <a:latin typeface="Arial"/>
                <a:cs typeface="Arial"/>
              </a:rPr>
              <a:t>to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default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area in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Infotype</a:t>
            </a:r>
            <a:r>
              <a:rPr sz="1800" spc="13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0208.</a:t>
            </a:r>
            <a:endParaRPr sz="18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6995159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Transferring </a:t>
            </a:r>
            <a:r>
              <a:rPr dirty="0">
                <a:solidFill>
                  <a:schemeClr val="accent1"/>
                </a:solidFill>
              </a:rPr>
              <a:t>CATS </a:t>
            </a:r>
            <a:r>
              <a:rPr spc="-5" dirty="0">
                <a:solidFill>
                  <a:schemeClr val="accent1"/>
                </a:solidFill>
              </a:rPr>
              <a:t>Data using</a:t>
            </a:r>
            <a:r>
              <a:rPr spc="-125" dirty="0">
                <a:solidFill>
                  <a:schemeClr val="accent1"/>
                </a:solidFill>
              </a:rPr>
              <a:t> </a:t>
            </a:r>
            <a:r>
              <a:rPr dirty="0">
                <a:solidFill>
                  <a:schemeClr val="accent1"/>
                </a:solidFill>
              </a:rPr>
              <a:t>CAT6</a:t>
            </a:r>
          </a:p>
        </p:txBody>
      </p:sp>
      <p:grpSp>
        <p:nvGrpSpPr>
          <p:cNvPr id="4" name="object 4"/>
          <p:cNvGrpSpPr/>
          <p:nvPr/>
        </p:nvGrpSpPr>
        <p:grpSpPr>
          <a:xfrm>
            <a:off x="716737" y="2021162"/>
            <a:ext cx="8890635" cy="4709160"/>
            <a:chOff x="716737" y="2021162"/>
            <a:chExt cx="8890635" cy="4709160"/>
          </a:xfrm>
        </p:grpSpPr>
        <p:sp>
          <p:nvSpPr>
            <p:cNvPr id="5" name="object 5"/>
            <p:cNvSpPr/>
            <p:nvPr/>
          </p:nvSpPr>
          <p:spPr>
            <a:xfrm>
              <a:off x="716737" y="2021162"/>
              <a:ext cx="8890284" cy="4708775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716737" y="3892478"/>
              <a:ext cx="8890284" cy="2837459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352425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>
                <a:solidFill>
                  <a:schemeClr val="accent1"/>
                </a:solidFill>
              </a:rPr>
              <a:t>SAP</a:t>
            </a:r>
            <a:r>
              <a:rPr spc="-85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transactions</a:t>
            </a:r>
            <a:r>
              <a:rPr spc="-5" dirty="0"/>
              <a:t>: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999664" y="1937439"/>
            <a:ext cx="5519420" cy="2768600"/>
          </a:xfrm>
          <a:prstGeom prst="rect">
            <a:avLst/>
          </a:prstGeom>
        </p:spPr>
        <p:txBody>
          <a:bodyPr vert="horz" wrap="square" lIns="0" tIns="165100" rIns="0" bIns="0" rtlCol="0">
            <a:spAutoFit/>
          </a:bodyPr>
          <a:lstStyle/>
          <a:p>
            <a:pPr marL="354965" indent="-342900">
              <a:lnSpc>
                <a:spcPct val="100000"/>
              </a:lnSpc>
              <a:spcBef>
                <a:spcPts val="13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CAC1 :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Maintain</a:t>
            </a:r>
            <a:r>
              <a:rPr sz="2000" spc="-5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profiles</a:t>
            </a:r>
            <a:endParaRPr sz="20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195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CAC2 : Fields</a:t>
            </a:r>
            <a:r>
              <a:rPr sz="2000" spc="-4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assignments</a:t>
            </a:r>
            <a:endParaRPr sz="20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2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CAT2 : Use the Cross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Application Time</a:t>
            </a:r>
            <a:r>
              <a:rPr sz="2000" spc="-10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Sheet</a:t>
            </a:r>
            <a:endParaRPr sz="20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2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CAPS :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Approve Time</a:t>
            </a:r>
            <a:r>
              <a:rPr sz="2000" spc="-5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Entries</a:t>
            </a:r>
            <a:endParaRPr sz="20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2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CATA : Transfer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All time</a:t>
            </a:r>
            <a:r>
              <a:rPr sz="2000" spc="-13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entries</a:t>
            </a:r>
            <a:endParaRPr sz="20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2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CADO : Report on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Time</a:t>
            </a:r>
            <a:r>
              <a:rPr sz="2000" spc="-12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Entries</a:t>
            </a:r>
            <a:endParaRPr sz="20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85377" y="687221"/>
            <a:ext cx="3188970" cy="68929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200" spc="-10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Personnel Subarea</a:t>
            </a:r>
            <a:r>
              <a:rPr sz="2200" spc="-25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 </a:t>
            </a:r>
            <a:r>
              <a:rPr sz="2200" spc="-5" dirty="0">
                <a:latin typeface="Liberation Sans Narrow"/>
                <a:cs typeface="Liberation Sans Narrow"/>
              </a:rPr>
              <a:t>Grouping</a:t>
            </a:r>
            <a:endParaRPr sz="2200" dirty="0">
              <a:latin typeface="Liberation Sans Narrow"/>
              <a:cs typeface="Liberation Sans Narrow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923365" y="1635113"/>
            <a:ext cx="472630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-635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All The Personnel Subareas which share the same </a:t>
            </a:r>
            <a:r>
              <a:rPr sz="1800" spc="-10" dirty="0">
                <a:latin typeface="Liberation Sans Narrow"/>
                <a:cs typeface="Liberation Sans Narrow"/>
              </a:rPr>
              <a:t>Work  </a:t>
            </a:r>
            <a:r>
              <a:rPr sz="1800" spc="-5" dirty="0">
                <a:latin typeface="Liberation Sans Narrow"/>
                <a:cs typeface="Liberation Sans Narrow"/>
              </a:rPr>
              <a:t>Schedule will be grouped</a:t>
            </a:r>
            <a:r>
              <a:rPr sz="1800" spc="85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together</a:t>
            </a:r>
            <a:endParaRPr sz="1800">
              <a:latin typeface="Liberation Sans Narrow"/>
              <a:cs typeface="Liberation Sans Narrow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1154085" y="3208272"/>
            <a:ext cx="1290955" cy="989330"/>
            <a:chOff x="1154085" y="3208272"/>
            <a:chExt cx="1290955" cy="989330"/>
          </a:xfrm>
        </p:grpSpPr>
        <p:sp>
          <p:nvSpPr>
            <p:cNvPr id="5" name="object 5"/>
            <p:cNvSpPr/>
            <p:nvPr/>
          </p:nvSpPr>
          <p:spPr>
            <a:xfrm>
              <a:off x="1154085" y="3208272"/>
              <a:ext cx="1290955" cy="684530"/>
            </a:xfrm>
            <a:custGeom>
              <a:avLst/>
              <a:gdLst/>
              <a:ahLst/>
              <a:cxnLst/>
              <a:rect l="l" t="t" r="r" b="b"/>
              <a:pathLst>
                <a:path w="1290955" h="684529">
                  <a:moveTo>
                    <a:pt x="0" y="684206"/>
                  </a:moveTo>
                  <a:lnTo>
                    <a:pt x="1290721" y="684206"/>
                  </a:lnTo>
                  <a:lnTo>
                    <a:pt x="1290721" y="0"/>
                  </a:lnTo>
                  <a:lnTo>
                    <a:pt x="0" y="0"/>
                  </a:lnTo>
                  <a:lnTo>
                    <a:pt x="0" y="684206"/>
                  </a:lnTo>
                  <a:close/>
                </a:path>
              </a:pathLst>
            </a:custGeom>
            <a:solidFill>
              <a:srgbClr val="00659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634109" y="3302751"/>
              <a:ext cx="708660" cy="589915"/>
            </a:xfrm>
            <a:custGeom>
              <a:avLst/>
              <a:gdLst/>
              <a:ahLst/>
              <a:cxnLst/>
              <a:rect l="l" t="t" r="r" b="b"/>
              <a:pathLst>
                <a:path w="708660" h="589914">
                  <a:moveTo>
                    <a:pt x="675071" y="313913"/>
                  </a:moveTo>
                  <a:lnTo>
                    <a:pt x="108191" y="313913"/>
                  </a:lnTo>
                  <a:lnTo>
                    <a:pt x="150863" y="347441"/>
                  </a:lnTo>
                  <a:lnTo>
                    <a:pt x="150863" y="393161"/>
                  </a:lnTo>
                  <a:lnTo>
                    <a:pt x="163055" y="428213"/>
                  </a:lnTo>
                  <a:lnTo>
                    <a:pt x="163055" y="492221"/>
                  </a:lnTo>
                  <a:lnTo>
                    <a:pt x="175247" y="510509"/>
                  </a:lnTo>
                  <a:lnTo>
                    <a:pt x="175247" y="522701"/>
                  </a:lnTo>
                  <a:lnTo>
                    <a:pt x="140195" y="560771"/>
                  </a:lnTo>
                  <a:lnTo>
                    <a:pt x="103619" y="568391"/>
                  </a:lnTo>
                  <a:lnTo>
                    <a:pt x="77652" y="589727"/>
                  </a:lnTo>
                  <a:lnTo>
                    <a:pt x="651763" y="589727"/>
                  </a:lnTo>
                  <a:lnTo>
                    <a:pt x="661355" y="574487"/>
                  </a:lnTo>
                  <a:lnTo>
                    <a:pt x="676595" y="557723"/>
                  </a:lnTo>
                  <a:lnTo>
                    <a:pt x="700979" y="518129"/>
                  </a:lnTo>
                  <a:lnTo>
                    <a:pt x="708599" y="473933"/>
                  </a:lnTo>
                  <a:lnTo>
                    <a:pt x="708599" y="454121"/>
                  </a:lnTo>
                  <a:lnTo>
                    <a:pt x="704027" y="422117"/>
                  </a:lnTo>
                  <a:lnTo>
                    <a:pt x="708599" y="391637"/>
                  </a:lnTo>
                  <a:lnTo>
                    <a:pt x="708599" y="368777"/>
                  </a:lnTo>
                  <a:lnTo>
                    <a:pt x="682691" y="345917"/>
                  </a:lnTo>
                  <a:lnTo>
                    <a:pt x="675071" y="329153"/>
                  </a:lnTo>
                  <a:lnTo>
                    <a:pt x="675071" y="313913"/>
                  </a:lnTo>
                  <a:close/>
                </a:path>
                <a:path w="708660" h="589914">
                  <a:moveTo>
                    <a:pt x="192011" y="0"/>
                  </a:moveTo>
                  <a:lnTo>
                    <a:pt x="176771" y="3048"/>
                  </a:lnTo>
                  <a:lnTo>
                    <a:pt x="164579" y="3048"/>
                  </a:lnTo>
                  <a:lnTo>
                    <a:pt x="143243" y="6096"/>
                  </a:lnTo>
                  <a:lnTo>
                    <a:pt x="132575" y="9144"/>
                  </a:lnTo>
                  <a:lnTo>
                    <a:pt x="123431" y="13716"/>
                  </a:lnTo>
                  <a:lnTo>
                    <a:pt x="114287" y="19812"/>
                  </a:lnTo>
                  <a:lnTo>
                    <a:pt x="103619" y="28956"/>
                  </a:lnTo>
                  <a:lnTo>
                    <a:pt x="83807" y="36576"/>
                  </a:lnTo>
                  <a:lnTo>
                    <a:pt x="64008" y="51816"/>
                  </a:lnTo>
                  <a:lnTo>
                    <a:pt x="32004" y="94488"/>
                  </a:lnTo>
                  <a:lnTo>
                    <a:pt x="7620" y="127985"/>
                  </a:lnTo>
                  <a:lnTo>
                    <a:pt x="0" y="181325"/>
                  </a:lnTo>
                  <a:lnTo>
                    <a:pt x="16764" y="228569"/>
                  </a:lnTo>
                  <a:lnTo>
                    <a:pt x="44196" y="263621"/>
                  </a:lnTo>
                  <a:lnTo>
                    <a:pt x="38100" y="291053"/>
                  </a:lnTo>
                  <a:lnTo>
                    <a:pt x="86855" y="316961"/>
                  </a:lnTo>
                  <a:lnTo>
                    <a:pt x="108191" y="313913"/>
                  </a:lnTo>
                  <a:lnTo>
                    <a:pt x="675071" y="313913"/>
                  </a:lnTo>
                  <a:lnTo>
                    <a:pt x="675071" y="310865"/>
                  </a:lnTo>
                  <a:lnTo>
                    <a:pt x="667451" y="292577"/>
                  </a:lnTo>
                  <a:lnTo>
                    <a:pt x="667451" y="275813"/>
                  </a:lnTo>
                  <a:lnTo>
                    <a:pt x="644591" y="265145"/>
                  </a:lnTo>
                  <a:lnTo>
                    <a:pt x="644591" y="246857"/>
                  </a:lnTo>
                  <a:lnTo>
                    <a:pt x="646115" y="240761"/>
                  </a:lnTo>
                  <a:lnTo>
                    <a:pt x="646115" y="234665"/>
                  </a:lnTo>
                  <a:lnTo>
                    <a:pt x="644591" y="230093"/>
                  </a:lnTo>
                  <a:lnTo>
                    <a:pt x="640019" y="225521"/>
                  </a:lnTo>
                  <a:lnTo>
                    <a:pt x="624791" y="217901"/>
                  </a:lnTo>
                  <a:lnTo>
                    <a:pt x="597359" y="195041"/>
                  </a:lnTo>
                  <a:lnTo>
                    <a:pt x="572975" y="172181"/>
                  </a:lnTo>
                  <a:lnTo>
                    <a:pt x="513539" y="132557"/>
                  </a:lnTo>
                  <a:lnTo>
                    <a:pt x="487643" y="111221"/>
                  </a:lnTo>
                  <a:lnTo>
                    <a:pt x="428236" y="91440"/>
                  </a:lnTo>
                  <a:lnTo>
                    <a:pt x="259055" y="91440"/>
                  </a:lnTo>
                  <a:lnTo>
                    <a:pt x="246863" y="83820"/>
                  </a:lnTo>
                  <a:lnTo>
                    <a:pt x="246863" y="60960"/>
                  </a:lnTo>
                  <a:lnTo>
                    <a:pt x="225527" y="53340"/>
                  </a:lnTo>
                  <a:lnTo>
                    <a:pt x="225527" y="28956"/>
                  </a:lnTo>
                  <a:lnTo>
                    <a:pt x="214859" y="10668"/>
                  </a:lnTo>
                  <a:lnTo>
                    <a:pt x="192011" y="0"/>
                  </a:lnTo>
                  <a:close/>
                </a:path>
                <a:path w="708660" h="589914">
                  <a:moveTo>
                    <a:pt x="400775" y="82296"/>
                  </a:moveTo>
                  <a:lnTo>
                    <a:pt x="292583" y="82296"/>
                  </a:lnTo>
                  <a:lnTo>
                    <a:pt x="259055" y="91440"/>
                  </a:lnTo>
                  <a:lnTo>
                    <a:pt x="428236" y="91440"/>
                  </a:lnTo>
                  <a:lnTo>
                    <a:pt x="400775" y="82296"/>
                  </a:lnTo>
                  <a:close/>
                </a:path>
              </a:pathLst>
            </a:custGeom>
            <a:solidFill>
              <a:srgbClr val="00000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635633" y="3465789"/>
              <a:ext cx="260985" cy="190500"/>
            </a:xfrm>
            <a:custGeom>
              <a:avLst/>
              <a:gdLst/>
              <a:ahLst/>
              <a:cxnLst/>
              <a:rect l="l" t="t" r="r" b="b"/>
              <a:pathLst>
                <a:path w="260985" h="190500">
                  <a:moveTo>
                    <a:pt x="91427" y="0"/>
                  </a:moveTo>
                  <a:lnTo>
                    <a:pt x="33527" y="7619"/>
                  </a:lnTo>
                  <a:lnTo>
                    <a:pt x="27431" y="7619"/>
                  </a:lnTo>
                  <a:lnTo>
                    <a:pt x="15239" y="10667"/>
                  </a:lnTo>
                  <a:lnTo>
                    <a:pt x="9143" y="10667"/>
                  </a:lnTo>
                  <a:lnTo>
                    <a:pt x="3047" y="12191"/>
                  </a:lnTo>
                  <a:lnTo>
                    <a:pt x="0" y="12191"/>
                  </a:lnTo>
                  <a:lnTo>
                    <a:pt x="0" y="47243"/>
                  </a:lnTo>
                  <a:lnTo>
                    <a:pt x="18287" y="76199"/>
                  </a:lnTo>
                  <a:lnTo>
                    <a:pt x="54863" y="102107"/>
                  </a:lnTo>
                  <a:lnTo>
                    <a:pt x="89903" y="97535"/>
                  </a:lnTo>
                  <a:lnTo>
                    <a:pt x="140195" y="79247"/>
                  </a:lnTo>
                  <a:lnTo>
                    <a:pt x="192011" y="103631"/>
                  </a:lnTo>
                  <a:lnTo>
                    <a:pt x="173723" y="137159"/>
                  </a:lnTo>
                  <a:lnTo>
                    <a:pt x="153911" y="138683"/>
                  </a:lnTo>
                  <a:lnTo>
                    <a:pt x="105143" y="150875"/>
                  </a:lnTo>
                  <a:lnTo>
                    <a:pt x="143243" y="181355"/>
                  </a:lnTo>
                  <a:lnTo>
                    <a:pt x="188963" y="190499"/>
                  </a:lnTo>
                  <a:lnTo>
                    <a:pt x="219431" y="190499"/>
                  </a:lnTo>
                  <a:lnTo>
                    <a:pt x="260579" y="169163"/>
                  </a:lnTo>
                  <a:lnTo>
                    <a:pt x="242291" y="128015"/>
                  </a:lnTo>
                  <a:lnTo>
                    <a:pt x="214859" y="76199"/>
                  </a:lnTo>
                  <a:lnTo>
                    <a:pt x="143243" y="18287"/>
                  </a:lnTo>
                  <a:lnTo>
                    <a:pt x="91427" y="0"/>
                  </a:lnTo>
                  <a:close/>
                </a:path>
              </a:pathLst>
            </a:custGeom>
            <a:solidFill>
              <a:srgbClr val="43C0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681352" y="3580089"/>
              <a:ext cx="113030" cy="35560"/>
            </a:xfrm>
            <a:custGeom>
              <a:avLst/>
              <a:gdLst/>
              <a:ahLst/>
              <a:cxnLst/>
              <a:rect l="l" t="t" r="r" b="b"/>
              <a:pathLst>
                <a:path w="113030" h="35560">
                  <a:moveTo>
                    <a:pt x="79235" y="0"/>
                  </a:moveTo>
                  <a:lnTo>
                    <a:pt x="0" y="12191"/>
                  </a:lnTo>
                  <a:lnTo>
                    <a:pt x="45707" y="35051"/>
                  </a:lnTo>
                  <a:lnTo>
                    <a:pt x="112763" y="21335"/>
                  </a:lnTo>
                  <a:lnTo>
                    <a:pt x="79235" y="0"/>
                  </a:lnTo>
                  <a:close/>
                </a:path>
              </a:pathLst>
            </a:custGeom>
            <a:solidFill>
              <a:srgbClr val="86F7F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835264" y="3452073"/>
              <a:ext cx="326099" cy="440405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903832" y="3377427"/>
              <a:ext cx="364490" cy="334010"/>
            </a:xfrm>
            <a:custGeom>
              <a:avLst/>
              <a:gdLst/>
              <a:ahLst/>
              <a:cxnLst/>
              <a:rect l="l" t="t" r="r" b="b"/>
              <a:pathLst>
                <a:path w="364489" h="334010">
                  <a:moveTo>
                    <a:pt x="134099" y="0"/>
                  </a:moveTo>
                  <a:lnTo>
                    <a:pt x="71627" y="0"/>
                  </a:lnTo>
                  <a:lnTo>
                    <a:pt x="28955" y="9143"/>
                  </a:lnTo>
                  <a:lnTo>
                    <a:pt x="0" y="16763"/>
                  </a:lnTo>
                  <a:lnTo>
                    <a:pt x="12191" y="60929"/>
                  </a:lnTo>
                  <a:lnTo>
                    <a:pt x="47243" y="38069"/>
                  </a:lnTo>
                  <a:lnTo>
                    <a:pt x="67055" y="27431"/>
                  </a:lnTo>
                  <a:lnTo>
                    <a:pt x="102095" y="27431"/>
                  </a:lnTo>
                  <a:lnTo>
                    <a:pt x="126479" y="68549"/>
                  </a:lnTo>
                  <a:lnTo>
                    <a:pt x="134099" y="38069"/>
                  </a:lnTo>
                  <a:lnTo>
                    <a:pt x="153911" y="35021"/>
                  </a:lnTo>
                  <a:lnTo>
                    <a:pt x="158483" y="60929"/>
                  </a:lnTo>
                  <a:lnTo>
                    <a:pt x="158483" y="92933"/>
                  </a:lnTo>
                  <a:lnTo>
                    <a:pt x="182867" y="76169"/>
                  </a:lnTo>
                  <a:lnTo>
                    <a:pt x="201155" y="111221"/>
                  </a:lnTo>
                  <a:lnTo>
                    <a:pt x="208775" y="153893"/>
                  </a:lnTo>
                  <a:lnTo>
                    <a:pt x="240767" y="237713"/>
                  </a:lnTo>
                  <a:lnTo>
                    <a:pt x="240767" y="333725"/>
                  </a:lnTo>
                  <a:lnTo>
                    <a:pt x="257531" y="298673"/>
                  </a:lnTo>
                  <a:lnTo>
                    <a:pt x="257531" y="260573"/>
                  </a:lnTo>
                  <a:lnTo>
                    <a:pt x="245339" y="211805"/>
                  </a:lnTo>
                  <a:lnTo>
                    <a:pt x="230099" y="172181"/>
                  </a:lnTo>
                  <a:lnTo>
                    <a:pt x="230099" y="131033"/>
                  </a:lnTo>
                  <a:lnTo>
                    <a:pt x="198107" y="80741"/>
                  </a:lnTo>
                  <a:lnTo>
                    <a:pt x="182867" y="42641"/>
                  </a:lnTo>
                  <a:lnTo>
                    <a:pt x="213347" y="57881"/>
                  </a:lnTo>
                  <a:lnTo>
                    <a:pt x="240767" y="83789"/>
                  </a:lnTo>
                  <a:lnTo>
                    <a:pt x="240767" y="134081"/>
                  </a:lnTo>
                  <a:lnTo>
                    <a:pt x="262103" y="118841"/>
                  </a:lnTo>
                  <a:lnTo>
                    <a:pt x="284963" y="106649"/>
                  </a:lnTo>
                  <a:lnTo>
                    <a:pt x="324587" y="161513"/>
                  </a:lnTo>
                  <a:lnTo>
                    <a:pt x="297155" y="164561"/>
                  </a:lnTo>
                  <a:lnTo>
                    <a:pt x="277343" y="184373"/>
                  </a:lnTo>
                  <a:lnTo>
                    <a:pt x="332207" y="188945"/>
                  </a:lnTo>
                  <a:lnTo>
                    <a:pt x="364211" y="188945"/>
                  </a:lnTo>
                  <a:lnTo>
                    <a:pt x="364211" y="149321"/>
                  </a:lnTo>
                  <a:lnTo>
                    <a:pt x="335255" y="126461"/>
                  </a:lnTo>
                  <a:lnTo>
                    <a:pt x="301727" y="100553"/>
                  </a:lnTo>
                  <a:lnTo>
                    <a:pt x="233147" y="53309"/>
                  </a:lnTo>
                  <a:lnTo>
                    <a:pt x="198107" y="22859"/>
                  </a:lnTo>
                  <a:lnTo>
                    <a:pt x="134099" y="0"/>
                  </a:lnTo>
                  <a:close/>
                </a:path>
              </a:pathLst>
            </a:custGeom>
            <a:solidFill>
              <a:srgbClr val="6B0B3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2205560" y="3580089"/>
              <a:ext cx="121907" cy="9601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1666113" y="3334755"/>
              <a:ext cx="214859" cy="188945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1900022" y="3845234"/>
              <a:ext cx="36195" cy="47625"/>
            </a:xfrm>
            <a:custGeom>
              <a:avLst/>
              <a:gdLst/>
              <a:ahLst/>
              <a:cxnLst/>
              <a:rect l="l" t="t" r="r" b="b"/>
              <a:pathLst>
                <a:path w="36194" h="47625">
                  <a:moveTo>
                    <a:pt x="35814" y="0"/>
                  </a:moveTo>
                  <a:lnTo>
                    <a:pt x="16002" y="18288"/>
                  </a:lnTo>
                  <a:lnTo>
                    <a:pt x="762" y="45720"/>
                  </a:lnTo>
                  <a:lnTo>
                    <a:pt x="0" y="47244"/>
                  </a:lnTo>
                  <a:lnTo>
                    <a:pt x="28011" y="47244"/>
                  </a:lnTo>
                  <a:lnTo>
                    <a:pt x="28194" y="45720"/>
                  </a:lnTo>
                  <a:lnTo>
                    <a:pt x="35814" y="0"/>
                  </a:lnTo>
                  <a:close/>
                </a:path>
              </a:pathLst>
            </a:custGeom>
            <a:solidFill>
              <a:srgbClr val="43C0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1704788" y="3660861"/>
              <a:ext cx="153324" cy="231617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1245525" y="3734013"/>
              <a:ext cx="399415" cy="158750"/>
            </a:xfrm>
            <a:custGeom>
              <a:avLst/>
              <a:gdLst/>
              <a:ahLst/>
              <a:cxnLst/>
              <a:rect l="l" t="t" r="r" b="b"/>
              <a:pathLst>
                <a:path w="399414" h="158750">
                  <a:moveTo>
                    <a:pt x="251435" y="0"/>
                  </a:moveTo>
                  <a:lnTo>
                    <a:pt x="213335" y="89915"/>
                  </a:lnTo>
                  <a:lnTo>
                    <a:pt x="196571" y="134081"/>
                  </a:lnTo>
                  <a:lnTo>
                    <a:pt x="155435" y="118841"/>
                  </a:lnTo>
                  <a:lnTo>
                    <a:pt x="152387" y="74675"/>
                  </a:lnTo>
                  <a:lnTo>
                    <a:pt x="140195" y="50291"/>
                  </a:lnTo>
                  <a:lnTo>
                    <a:pt x="118859" y="79247"/>
                  </a:lnTo>
                  <a:lnTo>
                    <a:pt x="73139" y="70103"/>
                  </a:lnTo>
                  <a:lnTo>
                    <a:pt x="44183" y="47243"/>
                  </a:lnTo>
                  <a:lnTo>
                    <a:pt x="44183" y="118841"/>
                  </a:lnTo>
                  <a:lnTo>
                    <a:pt x="19811" y="99059"/>
                  </a:lnTo>
                  <a:lnTo>
                    <a:pt x="0" y="82295"/>
                  </a:lnTo>
                  <a:lnTo>
                    <a:pt x="5772" y="158465"/>
                  </a:lnTo>
                  <a:lnTo>
                    <a:pt x="355057" y="158465"/>
                  </a:lnTo>
                  <a:lnTo>
                    <a:pt x="396203" y="114269"/>
                  </a:lnTo>
                  <a:lnTo>
                    <a:pt x="399251" y="74675"/>
                  </a:lnTo>
                  <a:lnTo>
                    <a:pt x="362675" y="47243"/>
                  </a:lnTo>
                  <a:lnTo>
                    <a:pt x="333719" y="94487"/>
                  </a:lnTo>
                  <a:lnTo>
                    <a:pt x="271247" y="82295"/>
                  </a:lnTo>
                  <a:lnTo>
                    <a:pt x="271247" y="42671"/>
                  </a:lnTo>
                  <a:lnTo>
                    <a:pt x="251435" y="0"/>
                  </a:lnTo>
                  <a:close/>
                </a:path>
              </a:pathLst>
            </a:custGeom>
            <a:solidFill>
              <a:srgbClr val="279DE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1347621" y="3860474"/>
              <a:ext cx="203200" cy="32384"/>
            </a:xfrm>
            <a:custGeom>
              <a:avLst/>
              <a:gdLst/>
              <a:ahLst/>
              <a:cxnLst/>
              <a:rect l="l" t="t" r="r" b="b"/>
              <a:pathLst>
                <a:path w="203200" h="32385">
                  <a:moveTo>
                    <a:pt x="85331" y="25908"/>
                  </a:moveTo>
                  <a:lnTo>
                    <a:pt x="53340" y="28956"/>
                  </a:lnTo>
                  <a:lnTo>
                    <a:pt x="53074" y="32004"/>
                  </a:lnTo>
                  <a:lnTo>
                    <a:pt x="164579" y="32004"/>
                  </a:lnTo>
                  <a:lnTo>
                    <a:pt x="164579" y="30480"/>
                  </a:lnTo>
                  <a:lnTo>
                    <a:pt x="111239" y="30480"/>
                  </a:lnTo>
                  <a:lnTo>
                    <a:pt x="85331" y="25908"/>
                  </a:lnTo>
                  <a:close/>
                </a:path>
                <a:path w="203200" h="32385">
                  <a:moveTo>
                    <a:pt x="202679" y="16764"/>
                  </a:moveTo>
                  <a:lnTo>
                    <a:pt x="177279" y="32004"/>
                  </a:lnTo>
                  <a:lnTo>
                    <a:pt x="202679" y="32004"/>
                  </a:lnTo>
                  <a:lnTo>
                    <a:pt x="202679" y="16764"/>
                  </a:lnTo>
                  <a:close/>
                </a:path>
                <a:path w="203200" h="32385">
                  <a:moveTo>
                    <a:pt x="164579" y="0"/>
                  </a:moveTo>
                  <a:lnTo>
                    <a:pt x="111239" y="30480"/>
                  </a:lnTo>
                  <a:lnTo>
                    <a:pt x="164579" y="30480"/>
                  </a:lnTo>
                  <a:lnTo>
                    <a:pt x="164579" y="0"/>
                  </a:lnTo>
                  <a:close/>
                </a:path>
                <a:path w="203200" h="32385">
                  <a:moveTo>
                    <a:pt x="0" y="4572"/>
                  </a:moveTo>
                  <a:lnTo>
                    <a:pt x="0" y="32004"/>
                  </a:lnTo>
                  <a:lnTo>
                    <a:pt x="23211" y="32004"/>
                  </a:lnTo>
                  <a:lnTo>
                    <a:pt x="0" y="4572"/>
                  </a:lnTo>
                  <a:close/>
                </a:path>
              </a:pathLst>
            </a:custGeom>
            <a:solidFill>
              <a:srgbClr val="43C0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1674104" y="3874190"/>
              <a:ext cx="48895" cy="18415"/>
            </a:xfrm>
            <a:custGeom>
              <a:avLst/>
              <a:gdLst/>
              <a:ahLst/>
              <a:cxnLst/>
              <a:rect l="l" t="t" r="r" b="b"/>
              <a:pathLst>
                <a:path w="48894" h="18414">
                  <a:moveTo>
                    <a:pt x="27048" y="0"/>
                  </a:moveTo>
                  <a:lnTo>
                    <a:pt x="0" y="18288"/>
                  </a:lnTo>
                  <a:lnTo>
                    <a:pt x="48765" y="18288"/>
                  </a:lnTo>
                  <a:lnTo>
                    <a:pt x="27048" y="0"/>
                  </a:lnTo>
                  <a:close/>
                </a:path>
              </a:pathLst>
            </a:custGeom>
            <a:solidFill>
              <a:srgbClr val="00001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1221130" y="3569423"/>
              <a:ext cx="384175" cy="285115"/>
            </a:xfrm>
            <a:custGeom>
              <a:avLst/>
              <a:gdLst/>
              <a:ahLst/>
              <a:cxnLst/>
              <a:rect l="l" t="t" r="r" b="b"/>
              <a:pathLst>
                <a:path w="384175" h="285114">
                  <a:moveTo>
                    <a:pt x="112763" y="281914"/>
                  </a:moveTo>
                  <a:lnTo>
                    <a:pt x="0" y="185928"/>
                  </a:lnTo>
                  <a:lnTo>
                    <a:pt x="16764" y="204216"/>
                  </a:lnTo>
                  <a:lnTo>
                    <a:pt x="79235" y="265176"/>
                  </a:lnTo>
                  <a:lnTo>
                    <a:pt x="112763" y="281914"/>
                  </a:lnTo>
                  <a:close/>
                </a:path>
                <a:path w="384175" h="285114">
                  <a:moveTo>
                    <a:pt x="117335" y="185928"/>
                  </a:moveTo>
                  <a:lnTo>
                    <a:pt x="76187" y="68580"/>
                  </a:lnTo>
                  <a:lnTo>
                    <a:pt x="50292" y="39624"/>
                  </a:lnTo>
                  <a:lnTo>
                    <a:pt x="33528" y="0"/>
                  </a:lnTo>
                  <a:lnTo>
                    <a:pt x="79235" y="112776"/>
                  </a:lnTo>
                  <a:lnTo>
                    <a:pt x="117335" y="185928"/>
                  </a:lnTo>
                  <a:close/>
                </a:path>
                <a:path w="384175" h="285114">
                  <a:moveTo>
                    <a:pt x="213334" y="132588"/>
                  </a:moveTo>
                  <a:lnTo>
                    <a:pt x="205714" y="92964"/>
                  </a:lnTo>
                  <a:lnTo>
                    <a:pt x="208762" y="284962"/>
                  </a:lnTo>
                  <a:lnTo>
                    <a:pt x="213334" y="240792"/>
                  </a:lnTo>
                  <a:lnTo>
                    <a:pt x="213334" y="132588"/>
                  </a:lnTo>
                  <a:close/>
                </a:path>
                <a:path w="384175" h="285114">
                  <a:moveTo>
                    <a:pt x="384022" y="48768"/>
                  </a:moveTo>
                  <a:lnTo>
                    <a:pt x="297154" y="274294"/>
                  </a:lnTo>
                  <a:lnTo>
                    <a:pt x="321538" y="240792"/>
                  </a:lnTo>
                  <a:lnTo>
                    <a:pt x="367258" y="112776"/>
                  </a:lnTo>
                  <a:lnTo>
                    <a:pt x="384022" y="48768"/>
                  </a:lnTo>
                  <a:close/>
                </a:path>
              </a:pathLst>
            </a:custGeom>
            <a:solidFill>
              <a:srgbClr val="43C0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1183030" y="3467315"/>
              <a:ext cx="475615" cy="302260"/>
            </a:xfrm>
            <a:custGeom>
              <a:avLst/>
              <a:gdLst/>
              <a:ahLst/>
              <a:cxnLst/>
              <a:rect l="l" t="t" r="r" b="b"/>
              <a:pathLst>
                <a:path w="475614" h="302260">
                  <a:moveTo>
                    <a:pt x="25908" y="227076"/>
                  </a:moveTo>
                  <a:lnTo>
                    <a:pt x="0" y="227076"/>
                  </a:lnTo>
                  <a:lnTo>
                    <a:pt x="1524" y="259080"/>
                  </a:lnTo>
                  <a:lnTo>
                    <a:pt x="25908" y="227076"/>
                  </a:lnTo>
                  <a:close/>
                </a:path>
                <a:path w="475614" h="302260">
                  <a:moveTo>
                    <a:pt x="118859" y="27432"/>
                  </a:moveTo>
                  <a:lnTo>
                    <a:pt x="105143" y="0"/>
                  </a:lnTo>
                  <a:lnTo>
                    <a:pt x="94475" y="42672"/>
                  </a:lnTo>
                  <a:lnTo>
                    <a:pt x="118859" y="27432"/>
                  </a:lnTo>
                  <a:close/>
                </a:path>
                <a:path w="475614" h="302260">
                  <a:moveTo>
                    <a:pt x="201155" y="204216"/>
                  </a:moveTo>
                  <a:lnTo>
                    <a:pt x="187439" y="178308"/>
                  </a:lnTo>
                  <a:lnTo>
                    <a:pt x="184391" y="202692"/>
                  </a:lnTo>
                  <a:lnTo>
                    <a:pt x="201155" y="204216"/>
                  </a:lnTo>
                  <a:close/>
                </a:path>
                <a:path w="475614" h="302260">
                  <a:moveTo>
                    <a:pt x="402310" y="150876"/>
                  </a:moveTo>
                  <a:lnTo>
                    <a:pt x="387070" y="129540"/>
                  </a:lnTo>
                  <a:lnTo>
                    <a:pt x="380974" y="150876"/>
                  </a:lnTo>
                  <a:lnTo>
                    <a:pt x="402310" y="150876"/>
                  </a:lnTo>
                  <a:close/>
                </a:path>
                <a:path w="475614" h="302260">
                  <a:moveTo>
                    <a:pt x="475462" y="301752"/>
                  </a:moveTo>
                  <a:lnTo>
                    <a:pt x="452602" y="281940"/>
                  </a:lnTo>
                  <a:lnTo>
                    <a:pt x="452602" y="301752"/>
                  </a:lnTo>
                  <a:lnTo>
                    <a:pt x="475462" y="301752"/>
                  </a:lnTo>
                  <a:close/>
                </a:path>
              </a:pathLst>
            </a:custGeom>
            <a:solidFill>
              <a:srgbClr val="86F7F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1944980" y="3508461"/>
              <a:ext cx="60960" cy="137160"/>
            </a:xfrm>
            <a:custGeom>
              <a:avLst/>
              <a:gdLst/>
              <a:ahLst/>
              <a:cxnLst/>
              <a:rect l="l" t="t" r="r" b="b"/>
              <a:pathLst>
                <a:path w="60960" h="137160">
                  <a:moveTo>
                    <a:pt x="0" y="0"/>
                  </a:moveTo>
                  <a:lnTo>
                    <a:pt x="6095" y="38099"/>
                  </a:lnTo>
                  <a:lnTo>
                    <a:pt x="21335" y="62483"/>
                  </a:lnTo>
                  <a:lnTo>
                    <a:pt x="21335" y="85343"/>
                  </a:lnTo>
                  <a:lnTo>
                    <a:pt x="33527" y="117347"/>
                  </a:lnTo>
                  <a:lnTo>
                    <a:pt x="41135" y="123443"/>
                  </a:lnTo>
                  <a:lnTo>
                    <a:pt x="41135" y="137159"/>
                  </a:lnTo>
                  <a:lnTo>
                    <a:pt x="60947" y="137159"/>
                  </a:lnTo>
                  <a:lnTo>
                    <a:pt x="51803" y="112775"/>
                  </a:lnTo>
                  <a:lnTo>
                    <a:pt x="36575" y="88391"/>
                  </a:lnTo>
                  <a:lnTo>
                    <a:pt x="38099" y="65531"/>
                  </a:lnTo>
                  <a:lnTo>
                    <a:pt x="16763" y="41147"/>
                  </a:lnTo>
                  <a:lnTo>
                    <a:pt x="9143" y="213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ACD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1154085" y="3892478"/>
              <a:ext cx="1290955" cy="200025"/>
            </a:xfrm>
            <a:custGeom>
              <a:avLst/>
              <a:gdLst/>
              <a:ahLst/>
              <a:cxnLst/>
              <a:rect l="l" t="t" r="r" b="b"/>
              <a:pathLst>
                <a:path w="1290955" h="200025">
                  <a:moveTo>
                    <a:pt x="0" y="199643"/>
                  </a:moveTo>
                  <a:lnTo>
                    <a:pt x="1290721" y="199643"/>
                  </a:lnTo>
                  <a:lnTo>
                    <a:pt x="1290721" y="0"/>
                  </a:lnTo>
                  <a:lnTo>
                    <a:pt x="0" y="0"/>
                  </a:lnTo>
                  <a:lnTo>
                    <a:pt x="0" y="199643"/>
                  </a:lnTo>
                  <a:close/>
                </a:path>
              </a:pathLst>
            </a:custGeom>
            <a:solidFill>
              <a:srgbClr val="00659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1673733" y="3892479"/>
              <a:ext cx="612140" cy="152400"/>
            </a:xfrm>
            <a:custGeom>
              <a:avLst/>
              <a:gdLst/>
              <a:ahLst/>
              <a:cxnLst/>
              <a:rect l="l" t="t" r="r" b="b"/>
              <a:pathLst>
                <a:path w="612139" h="152400">
                  <a:moveTo>
                    <a:pt x="612139" y="0"/>
                  </a:moveTo>
                  <a:lnTo>
                    <a:pt x="38028" y="0"/>
                  </a:lnTo>
                  <a:lnTo>
                    <a:pt x="21335" y="13715"/>
                  </a:lnTo>
                  <a:lnTo>
                    <a:pt x="0" y="41147"/>
                  </a:lnTo>
                  <a:lnTo>
                    <a:pt x="4571" y="71627"/>
                  </a:lnTo>
                  <a:lnTo>
                    <a:pt x="39611" y="71627"/>
                  </a:lnTo>
                  <a:lnTo>
                    <a:pt x="68567" y="94487"/>
                  </a:lnTo>
                  <a:lnTo>
                    <a:pt x="131051" y="79247"/>
                  </a:lnTo>
                  <a:lnTo>
                    <a:pt x="140195" y="48767"/>
                  </a:lnTo>
                  <a:lnTo>
                    <a:pt x="158483" y="44195"/>
                  </a:lnTo>
                  <a:lnTo>
                    <a:pt x="158483" y="16763"/>
                  </a:lnTo>
                  <a:lnTo>
                    <a:pt x="179807" y="21335"/>
                  </a:lnTo>
                  <a:lnTo>
                    <a:pt x="210287" y="16763"/>
                  </a:lnTo>
                  <a:lnTo>
                    <a:pt x="187427" y="68579"/>
                  </a:lnTo>
                  <a:lnTo>
                    <a:pt x="182855" y="152399"/>
                  </a:lnTo>
                  <a:lnTo>
                    <a:pt x="582119" y="147827"/>
                  </a:lnTo>
                  <a:lnTo>
                    <a:pt x="574499" y="85343"/>
                  </a:lnTo>
                  <a:lnTo>
                    <a:pt x="595835" y="25907"/>
                  </a:lnTo>
                  <a:lnTo>
                    <a:pt x="612139" y="0"/>
                  </a:lnTo>
                  <a:close/>
                </a:path>
              </a:pathLst>
            </a:custGeom>
            <a:solidFill>
              <a:srgbClr val="00000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2030312" y="3892478"/>
              <a:ext cx="96012" cy="156971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1861160" y="3892478"/>
              <a:ext cx="100584" cy="147827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1673733" y="3892478"/>
              <a:ext cx="83820" cy="48895"/>
            </a:xfrm>
            <a:custGeom>
              <a:avLst/>
              <a:gdLst/>
              <a:ahLst/>
              <a:cxnLst/>
              <a:rect l="l" t="t" r="r" b="b"/>
              <a:pathLst>
                <a:path w="83819" h="48895">
                  <a:moveTo>
                    <a:pt x="51040" y="0"/>
                  </a:moveTo>
                  <a:lnTo>
                    <a:pt x="31055" y="0"/>
                  </a:lnTo>
                  <a:lnTo>
                    <a:pt x="9144" y="16763"/>
                  </a:lnTo>
                  <a:lnTo>
                    <a:pt x="0" y="39623"/>
                  </a:lnTo>
                  <a:lnTo>
                    <a:pt x="19812" y="36575"/>
                  </a:lnTo>
                  <a:lnTo>
                    <a:pt x="35039" y="16763"/>
                  </a:lnTo>
                  <a:lnTo>
                    <a:pt x="41135" y="1523"/>
                  </a:lnTo>
                  <a:lnTo>
                    <a:pt x="51040" y="0"/>
                  </a:lnTo>
                  <a:close/>
                </a:path>
                <a:path w="83819" h="48895">
                  <a:moveTo>
                    <a:pt x="83668" y="0"/>
                  </a:moveTo>
                  <a:lnTo>
                    <a:pt x="60566" y="0"/>
                  </a:lnTo>
                  <a:lnTo>
                    <a:pt x="56375" y="16763"/>
                  </a:lnTo>
                  <a:lnTo>
                    <a:pt x="56375" y="32003"/>
                  </a:lnTo>
                  <a:lnTo>
                    <a:pt x="77711" y="48767"/>
                  </a:lnTo>
                  <a:lnTo>
                    <a:pt x="82283" y="36575"/>
                  </a:lnTo>
                  <a:lnTo>
                    <a:pt x="70091" y="30479"/>
                  </a:lnTo>
                  <a:lnTo>
                    <a:pt x="70091" y="10667"/>
                  </a:lnTo>
                  <a:lnTo>
                    <a:pt x="83668" y="0"/>
                  </a:lnTo>
                  <a:close/>
                </a:path>
              </a:pathLst>
            </a:custGeom>
            <a:solidFill>
              <a:srgbClr val="43C0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1154085" y="4011350"/>
              <a:ext cx="1290955" cy="186055"/>
            </a:xfrm>
            <a:custGeom>
              <a:avLst/>
              <a:gdLst/>
              <a:ahLst/>
              <a:cxnLst/>
              <a:rect l="l" t="t" r="r" b="b"/>
              <a:pathLst>
                <a:path w="1290955" h="186054">
                  <a:moveTo>
                    <a:pt x="0" y="0"/>
                  </a:moveTo>
                  <a:lnTo>
                    <a:pt x="0" y="185897"/>
                  </a:lnTo>
                  <a:lnTo>
                    <a:pt x="1290721" y="185897"/>
                  </a:lnTo>
                  <a:lnTo>
                    <a:pt x="1290721" y="15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E2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1187613" y="4015922"/>
              <a:ext cx="1170940" cy="30480"/>
            </a:xfrm>
            <a:custGeom>
              <a:avLst/>
              <a:gdLst/>
              <a:ahLst/>
              <a:cxnLst/>
              <a:rect l="l" t="t" r="r" b="b"/>
              <a:pathLst>
                <a:path w="1170939" h="30479">
                  <a:moveTo>
                    <a:pt x="1170337" y="0"/>
                  </a:moveTo>
                  <a:lnTo>
                    <a:pt x="0" y="0"/>
                  </a:lnTo>
                  <a:lnTo>
                    <a:pt x="0" y="30479"/>
                  </a:lnTo>
                  <a:lnTo>
                    <a:pt x="1170337" y="30479"/>
                  </a:lnTo>
                  <a:lnTo>
                    <a:pt x="1170337" y="0"/>
                  </a:lnTo>
                  <a:close/>
                </a:path>
              </a:pathLst>
            </a:custGeom>
            <a:solidFill>
              <a:srgbClr val="279DE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1318665" y="4015922"/>
              <a:ext cx="483234" cy="17145"/>
            </a:xfrm>
            <a:custGeom>
              <a:avLst/>
              <a:gdLst/>
              <a:ahLst/>
              <a:cxnLst/>
              <a:rect l="l" t="t" r="r" b="b"/>
              <a:pathLst>
                <a:path w="483235" h="17145">
                  <a:moveTo>
                    <a:pt x="483071" y="0"/>
                  </a:moveTo>
                  <a:lnTo>
                    <a:pt x="0" y="0"/>
                  </a:lnTo>
                  <a:lnTo>
                    <a:pt x="33527" y="16763"/>
                  </a:lnTo>
                  <a:lnTo>
                    <a:pt x="400775" y="16763"/>
                  </a:lnTo>
                  <a:lnTo>
                    <a:pt x="483071" y="0"/>
                  </a:lnTo>
                  <a:close/>
                </a:path>
              </a:pathLst>
            </a:custGeom>
            <a:solidFill>
              <a:srgbClr val="43C0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1224189" y="3892478"/>
              <a:ext cx="417830" cy="271780"/>
            </a:xfrm>
            <a:custGeom>
              <a:avLst/>
              <a:gdLst/>
              <a:ahLst/>
              <a:cxnLst/>
              <a:rect l="l" t="t" r="r" b="b"/>
              <a:pathLst>
                <a:path w="417830" h="271779">
                  <a:moveTo>
                    <a:pt x="301727" y="211835"/>
                  </a:moveTo>
                  <a:lnTo>
                    <a:pt x="230099" y="211835"/>
                  </a:lnTo>
                  <a:lnTo>
                    <a:pt x="262103" y="271241"/>
                  </a:lnTo>
                  <a:lnTo>
                    <a:pt x="301727" y="271241"/>
                  </a:lnTo>
                  <a:lnTo>
                    <a:pt x="301727" y="211835"/>
                  </a:lnTo>
                  <a:close/>
                </a:path>
                <a:path w="417830" h="271779">
                  <a:moveTo>
                    <a:pt x="301727" y="192023"/>
                  </a:moveTo>
                  <a:lnTo>
                    <a:pt x="161531" y="192023"/>
                  </a:lnTo>
                  <a:lnTo>
                    <a:pt x="161531" y="248381"/>
                  </a:lnTo>
                  <a:lnTo>
                    <a:pt x="205715" y="219455"/>
                  </a:lnTo>
                  <a:lnTo>
                    <a:pt x="226921" y="219455"/>
                  </a:lnTo>
                  <a:lnTo>
                    <a:pt x="230099" y="211835"/>
                  </a:lnTo>
                  <a:lnTo>
                    <a:pt x="301727" y="211835"/>
                  </a:lnTo>
                  <a:lnTo>
                    <a:pt x="301727" y="192023"/>
                  </a:lnTo>
                  <a:close/>
                </a:path>
                <a:path w="417830" h="271779">
                  <a:moveTo>
                    <a:pt x="226921" y="219455"/>
                  </a:moveTo>
                  <a:lnTo>
                    <a:pt x="205715" y="219455"/>
                  </a:lnTo>
                  <a:lnTo>
                    <a:pt x="214859" y="248381"/>
                  </a:lnTo>
                  <a:lnTo>
                    <a:pt x="226921" y="219455"/>
                  </a:lnTo>
                  <a:close/>
                </a:path>
                <a:path w="417830" h="271779">
                  <a:moveTo>
                    <a:pt x="349438" y="188975"/>
                  </a:moveTo>
                  <a:lnTo>
                    <a:pt x="301727" y="188975"/>
                  </a:lnTo>
                  <a:lnTo>
                    <a:pt x="359627" y="228599"/>
                  </a:lnTo>
                  <a:lnTo>
                    <a:pt x="349438" y="188975"/>
                  </a:lnTo>
                  <a:close/>
                </a:path>
                <a:path w="417830" h="271779">
                  <a:moveTo>
                    <a:pt x="16764" y="68579"/>
                  </a:moveTo>
                  <a:lnTo>
                    <a:pt x="48755" y="112775"/>
                  </a:lnTo>
                  <a:lnTo>
                    <a:pt x="118859" y="115823"/>
                  </a:lnTo>
                  <a:lnTo>
                    <a:pt x="33528" y="184403"/>
                  </a:lnTo>
                  <a:lnTo>
                    <a:pt x="0" y="224027"/>
                  </a:lnTo>
                  <a:lnTo>
                    <a:pt x="115811" y="208787"/>
                  </a:lnTo>
                  <a:lnTo>
                    <a:pt x="161531" y="192023"/>
                  </a:lnTo>
                  <a:lnTo>
                    <a:pt x="301727" y="192023"/>
                  </a:lnTo>
                  <a:lnTo>
                    <a:pt x="301727" y="188975"/>
                  </a:lnTo>
                  <a:lnTo>
                    <a:pt x="349438" y="188975"/>
                  </a:lnTo>
                  <a:lnTo>
                    <a:pt x="345911" y="175259"/>
                  </a:lnTo>
                  <a:lnTo>
                    <a:pt x="297155" y="128015"/>
                  </a:lnTo>
                  <a:lnTo>
                    <a:pt x="371819" y="128015"/>
                  </a:lnTo>
                  <a:lnTo>
                    <a:pt x="408395" y="112775"/>
                  </a:lnTo>
                  <a:lnTo>
                    <a:pt x="388583" y="88391"/>
                  </a:lnTo>
                  <a:lnTo>
                    <a:pt x="380377" y="80771"/>
                  </a:lnTo>
                  <a:lnTo>
                    <a:pt x="65519" y="80771"/>
                  </a:lnTo>
                  <a:lnTo>
                    <a:pt x="16764" y="68579"/>
                  </a:lnTo>
                  <a:close/>
                </a:path>
                <a:path w="417830" h="271779">
                  <a:moveTo>
                    <a:pt x="376393" y="0"/>
                  </a:moveTo>
                  <a:lnTo>
                    <a:pt x="27108" y="0"/>
                  </a:lnTo>
                  <a:lnTo>
                    <a:pt x="28956" y="24383"/>
                  </a:lnTo>
                  <a:lnTo>
                    <a:pt x="65519" y="80771"/>
                  </a:lnTo>
                  <a:lnTo>
                    <a:pt x="380377" y="80771"/>
                  </a:lnTo>
                  <a:lnTo>
                    <a:pt x="367247" y="68579"/>
                  </a:lnTo>
                  <a:lnTo>
                    <a:pt x="417539" y="44195"/>
                  </a:lnTo>
                  <a:lnTo>
                    <a:pt x="417539" y="4571"/>
                  </a:lnTo>
                  <a:lnTo>
                    <a:pt x="376393" y="0"/>
                  </a:lnTo>
                  <a:close/>
                </a:path>
              </a:pathLst>
            </a:custGeom>
            <a:solidFill>
              <a:srgbClr val="279DE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1294281" y="3892478"/>
              <a:ext cx="276225" cy="172720"/>
            </a:xfrm>
            <a:custGeom>
              <a:avLst/>
              <a:gdLst/>
              <a:ahLst/>
              <a:cxnLst/>
              <a:rect l="l" t="t" r="r" b="b"/>
              <a:pathLst>
                <a:path w="276225" h="172720">
                  <a:moveTo>
                    <a:pt x="147815" y="128015"/>
                  </a:moveTo>
                  <a:lnTo>
                    <a:pt x="123431" y="128015"/>
                  </a:lnTo>
                  <a:lnTo>
                    <a:pt x="123431" y="172211"/>
                  </a:lnTo>
                  <a:lnTo>
                    <a:pt x="147815" y="152399"/>
                  </a:lnTo>
                  <a:lnTo>
                    <a:pt x="147815" y="128015"/>
                  </a:lnTo>
                  <a:close/>
                </a:path>
                <a:path w="276225" h="172720">
                  <a:moveTo>
                    <a:pt x="16764" y="12191"/>
                  </a:moveTo>
                  <a:lnTo>
                    <a:pt x="62484" y="64007"/>
                  </a:lnTo>
                  <a:lnTo>
                    <a:pt x="0" y="80771"/>
                  </a:lnTo>
                  <a:lnTo>
                    <a:pt x="91440" y="120395"/>
                  </a:lnTo>
                  <a:lnTo>
                    <a:pt x="48768" y="167639"/>
                  </a:lnTo>
                  <a:lnTo>
                    <a:pt x="82296" y="164591"/>
                  </a:lnTo>
                  <a:lnTo>
                    <a:pt x="123431" y="128015"/>
                  </a:lnTo>
                  <a:lnTo>
                    <a:pt x="147815" y="128015"/>
                  </a:lnTo>
                  <a:lnTo>
                    <a:pt x="147815" y="112775"/>
                  </a:lnTo>
                  <a:lnTo>
                    <a:pt x="229894" y="112775"/>
                  </a:lnTo>
                  <a:lnTo>
                    <a:pt x="251447" y="96011"/>
                  </a:lnTo>
                  <a:lnTo>
                    <a:pt x="275819" y="88391"/>
                  </a:lnTo>
                  <a:lnTo>
                    <a:pt x="251447" y="71627"/>
                  </a:lnTo>
                  <a:lnTo>
                    <a:pt x="259649" y="56387"/>
                  </a:lnTo>
                  <a:lnTo>
                    <a:pt x="222491" y="56387"/>
                  </a:lnTo>
                  <a:lnTo>
                    <a:pt x="240990" y="32003"/>
                  </a:lnTo>
                  <a:lnTo>
                    <a:pt x="103632" y="32003"/>
                  </a:lnTo>
                  <a:lnTo>
                    <a:pt x="93315" y="19811"/>
                  </a:lnTo>
                  <a:lnTo>
                    <a:pt x="53340" y="19811"/>
                  </a:lnTo>
                  <a:lnTo>
                    <a:pt x="16764" y="12191"/>
                  </a:lnTo>
                  <a:close/>
                </a:path>
                <a:path w="276225" h="172720">
                  <a:moveTo>
                    <a:pt x="229894" y="112775"/>
                  </a:moveTo>
                  <a:lnTo>
                    <a:pt x="147815" y="112775"/>
                  </a:lnTo>
                  <a:lnTo>
                    <a:pt x="178295" y="155447"/>
                  </a:lnTo>
                  <a:lnTo>
                    <a:pt x="214871" y="167639"/>
                  </a:lnTo>
                  <a:lnTo>
                    <a:pt x="198107" y="128015"/>
                  </a:lnTo>
                  <a:lnTo>
                    <a:pt x="224015" y="117347"/>
                  </a:lnTo>
                  <a:lnTo>
                    <a:pt x="229894" y="112775"/>
                  </a:lnTo>
                  <a:close/>
                </a:path>
                <a:path w="276225" h="172720">
                  <a:moveTo>
                    <a:pt x="272771" y="32003"/>
                  </a:moveTo>
                  <a:lnTo>
                    <a:pt x="222491" y="56387"/>
                  </a:lnTo>
                  <a:lnTo>
                    <a:pt x="259649" y="56387"/>
                  </a:lnTo>
                  <a:lnTo>
                    <a:pt x="272771" y="32003"/>
                  </a:lnTo>
                  <a:close/>
                </a:path>
                <a:path w="276225" h="172720">
                  <a:moveTo>
                    <a:pt x="217919" y="0"/>
                  </a:moveTo>
                  <a:lnTo>
                    <a:pt x="106414" y="0"/>
                  </a:lnTo>
                  <a:lnTo>
                    <a:pt x="103632" y="32003"/>
                  </a:lnTo>
                  <a:lnTo>
                    <a:pt x="240990" y="32003"/>
                  </a:lnTo>
                  <a:lnTo>
                    <a:pt x="256019" y="12191"/>
                  </a:lnTo>
                  <a:lnTo>
                    <a:pt x="256019" y="7619"/>
                  </a:lnTo>
                  <a:lnTo>
                    <a:pt x="217919" y="7619"/>
                  </a:lnTo>
                  <a:lnTo>
                    <a:pt x="217919" y="0"/>
                  </a:lnTo>
                  <a:close/>
                </a:path>
                <a:path w="276225" h="172720">
                  <a:moveTo>
                    <a:pt x="76551" y="0"/>
                  </a:moveTo>
                  <a:lnTo>
                    <a:pt x="53340" y="0"/>
                  </a:lnTo>
                  <a:lnTo>
                    <a:pt x="53340" y="19811"/>
                  </a:lnTo>
                  <a:lnTo>
                    <a:pt x="93315" y="19811"/>
                  </a:lnTo>
                  <a:lnTo>
                    <a:pt x="76551" y="0"/>
                  </a:lnTo>
                  <a:close/>
                </a:path>
                <a:path w="276225" h="172720">
                  <a:moveTo>
                    <a:pt x="256019" y="0"/>
                  </a:moveTo>
                  <a:lnTo>
                    <a:pt x="230619" y="0"/>
                  </a:lnTo>
                  <a:lnTo>
                    <a:pt x="217919" y="7619"/>
                  </a:lnTo>
                  <a:lnTo>
                    <a:pt x="256019" y="7619"/>
                  </a:lnTo>
                  <a:lnTo>
                    <a:pt x="256019" y="0"/>
                  </a:lnTo>
                  <a:close/>
                </a:path>
              </a:pathLst>
            </a:custGeom>
            <a:solidFill>
              <a:srgbClr val="43C0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1375053" y="3892478"/>
              <a:ext cx="355055" cy="150875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1157122" y="4014406"/>
              <a:ext cx="1287780" cy="33655"/>
            </a:xfrm>
            <a:custGeom>
              <a:avLst/>
              <a:gdLst/>
              <a:ahLst/>
              <a:cxnLst/>
              <a:rect l="l" t="t" r="r" b="b"/>
              <a:pathLst>
                <a:path w="1287780" h="33654">
                  <a:moveTo>
                    <a:pt x="103632" y="0"/>
                  </a:moveTo>
                  <a:lnTo>
                    <a:pt x="0" y="0"/>
                  </a:lnTo>
                  <a:lnTo>
                    <a:pt x="0" y="33528"/>
                  </a:lnTo>
                  <a:lnTo>
                    <a:pt x="103632" y="33528"/>
                  </a:lnTo>
                  <a:lnTo>
                    <a:pt x="103632" y="0"/>
                  </a:lnTo>
                  <a:close/>
                </a:path>
                <a:path w="1287780" h="33654">
                  <a:moveTo>
                    <a:pt x="1287678" y="1524"/>
                  </a:moveTo>
                  <a:lnTo>
                    <a:pt x="950912" y="1524"/>
                  </a:lnTo>
                  <a:lnTo>
                    <a:pt x="950912" y="32004"/>
                  </a:lnTo>
                  <a:lnTo>
                    <a:pt x="1287678" y="32004"/>
                  </a:lnTo>
                  <a:lnTo>
                    <a:pt x="1287678" y="1524"/>
                  </a:lnTo>
                  <a:close/>
                </a:path>
              </a:pathLst>
            </a:custGeom>
            <a:solidFill>
              <a:srgbClr val="067AB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1580769" y="3996118"/>
              <a:ext cx="201295" cy="134620"/>
            </a:xfrm>
            <a:custGeom>
              <a:avLst/>
              <a:gdLst/>
              <a:ahLst/>
              <a:cxnLst/>
              <a:rect l="l" t="t" r="r" b="b"/>
              <a:pathLst>
                <a:path w="201294" h="134620">
                  <a:moveTo>
                    <a:pt x="181343" y="134073"/>
                  </a:moveTo>
                  <a:lnTo>
                    <a:pt x="153911" y="111252"/>
                  </a:lnTo>
                  <a:lnTo>
                    <a:pt x="153911" y="134073"/>
                  </a:lnTo>
                  <a:lnTo>
                    <a:pt x="181343" y="134073"/>
                  </a:lnTo>
                  <a:close/>
                </a:path>
                <a:path w="201294" h="134620">
                  <a:moveTo>
                    <a:pt x="201155" y="89916"/>
                  </a:moveTo>
                  <a:lnTo>
                    <a:pt x="0" y="0"/>
                  </a:lnTo>
                  <a:lnTo>
                    <a:pt x="15240" y="15240"/>
                  </a:lnTo>
                  <a:lnTo>
                    <a:pt x="140195" y="65532"/>
                  </a:lnTo>
                  <a:lnTo>
                    <a:pt x="201155" y="89916"/>
                  </a:lnTo>
                  <a:close/>
                </a:path>
              </a:pathLst>
            </a:custGeom>
            <a:solidFill>
              <a:srgbClr val="86F7F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1564005" y="4153052"/>
              <a:ext cx="27940" cy="30480"/>
            </a:xfrm>
            <a:custGeom>
              <a:avLst/>
              <a:gdLst/>
              <a:ahLst/>
              <a:cxnLst/>
              <a:rect l="l" t="t" r="r" b="b"/>
              <a:pathLst>
                <a:path w="27940" h="30479">
                  <a:moveTo>
                    <a:pt x="0" y="0"/>
                  </a:moveTo>
                  <a:lnTo>
                    <a:pt x="0" y="30479"/>
                  </a:lnTo>
                  <a:lnTo>
                    <a:pt x="27431" y="3047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3C0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5" name="object 35"/>
          <p:cNvGrpSpPr/>
          <p:nvPr/>
        </p:nvGrpSpPr>
        <p:grpSpPr>
          <a:xfrm>
            <a:off x="7206905" y="3063514"/>
            <a:ext cx="1333500" cy="1177925"/>
            <a:chOff x="7206905" y="3063514"/>
            <a:chExt cx="1333500" cy="1177925"/>
          </a:xfrm>
        </p:grpSpPr>
        <p:sp>
          <p:nvSpPr>
            <p:cNvPr id="36" name="object 36"/>
            <p:cNvSpPr/>
            <p:nvPr/>
          </p:nvSpPr>
          <p:spPr>
            <a:xfrm>
              <a:off x="7206905" y="3063514"/>
              <a:ext cx="1333408" cy="828964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7"/>
            <p:cNvSpPr/>
            <p:nvPr/>
          </p:nvSpPr>
          <p:spPr>
            <a:xfrm>
              <a:off x="7268557" y="3892478"/>
              <a:ext cx="1265659" cy="348965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8" name="object 38"/>
          <p:cNvSpPr/>
          <p:nvPr/>
        </p:nvSpPr>
        <p:spPr>
          <a:xfrm>
            <a:off x="5568756" y="3068086"/>
            <a:ext cx="1202314" cy="111697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9" name="object 39"/>
          <p:cNvGrpSpPr/>
          <p:nvPr/>
        </p:nvGrpSpPr>
        <p:grpSpPr>
          <a:xfrm>
            <a:off x="2749582" y="3209878"/>
            <a:ext cx="990600" cy="987425"/>
            <a:chOff x="2749582" y="3209878"/>
            <a:chExt cx="990600" cy="987425"/>
          </a:xfrm>
        </p:grpSpPr>
        <p:sp>
          <p:nvSpPr>
            <p:cNvPr id="40" name="object 40"/>
            <p:cNvSpPr/>
            <p:nvPr/>
          </p:nvSpPr>
          <p:spPr>
            <a:xfrm>
              <a:off x="2749582" y="3209878"/>
              <a:ext cx="990526" cy="682600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/>
            <p:cNvSpPr/>
            <p:nvPr/>
          </p:nvSpPr>
          <p:spPr>
            <a:xfrm>
              <a:off x="2749582" y="3892478"/>
              <a:ext cx="838200" cy="304800"/>
            </a:xfrm>
            <a:custGeom>
              <a:avLst/>
              <a:gdLst/>
              <a:ahLst/>
              <a:cxnLst/>
              <a:rect l="l" t="t" r="r" b="b"/>
              <a:pathLst>
                <a:path w="838200" h="304800">
                  <a:moveTo>
                    <a:pt x="838127" y="0"/>
                  </a:moveTo>
                  <a:lnTo>
                    <a:pt x="0" y="0"/>
                  </a:lnTo>
                  <a:lnTo>
                    <a:pt x="0" y="304769"/>
                  </a:lnTo>
                  <a:lnTo>
                    <a:pt x="141828" y="304769"/>
                  </a:lnTo>
                  <a:lnTo>
                    <a:pt x="838127" y="252953"/>
                  </a:lnTo>
                  <a:lnTo>
                    <a:pt x="838127" y="0"/>
                  </a:lnTo>
                  <a:close/>
                </a:path>
              </a:pathLst>
            </a:custGeom>
            <a:solidFill>
              <a:srgbClr val="B1D1B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2757202" y="3892478"/>
              <a:ext cx="821690" cy="304800"/>
            </a:xfrm>
            <a:custGeom>
              <a:avLst/>
              <a:gdLst/>
              <a:ahLst/>
              <a:cxnLst/>
              <a:rect l="l" t="t" r="r" b="b"/>
              <a:pathLst>
                <a:path w="821689" h="304800">
                  <a:moveTo>
                    <a:pt x="821362" y="0"/>
                  </a:moveTo>
                  <a:lnTo>
                    <a:pt x="0" y="0"/>
                  </a:lnTo>
                  <a:lnTo>
                    <a:pt x="0" y="304769"/>
                  </a:lnTo>
                  <a:lnTo>
                    <a:pt x="41065" y="304769"/>
                  </a:lnTo>
                  <a:lnTo>
                    <a:pt x="821362" y="246857"/>
                  </a:lnTo>
                  <a:lnTo>
                    <a:pt x="82136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3"/>
            <p:cNvSpPr/>
            <p:nvPr/>
          </p:nvSpPr>
          <p:spPr>
            <a:xfrm>
              <a:off x="2769394" y="3892479"/>
              <a:ext cx="797560" cy="295910"/>
            </a:xfrm>
            <a:custGeom>
              <a:avLst/>
              <a:gdLst/>
              <a:ahLst/>
              <a:cxnLst/>
              <a:rect l="l" t="t" r="r" b="b"/>
              <a:pathLst>
                <a:path w="797560" h="295910">
                  <a:moveTo>
                    <a:pt x="796978" y="0"/>
                  </a:moveTo>
                  <a:lnTo>
                    <a:pt x="0" y="0"/>
                  </a:lnTo>
                  <a:lnTo>
                    <a:pt x="0" y="295625"/>
                  </a:lnTo>
                  <a:lnTo>
                    <a:pt x="796978" y="237713"/>
                  </a:lnTo>
                  <a:lnTo>
                    <a:pt x="796978" y="0"/>
                  </a:lnTo>
                  <a:close/>
                </a:path>
              </a:pathLst>
            </a:custGeom>
            <a:solidFill>
              <a:srgbClr val="B1D1B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4"/>
            <p:cNvSpPr/>
            <p:nvPr/>
          </p:nvSpPr>
          <p:spPr>
            <a:xfrm>
              <a:off x="2783110" y="3892478"/>
              <a:ext cx="771525" cy="287020"/>
            </a:xfrm>
            <a:custGeom>
              <a:avLst/>
              <a:gdLst/>
              <a:ahLst/>
              <a:cxnLst/>
              <a:rect l="l" t="t" r="r" b="b"/>
              <a:pathLst>
                <a:path w="771525" h="287020">
                  <a:moveTo>
                    <a:pt x="771070" y="0"/>
                  </a:moveTo>
                  <a:lnTo>
                    <a:pt x="0" y="0"/>
                  </a:lnTo>
                  <a:lnTo>
                    <a:pt x="0" y="286481"/>
                  </a:lnTo>
                  <a:lnTo>
                    <a:pt x="771070" y="230123"/>
                  </a:lnTo>
                  <a:lnTo>
                    <a:pt x="7710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45"/>
            <p:cNvSpPr/>
            <p:nvPr/>
          </p:nvSpPr>
          <p:spPr>
            <a:xfrm>
              <a:off x="2798343" y="3892486"/>
              <a:ext cx="734695" cy="273050"/>
            </a:xfrm>
            <a:custGeom>
              <a:avLst/>
              <a:gdLst/>
              <a:ahLst/>
              <a:cxnLst/>
              <a:rect l="l" t="t" r="r" b="b"/>
              <a:pathLst>
                <a:path w="734695" h="273050">
                  <a:moveTo>
                    <a:pt x="734491" y="0"/>
                  </a:moveTo>
                  <a:lnTo>
                    <a:pt x="0" y="0"/>
                  </a:lnTo>
                  <a:lnTo>
                    <a:pt x="0" y="272757"/>
                  </a:lnTo>
                  <a:lnTo>
                    <a:pt x="734491" y="217932"/>
                  </a:lnTo>
                  <a:lnTo>
                    <a:pt x="734491" y="0"/>
                  </a:lnTo>
                  <a:close/>
                </a:path>
              </a:pathLst>
            </a:custGeom>
            <a:solidFill>
              <a:srgbClr val="B1D1B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6"/>
            <p:cNvSpPr/>
            <p:nvPr/>
          </p:nvSpPr>
          <p:spPr>
            <a:xfrm>
              <a:off x="2798350" y="3892478"/>
              <a:ext cx="734695" cy="273050"/>
            </a:xfrm>
            <a:custGeom>
              <a:avLst/>
              <a:gdLst/>
              <a:ahLst/>
              <a:cxnLst/>
              <a:rect l="l" t="t" r="r" b="b"/>
              <a:pathLst>
                <a:path w="734695" h="273050">
                  <a:moveTo>
                    <a:pt x="621718" y="0"/>
                  </a:moveTo>
                  <a:lnTo>
                    <a:pt x="568705" y="0"/>
                  </a:lnTo>
                  <a:lnTo>
                    <a:pt x="548597" y="16763"/>
                  </a:lnTo>
                  <a:lnTo>
                    <a:pt x="100571" y="16763"/>
                  </a:lnTo>
                  <a:lnTo>
                    <a:pt x="100571" y="83819"/>
                  </a:lnTo>
                  <a:lnTo>
                    <a:pt x="0" y="83819"/>
                  </a:lnTo>
                  <a:lnTo>
                    <a:pt x="0" y="272765"/>
                  </a:lnTo>
                  <a:lnTo>
                    <a:pt x="734494" y="217931"/>
                  </a:lnTo>
                  <a:lnTo>
                    <a:pt x="734494" y="57911"/>
                  </a:lnTo>
                  <a:lnTo>
                    <a:pt x="621718" y="57911"/>
                  </a:lnTo>
                  <a:lnTo>
                    <a:pt x="621718" y="0"/>
                  </a:lnTo>
                  <a:close/>
                </a:path>
                <a:path w="734695" h="273050">
                  <a:moveTo>
                    <a:pt x="245629" y="0"/>
                  </a:moveTo>
                  <a:lnTo>
                    <a:pt x="148759" y="0"/>
                  </a:lnTo>
                  <a:lnTo>
                    <a:pt x="147815" y="16763"/>
                  </a:lnTo>
                  <a:lnTo>
                    <a:pt x="246863" y="16763"/>
                  </a:lnTo>
                  <a:lnTo>
                    <a:pt x="245629" y="0"/>
                  </a:lnTo>
                  <a:close/>
                </a:path>
                <a:path w="734695" h="273050">
                  <a:moveTo>
                    <a:pt x="368765" y="0"/>
                  </a:moveTo>
                  <a:lnTo>
                    <a:pt x="273949" y="0"/>
                  </a:lnTo>
                  <a:lnTo>
                    <a:pt x="272783" y="16763"/>
                  </a:lnTo>
                  <a:lnTo>
                    <a:pt x="370289" y="16763"/>
                  </a:lnTo>
                  <a:lnTo>
                    <a:pt x="368765" y="0"/>
                  </a:lnTo>
                  <a:close/>
                </a:path>
                <a:path w="734695" h="273050">
                  <a:moveTo>
                    <a:pt x="467825" y="0"/>
                  </a:moveTo>
                  <a:lnTo>
                    <a:pt x="414789" y="0"/>
                  </a:lnTo>
                  <a:lnTo>
                    <a:pt x="394673" y="16763"/>
                  </a:lnTo>
                  <a:lnTo>
                    <a:pt x="467825" y="16763"/>
                  </a:lnTo>
                  <a:lnTo>
                    <a:pt x="467825" y="0"/>
                  </a:lnTo>
                  <a:close/>
                </a:path>
                <a:path w="734695" h="273050">
                  <a:moveTo>
                    <a:pt x="547073" y="0"/>
                  </a:moveTo>
                  <a:lnTo>
                    <a:pt x="494037" y="0"/>
                  </a:lnTo>
                  <a:lnTo>
                    <a:pt x="473921" y="16763"/>
                  </a:lnTo>
                  <a:lnTo>
                    <a:pt x="547073" y="16763"/>
                  </a:lnTo>
                  <a:lnTo>
                    <a:pt x="547073" y="0"/>
                  </a:lnTo>
                  <a:close/>
                </a:path>
              </a:pathLst>
            </a:custGeom>
            <a:solidFill>
              <a:srgbClr val="0000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7"/>
            <p:cNvSpPr/>
            <p:nvPr/>
          </p:nvSpPr>
          <p:spPr>
            <a:xfrm>
              <a:off x="2798343" y="3892486"/>
              <a:ext cx="734695" cy="220979"/>
            </a:xfrm>
            <a:custGeom>
              <a:avLst/>
              <a:gdLst/>
              <a:ahLst/>
              <a:cxnLst/>
              <a:rect l="l" t="t" r="r" b="b"/>
              <a:pathLst>
                <a:path w="734695" h="220979">
                  <a:moveTo>
                    <a:pt x="100571" y="83832"/>
                  </a:moveTo>
                  <a:lnTo>
                    <a:pt x="0" y="83832"/>
                  </a:lnTo>
                  <a:lnTo>
                    <a:pt x="0" y="96012"/>
                  </a:lnTo>
                  <a:lnTo>
                    <a:pt x="100571" y="96012"/>
                  </a:lnTo>
                  <a:lnTo>
                    <a:pt x="100571" y="83832"/>
                  </a:lnTo>
                  <a:close/>
                </a:path>
                <a:path w="734695" h="220979">
                  <a:moveTo>
                    <a:pt x="112763" y="192024"/>
                  </a:moveTo>
                  <a:lnTo>
                    <a:pt x="89903" y="192024"/>
                  </a:lnTo>
                  <a:lnTo>
                    <a:pt x="89903" y="220980"/>
                  </a:lnTo>
                  <a:lnTo>
                    <a:pt x="112763" y="220980"/>
                  </a:lnTo>
                  <a:lnTo>
                    <a:pt x="112763" y="192024"/>
                  </a:lnTo>
                  <a:close/>
                </a:path>
                <a:path w="734695" h="220979">
                  <a:moveTo>
                    <a:pt x="144767" y="16764"/>
                  </a:moveTo>
                  <a:lnTo>
                    <a:pt x="100571" y="16764"/>
                  </a:lnTo>
                  <a:lnTo>
                    <a:pt x="100571" y="28956"/>
                  </a:lnTo>
                  <a:lnTo>
                    <a:pt x="144767" y="28956"/>
                  </a:lnTo>
                  <a:lnTo>
                    <a:pt x="144767" y="16764"/>
                  </a:lnTo>
                  <a:close/>
                </a:path>
                <a:path w="734695" h="220979">
                  <a:moveTo>
                    <a:pt x="213334" y="85356"/>
                  </a:moveTo>
                  <a:lnTo>
                    <a:pt x="190474" y="85356"/>
                  </a:lnTo>
                  <a:lnTo>
                    <a:pt x="190474" y="114300"/>
                  </a:lnTo>
                  <a:lnTo>
                    <a:pt x="213334" y="114300"/>
                  </a:lnTo>
                  <a:lnTo>
                    <a:pt x="213334" y="85356"/>
                  </a:lnTo>
                  <a:close/>
                </a:path>
                <a:path w="734695" h="220979">
                  <a:moveTo>
                    <a:pt x="251447" y="16764"/>
                  </a:moveTo>
                  <a:lnTo>
                    <a:pt x="246862" y="16764"/>
                  </a:lnTo>
                  <a:lnTo>
                    <a:pt x="245630" y="0"/>
                  </a:lnTo>
                  <a:lnTo>
                    <a:pt x="221869" y="0"/>
                  </a:lnTo>
                  <a:lnTo>
                    <a:pt x="224002" y="28956"/>
                  </a:lnTo>
                  <a:lnTo>
                    <a:pt x="249923" y="28956"/>
                  </a:lnTo>
                  <a:lnTo>
                    <a:pt x="251447" y="16764"/>
                  </a:lnTo>
                  <a:close/>
                </a:path>
                <a:path w="734695" h="220979">
                  <a:moveTo>
                    <a:pt x="327647" y="172212"/>
                  </a:moveTo>
                  <a:lnTo>
                    <a:pt x="304787" y="172212"/>
                  </a:lnTo>
                  <a:lnTo>
                    <a:pt x="304787" y="199644"/>
                  </a:lnTo>
                  <a:lnTo>
                    <a:pt x="327647" y="199644"/>
                  </a:lnTo>
                  <a:lnTo>
                    <a:pt x="327647" y="172212"/>
                  </a:lnTo>
                  <a:close/>
                </a:path>
                <a:path w="734695" h="220979">
                  <a:moveTo>
                    <a:pt x="394677" y="16764"/>
                  </a:moveTo>
                  <a:lnTo>
                    <a:pt x="370293" y="16764"/>
                  </a:lnTo>
                  <a:lnTo>
                    <a:pt x="368769" y="0"/>
                  </a:lnTo>
                  <a:lnTo>
                    <a:pt x="344817" y="0"/>
                  </a:lnTo>
                  <a:lnTo>
                    <a:pt x="347433" y="28956"/>
                  </a:lnTo>
                  <a:lnTo>
                    <a:pt x="380961" y="28956"/>
                  </a:lnTo>
                  <a:lnTo>
                    <a:pt x="394677" y="16764"/>
                  </a:lnTo>
                  <a:close/>
                </a:path>
                <a:path w="734695" h="220979">
                  <a:moveTo>
                    <a:pt x="411441" y="85356"/>
                  </a:moveTo>
                  <a:lnTo>
                    <a:pt x="388581" y="85356"/>
                  </a:lnTo>
                  <a:lnTo>
                    <a:pt x="388581" y="114300"/>
                  </a:lnTo>
                  <a:lnTo>
                    <a:pt x="411441" y="114300"/>
                  </a:lnTo>
                  <a:lnTo>
                    <a:pt x="411441" y="85356"/>
                  </a:lnTo>
                  <a:close/>
                </a:path>
                <a:path w="734695" h="220979">
                  <a:moveTo>
                    <a:pt x="467829" y="0"/>
                  </a:moveTo>
                  <a:lnTo>
                    <a:pt x="444969" y="0"/>
                  </a:lnTo>
                  <a:lnTo>
                    <a:pt x="444969" y="28956"/>
                  </a:lnTo>
                  <a:lnTo>
                    <a:pt x="451065" y="28956"/>
                  </a:lnTo>
                  <a:lnTo>
                    <a:pt x="467829" y="16764"/>
                  </a:lnTo>
                  <a:lnTo>
                    <a:pt x="467829" y="0"/>
                  </a:lnTo>
                  <a:close/>
                </a:path>
                <a:path w="734695" h="220979">
                  <a:moveTo>
                    <a:pt x="521169" y="169164"/>
                  </a:moveTo>
                  <a:lnTo>
                    <a:pt x="498309" y="169164"/>
                  </a:lnTo>
                  <a:lnTo>
                    <a:pt x="498309" y="198120"/>
                  </a:lnTo>
                  <a:lnTo>
                    <a:pt x="521169" y="198120"/>
                  </a:lnTo>
                  <a:lnTo>
                    <a:pt x="521169" y="169164"/>
                  </a:lnTo>
                  <a:close/>
                </a:path>
                <a:path w="734695" h="220979">
                  <a:moveTo>
                    <a:pt x="547077" y="0"/>
                  </a:moveTo>
                  <a:lnTo>
                    <a:pt x="524217" y="0"/>
                  </a:lnTo>
                  <a:lnTo>
                    <a:pt x="524217" y="28956"/>
                  </a:lnTo>
                  <a:lnTo>
                    <a:pt x="547077" y="15240"/>
                  </a:lnTo>
                  <a:lnTo>
                    <a:pt x="547077" y="0"/>
                  </a:lnTo>
                  <a:close/>
                </a:path>
                <a:path w="734695" h="220979">
                  <a:moveTo>
                    <a:pt x="655243" y="132588"/>
                  </a:moveTo>
                  <a:lnTo>
                    <a:pt x="633907" y="132588"/>
                  </a:lnTo>
                  <a:lnTo>
                    <a:pt x="633907" y="160020"/>
                  </a:lnTo>
                  <a:lnTo>
                    <a:pt x="655243" y="160020"/>
                  </a:lnTo>
                  <a:lnTo>
                    <a:pt x="655243" y="132588"/>
                  </a:lnTo>
                  <a:close/>
                </a:path>
                <a:path w="734695" h="220979">
                  <a:moveTo>
                    <a:pt x="734491" y="57912"/>
                  </a:moveTo>
                  <a:lnTo>
                    <a:pt x="621715" y="57912"/>
                  </a:lnTo>
                  <a:lnTo>
                    <a:pt x="621715" y="0"/>
                  </a:lnTo>
                  <a:lnTo>
                    <a:pt x="598893" y="0"/>
                  </a:lnTo>
                  <a:lnTo>
                    <a:pt x="598893" y="70104"/>
                  </a:lnTo>
                  <a:lnTo>
                    <a:pt x="711631" y="70104"/>
                  </a:lnTo>
                  <a:lnTo>
                    <a:pt x="711631" y="219456"/>
                  </a:lnTo>
                  <a:lnTo>
                    <a:pt x="734491" y="217932"/>
                  </a:lnTo>
                  <a:lnTo>
                    <a:pt x="734491" y="57912"/>
                  </a:lnTo>
                  <a:close/>
                </a:path>
              </a:pathLst>
            </a:custGeom>
            <a:solidFill>
              <a:srgbClr val="48538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8" name="object 48"/>
          <p:cNvSpPr txBox="1"/>
          <p:nvPr/>
        </p:nvSpPr>
        <p:spPr>
          <a:xfrm>
            <a:off x="1380643" y="2549435"/>
            <a:ext cx="2483485" cy="2686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tabLst>
                <a:tab pos="1307465" algn="l"/>
              </a:tabLst>
            </a:pPr>
            <a:r>
              <a:rPr sz="1600" spc="-5" dirty="0">
                <a:latin typeface="Arial"/>
                <a:cs typeface="Arial"/>
              </a:rPr>
              <a:t>Factory	Maintenance</a:t>
            </a:r>
            <a:endParaRPr sz="1600">
              <a:latin typeface="Arial"/>
              <a:cs typeface="Arial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5571291" y="2473247"/>
            <a:ext cx="916940" cy="2686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Arial"/>
                <a:cs typeface="Arial"/>
              </a:rPr>
              <a:t>Marketing</a:t>
            </a:r>
            <a:endParaRPr sz="1600">
              <a:latin typeface="Arial"/>
              <a:cs typeface="Arial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7171139" y="2473247"/>
            <a:ext cx="1313180" cy="2686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Arial"/>
                <a:cs typeface="Arial"/>
              </a:rPr>
              <a:t>Administr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1380643" y="4605138"/>
            <a:ext cx="2917190" cy="181038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40665">
              <a:lnSpc>
                <a:spcPct val="100000"/>
              </a:lnSpc>
              <a:spcBef>
                <a:spcPts val="100"/>
              </a:spcBef>
              <a:tabLst>
                <a:tab pos="1612265" algn="l"/>
              </a:tabLst>
            </a:pPr>
            <a:r>
              <a:rPr sz="1800" spc="-5" dirty="0">
                <a:latin typeface="Arial"/>
                <a:cs typeface="Arial"/>
              </a:rPr>
              <a:t>01	01</a:t>
            </a:r>
            <a:endParaRPr sz="18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280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</a:pPr>
            <a:r>
              <a:rPr sz="1800" spc="-5" dirty="0">
                <a:latin typeface="Liberation Sans Narrow"/>
                <a:cs typeface="Liberation Sans Narrow"/>
              </a:rPr>
              <a:t>Factory and Maintenance  Department grouped as 01 as they  work in shifts and they share the  same working</a:t>
            </a:r>
            <a:r>
              <a:rPr sz="1800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times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5266516" y="4681338"/>
            <a:ext cx="3328035" cy="153606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45465">
              <a:lnSpc>
                <a:spcPct val="100000"/>
              </a:lnSpc>
              <a:spcBef>
                <a:spcPts val="100"/>
              </a:spcBef>
              <a:tabLst>
                <a:tab pos="2450465" algn="l"/>
              </a:tabLst>
            </a:pPr>
            <a:r>
              <a:rPr sz="1800" spc="-5" dirty="0">
                <a:latin typeface="Arial"/>
                <a:cs typeface="Arial"/>
              </a:rPr>
              <a:t>02	02</a:t>
            </a:r>
            <a:endParaRPr sz="18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280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</a:pPr>
            <a:r>
              <a:rPr sz="1800" spc="-5" dirty="0">
                <a:latin typeface="Liberation Sans Narrow"/>
                <a:cs typeface="Liberation Sans Narrow"/>
              </a:rPr>
              <a:t>Marketing </a:t>
            </a:r>
            <a:r>
              <a:rPr sz="1800" dirty="0">
                <a:latin typeface="Liberation Sans Narrow"/>
                <a:cs typeface="Liberation Sans Narrow"/>
              </a:rPr>
              <a:t>&amp; </a:t>
            </a:r>
            <a:r>
              <a:rPr sz="1800" spc="-5" dirty="0">
                <a:latin typeface="Liberation Sans Narrow"/>
                <a:cs typeface="Liberation Sans Narrow"/>
              </a:rPr>
              <a:t>Admn Department</a:t>
            </a:r>
            <a:r>
              <a:rPr sz="1800" spc="-60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grouped  as 02 as they share the same working  times</a:t>
            </a:r>
            <a:endParaRPr sz="1800">
              <a:latin typeface="Liberation Sans Narrow"/>
              <a:cs typeface="Liberation Sans Narrow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564324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Personnel Subarea</a:t>
            </a:r>
            <a:r>
              <a:rPr spc="-95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Grouping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999664" y="1937439"/>
            <a:ext cx="3178175" cy="1397000"/>
          </a:xfrm>
          <a:prstGeom prst="rect">
            <a:avLst/>
          </a:prstGeom>
        </p:spPr>
        <p:txBody>
          <a:bodyPr vert="horz" wrap="square" lIns="0" tIns="165100" rIns="0" bIns="0" rtlCol="0">
            <a:spAutoFit/>
          </a:bodyPr>
          <a:lstStyle/>
          <a:p>
            <a:pPr marL="354965" indent="-342900">
              <a:lnSpc>
                <a:spcPct val="100000"/>
              </a:lnSpc>
              <a:spcBef>
                <a:spcPts val="13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For Work</a:t>
            </a:r>
            <a:r>
              <a:rPr sz="2000" spc="-7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schedule</a:t>
            </a:r>
            <a:endParaRPr sz="2000" dirty="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195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For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Daily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Work</a:t>
            </a:r>
            <a:r>
              <a:rPr sz="2000" spc="-10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Schedule</a:t>
            </a:r>
            <a:endParaRPr sz="2000" dirty="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2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View:</a:t>
            </a:r>
            <a:r>
              <a:rPr sz="2000" spc="-2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V_001P_ALL</a:t>
            </a:r>
            <a:endParaRPr sz="20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85376" y="856498"/>
            <a:ext cx="4524823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200" spc="-10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Employee </a:t>
            </a:r>
            <a:r>
              <a:rPr sz="2200" spc="-5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Subgroup</a:t>
            </a:r>
            <a:r>
              <a:rPr sz="2200" spc="-60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 </a:t>
            </a:r>
            <a:r>
              <a:rPr sz="2200" spc="-5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Grouping</a:t>
            </a:r>
            <a:endParaRPr sz="2200" dirty="0">
              <a:solidFill>
                <a:schemeClr val="accent1"/>
              </a:solidFill>
              <a:latin typeface="Liberation Sans Narrow"/>
              <a:cs typeface="Liberation Sans Narrow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923365" y="1741793"/>
            <a:ext cx="481901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-635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All The Employee Subgroups which share the same </a:t>
            </a:r>
            <a:r>
              <a:rPr sz="1800" spc="-10" dirty="0">
                <a:latin typeface="Liberation Sans Narrow"/>
                <a:cs typeface="Liberation Sans Narrow"/>
              </a:rPr>
              <a:t>Work  </a:t>
            </a:r>
            <a:r>
              <a:rPr sz="1800" spc="-5" dirty="0">
                <a:latin typeface="Liberation Sans Narrow"/>
                <a:cs typeface="Liberation Sans Narrow"/>
              </a:rPr>
              <a:t>Schedule will be grouped</a:t>
            </a:r>
            <a:r>
              <a:rPr sz="1800" spc="85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together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304444" y="3006604"/>
            <a:ext cx="770890" cy="2686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Arial"/>
                <a:cs typeface="Arial"/>
              </a:rPr>
              <a:t>Salaried</a:t>
            </a:r>
            <a:endParaRPr sz="16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209103" y="3006604"/>
            <a:ext cx="806450" cy="2686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5" dirty="0">
                <a:latin typeface="Arial"/>
                <a:cs typeface="Arial"/>
              </a:rPr>
              <a:t>Trainees</a:t>
            </a:r>
            <a:endParaRPr sz="16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951956" y="3006604"/>
            <a:ext cx="1894205" cy="2686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Arial"/>
                <a:cs typeface="Arial"/>
              </a:rPr>
              <a:t>Hourly </a:t>
            </a:r>
            <a:r>
              <a:rPr sz="1600" spc="-10" dirty="0">
                <a:latin typeface="Arial"/>
                <a:cs typeface="Arial"/>
              </a:rPr>
              <a:t>wage</a:t>
            </a:r>
            <a:r>
              <a:rPr sz="1600" spc="-5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earners</a:t>
            </a:r>
            <a:endParaRPr sz="16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533030" y="3614626"/>
            <a:ext cx="15303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Arial"/>
                <a:cs typeface="Arial"/>
              </a:rPr>
              <a:t>1</a:t>
            </a:r>
            <a:endParaRPr sz="18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561803" y="3614626"/>
            <a:ext cx="15303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Arial"/>
                <a:cs typeface="Arial"/>
              </a:rPr>
              <a:t>2</a:t>
            </a:r>
            <a:endParaRPr sz="18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3361680" y="3614626"/>
            <a:ext cx="15303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Arial"/>
                <a:cs typeface="Arial"/>
              </a:rPr>
              <a:t>1</a:t>
            </a:r>
            <a:endParaRPr sz="1800">
              <a:latin typeface="Arial"/>
              <a:cs typeface="Arial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463771" y="3892479"/>
            <a:ext cx="8451629" cy="2355921"/>
          </a:xfrm>
          <a:custGeom>
            <a:avLst/>
            <a:gdLst/>
            <a:ahLst/>
            <a:cxnLst/>
            <a:rect l="l" t="t" r="r" b="b"/>
            <a:pathLst>
              <a:path w="9143365" h="3429000">
                <a:moveTo>
                  <a:pt x="0" y="3428722"/>
                </a:moveTo>
                <a:lnTo>
                  <a:pt x="9143238" y="3428722"/>
                </a:lnTo>
                <a:lnTo>
                  <a:pt x="9143238" y="0"/>
                </a:lnTo>
                <a:lnTo>
                  <a:pt x="0" y="0"/>
                </a:lnTo>
                <a:lnTo>
                  <a:pt x="0" y="342872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1228253" y="4454274"/>
            <a:ext cx="3343747" cy="84382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Salaried </a:t>
            </a:r>
            <a:r>
              <a:rPr sz="1800" spc="-10" dirty="0">
                <a:latin typeface="Liberation Sans Narrow"/>
                <a:cs typeface="Liberation Sans Narrow"/>
              </a:rPr>
              <a:t>Staff </a:t>
            </a:r>
            <a:r>
              <a:rPr sz="1800" spc="-5" dirty="0">
                <a:latin typeface="Liberation Sans Narrow"/>
                <a:cs typeface="Liberation Sans Narrow"/>
              </a:rPr>
              <a:t>and </a:t>
            </a:r>
            <a:r>
              <a:rPr sz="1800" spc="-10" dirty="0">
                <a:latin typeface="Liberation Sans Narrow"/>
                <a:cs typeface="Liberation Sans Narrow"/>
              </a:rPr>
              <a:t>Trainees </a:t>
            </a:r>
            <a:r>
              <a:rPr sz="1800" spc="-5" dirty="0">
                <a:latin typeface="Liberation Sans Narrow"/>
                <a:cs typeface="Liberation Sans Narrow"/>
              </a:rPr>
              <a:t>share  the same work schedules and are  grouped as</a:t>
            </a:r>
            <a:r>
              <a:rPr sz="1800" spc="30" dirty="0">
                <a:latin typeface="Liberation Sans Narrow"/>
                <a:cs typeface="Liberation Sans Narrow"/>
              </a:rPr>
              <a:t> </a:t>
            </a:r>
            <a:r>
              <a:rPr sz="1800" dirty="0">
                <a:latin typeface="Liberation Sans Narrow"/>
                <a:cs typeface="Liberation Sans Narrow"/>
              </a:rPr>
              <a:t>1</a:t>
            </a:r>
          </a:p>
        </p:txBody>
      </p:sp>
      <p:sp>
        <p:nvSpPr>
          <p:cNvPr id="14" name="object 14"/>
          <p:cNvSpPr txBox="1"/>
          <p:nvPr/>
        </p:nvSpPr>
        <p:spPr>
          <a:xfrm>
            <a:off x="5342713" y="4530474"/>
            <a:ext cx="296100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Hourly </a:t>
            </a:r>
            <a:r>
              <a:rPr sz="1800" spc="-15" dirty="0">
                <a:latin typeface="Liberation Sans Narrow"/>
                <a:cs typeface="Liberation Sans Narrow"/>
              </a:rPr>
              <a:t>Wage </a:t>
            </a:r>
            <a:r>
              <a:rPr sz="1800" spc="-5" dirty="0">
                <a:latin typeface="Liberation Sans Narrow"/>
                <a:cs typeface="Liberation Sans Narrow"/>
              </a:rPr>
              <a:t>earners work </a:t>
            </a:r>
            <a:r>
              <a:rPr sz="1800" spc="-10" dirty="0">
                <a:latin typeface="Liberation Sans Narrow"/>
                <a:cs typeface="Liberation Sans Narrow"/>
              </a:rPr>
              <a:t>different  </a:t>
            </a:r>
            <a:r>
              <a:rPr sz="1800" spc="-5" dirty="0">
                <a:latin typeface="Liberation Sans Narrow"/>
                <a:cs typeface="Liberation Sans Narrow"/>
              </a:rPr>
              <a:t>times and are grouped as</a:t>
            </a:r>
            <a:r>
              <a:rPr sz="1800" spc="70" dirty="0">
                <a:latin typeface="Liberation Sans Narrow"/>
                <a:cs typeface="Liberation Sans Narrow"/>
              </a:rPr>
              <a:t> </a:t>
            </a:r>
            <a:r>
              <a:rPr sz="1800" dirty="0">
                <a:latin typeface="Liberation Sans Narrow"/>
                <a:cs typeface="Liberation Sans Narrow"/>
              </a:rPr>
              <a:t>2</a:t>
            </a:r>
            <a:endParaRPr sz="1800">
              <a:latin typeface="Liberation Sans Narrow"/>
              <a:cs typeface="Liberation Sans Narrow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611759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Employee Sub-Group</a:t>
            </a:r>
            <a:r>
              <a:rPr spc="-9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Grouping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999664" y="2089230"/>
            <a:ext cx="2458720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4965" indent="-342900">
              <a:lnSpc>
                <a:spcPct val="100000"/>
              </a:lnSpc>
              <a:spcBef>
                <a:spcPts val="1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View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:</a:t>
            </a:r>
            <a:r>
              <a:rPr sz="2000" spc="-9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V_503_ALL</a:t>
            </a:r>
            <a:endParaRPr sz="20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465329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Daily </a:t>
            </a:r>
            <a:r>
              <a:rPr dirty="0">
                <a:solidFill>
                  <a:schemeClr val="accent1"/>
                </a:solidFill>
              </a:rPr>
              <a:t>Work</a:t>
            </a:r>
            <a:r>
              <a:rPr spc="-11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Schedule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999664" y="1937439"/>
            <a:ext cx="7192009" cy="2311400"/>
          </a:xfrm>
          <a:prstGeom prst="rect">
            <a:avLst/>
          </a:prstGeom>
        </p:spPr>
        <p:txBody>
          <a:bodyPr vert="horz" wrap="square" lIns="0" tIns="165100" rIns="0" bIns="0" rtlCol="0">
            <a:spAutoFit/>
          </a:bodyPr>
          <a:lstStyle/>
          <a:p>
            <a:pPr marL="354965" indent="-342900">
              <a:lnSpc>
                <a:spcPct val="100000"/>
              </a:lnSpc>
              <a:spcBef>
                <a:spcPts val="13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How an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employee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works during a</a:t>
            </a:r>
            <a:r>
              <a:rPr sz="2000" spc="-12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day</a:t>
            </a:r>
            <a:endParaRPr sz="20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195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What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is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the</a:t>
            </a:r>
            <a:r>
              <a:rPr sz="2000" spc="-6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timing</a:t>
            </a:r>
            <a:endParaRPr sz="20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2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How much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late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coming or early going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is</a:t>
            </a:r>
            <a:r>
              <a:rPr sz="2000" spc="-15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tolerated</a:t>
            </a:r>
            <a:endParaRPr sz="20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2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When does he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have</a:t>
            </a:r>
            <a:r>
              <a:rPr sz="2000" spc="-8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break</a:t>
            </a:r>
            <a:endParaRPr sz="20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2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In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case of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flextime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– Specify planned, Normal and core</a:t>
            </a:r>
            <a:r>
              <a:rPr sz="2000" spc="-19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times</a:t>
            </a:r>
            <a:endParaRPr sz="20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536829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Daily </a:t>
            </a:r>
            <a:r>
              <a:rPr dirty="0">
                <a:solidFill>
                  <a:schemeClr val="accent1"/>
                </a:solidFill>
              </a:rPr>
              <a:t>work </a:t>
            </a:r>
            <a:r>
              <a:rPr spc="-5" dirty="0">
                <a:solidFill>
                  <a:schemeClr val="accent1"/>
                </a:solidFill>
              </a:rPr>
              <a:t>schedule</a:t>
            </a:r>
            <a:r>
              <a:rPr spc="-15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variant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999664" y="1937439"/>
            <a:ext cx="7788909" cy="3530600"/>
          </a:xfrm>
          <a:prstGeom prst="rect">
            <a:avLst/>
          </a:prstGeom>
        </p:spPr>
        <p:txBody>
          <a:bodyPr vert="horz" wrap="square" lIns="0" tIns="165100" rIns="0" bIns="0" rtlCol="0">
            <a:spAutoFit/>
          </a:bodyPr>
          <a:lstStyle/>
          <a:p>
            <a:pPr marL="354965" indent="-342900">
              <a:lnSpc>
                <a:spcPct val="100000"/>
              </a:lnSpc>
              <a:spcBef>
                <a:spcPts val="13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Definition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:</a:t>
            </a:r>
            <a:r>
              <a:rPr sz="2000" spc="-3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V_T550X</a:t>
            </a:r>
            <a:endParaRPr sz="20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195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Assignment :</a:t>
            </a:r>
            <a:r>
              <a:rPr sz="2000" spc="-7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V_T550A</a:t>
            </a:r>
            <a:endParaRPr sz="20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2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3 conditions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for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selection of</a:t>
            </a:r>
            <a:r>
              <a:rPr sz="2000" spc="-10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variant</a:t>
            </a:r>
            <a:endParaRPr sz="20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2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#Holiday Class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for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the</a:t>
            </a:r>
            <a:r>
              <a:rPr sz="2000" spc="-8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day</a:t>
            </a:r>
            <a:endParaRPr sz="20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2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#Holiday class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for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the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next</a:t>
            </a:r>
            <a:r>
              <a:rPr sz="2000" spc="-10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day</a:t>
            </a:r>
            <a:endParaRPr sz="20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2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#Weekday</a:t>
            </a:r>
            <a:endParaRPr sz="2000">
              <a:latin typeface="Arial"/>
              <a:cs typeface="Arial"/>
            </a:endParaRPr>
          </a:p>
          <a:p>
            <a:pPr marL="354965" marR="5080" indent="-342900">
              <a:lnSpc>
                <a:spcPct val="100000"/>
              </a:lnSpc>
              <a:spcBef>
                <a:spcPts val="12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You can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have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many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variant for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a DWS. When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all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above</a:t>
            </a:r>
            <a:r>
              <a:rPr sz="2000" spc="-14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conditions 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meet,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specific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variant will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be</a:t>
            </a:r>
            <a:r>
              <a:rPr sz="2000" spc="-8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selected.</a:t>
            </a:r>
            <a:endParaRPr sz="20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47277" y="959992"/>
            <a:ext cx="4048760" cy="68929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200" spc="-5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Rule for Daily Work Schedule</a:t>
            </a:r>
            <a:r>
              <a:rPr sz="2200" spc="-90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 </a:t>
            </a:r>
            <a:r>
              <a:rPr sz="2200" spc="-10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Variant</a:t>
            </a:r>
            <a:endParaRPr sz="2200" dirty="0">
              <a:solidFill>
                <a:schemeClr val="accent1"/>
              </a:solidFill>
              <a:latin typeface="Liberation Sans Narrow"/>
              <a:cs typeface="Liberation Sans Narrow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999664" y="2854225"/>
            <a:ext cx="410209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Liberation Sans Narrow"/>
                <a:cs typeface="Liberation Sans Narrow"/>
              </a:rPr>
              <a:t>R</a:t>
            </a:r>
            <a:r>
              <a:rPr sz="1800" spc="-5" dirty="0">
                <a:latin typeface="Liberation Sans Narrow"/>
                <a:cs typeface="Liberation Sans Narrow"/>
              </a:rPr>
              <a:t>ul</a:t>
            </a:r>
            <a:r>
              <a:rPr sz="1800" dirty="0">
                <a:latin typeface="Liberation Sans Narrow"/>
                <a:cs typeface="Liberation Sans Narrow"/>
              </a:rPr>
              <a:t>e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888078" y="2854225"/>
            <a:ext cx="26543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Liberation Sans Narrow"/>
                <a:cs typeface="Liberation Sans Narrow"/>
              </a:rPr>
              <a:t>No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904513" y="2778025"/>
            <a:ext cx="1680210" cy="7569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Hol. Class Curr</a:t>
            </a:r>
            <a:r>
              <a:rPr sz="1800" spc="-45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Day</a:t>
            </a:r>
            <a:endParaRPr sz="1800">
              <a:latin typeface="Liberation Sans Narrow"/>
              <a:cs typeface="Liberation Sans Narrow"/>
            </a:endParaRPr>
          </a:p>
          <a:p>
            <a:pPr marL="88265">
              <a:lnSpc>
                <a:spcPct val="100000"/>
              </a:lnSpc>
              <a:spcBef>
                <a:spcPts val="1440"/>
              </a:spcBef>
            </a:pPr>
            <a:r>
              <a:rPr sz="1800" dirty="0">
                <a:latin typeface="Liberation Sans Narrow"/>
                <a:cs typeface="Liberation Sans Narrow"/>
              </a:rPr>
              <a:t>b 1 2 3 4 5 6 7 8</a:t>
            </a:r>
            <a:r>
              <a:rPr sz="1800" spc="-85" dirty="0">
                <a:latin typeface="Liberation Sans Narrow"/>
                <a:cs typeface="Liberation Sans Narrow"/>
              </a:rPr>
              <a:t> </a:t>
            </a:r>
            <a:r>
              <a:rPr sz="1800" dirty="0">
                <a:latin typeface="Liberation Sans Narrow"/>
                <a:cs typeface="Liberation Sans Narrow"/>
              </a:rPr>
              <a:t>9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760374" y="2778025"/>
            <a:ext cx="1543685" cy="7569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032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Hol.Cl </a:t>
            </a:r>
            <a:r>
              <a:rPr sz="1800" dirty="0">
                <a:latin typeface="Liberation Sans Narrow"/>
                <a:cs typeface="Liberation Sans Narrow"/>
              </a:rPr>
              <a:t>Next</a:t>
            </a:r>
            <a:r>
              <a:rPr sz="1800" spc="-25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Day</a:t>
            </a:r>
            <a:endParaRPr sz="1800">
              <a:latin typeface="Liberation Sans Narrow"/>
              <a:cs typeface="Liberation Sans Narrow"/>
            </a:endParaRPr>
          </a:p>
          <a:p>
            <a:pPr marL="12700">
              <a:lnSpc>
                <a:spcPct val="100000"/>
              </a:lnSpc>
              <a:spcBef>
                <a:spcPts val="1440"/>
              </a:spcBef>
            </a:pPr>
            <a:r>
              <a:rPr sz="1800" dirty="0">
                <a:latin typeface="Liberation Sans Narrow"/>
                <a:cs typeface="Liberation Sans Narrow"/>
              </a:rPr>
              <a:t>b 1 2 3 4 5 6 7 8</a:t>
            </a:r>
            <a:r>
              <a:rPr sz="1800" spc="-85" dirty="0">
                <a:latin typeface="Liberation Sans Narrow"/>
                <a:cs typeface="Liberation Sans Narrow"/>
              </a:rPr>
              <a:t> </a:t>
            </a:r>
            <a:r>
              <a:rPr sz="1800" dirty="0">
                <a:latin typeface="Liberation Sans Narrow"/>
                <a:cs typeface="Liberation Sans Narrow"/>
              </a:rPr>
              <a:t>9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310294" y="2778025"/>
            <a:ext cx="1303020" cy="7569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Day of</a:t>
            </a:r>
            <a:r>
              <a:rPr sz="1800" spc="-10" dirty="0">
                <a:latin typeface="Liberation Sans Narrow"/>
                <a:cs typeface="Liberation Sans Narrow"/>
              </a:rPr>
              <a:t> Week</a:t>
            </a:r>
            <a:endParaRPr sz="1800">
              <a:latin typeface="Liberation Sans Narrow"/>
              <a:cs typeface="Liberation Sans Narrow"/>
            </a:endParaRPr>
          </a:p>
          <a:p>
            <a:pPr marL="138430">
              <a:lnSpc>
                <a:spcPct val="100000"/>
              </a:lnSpc>
              <a:spcBef>
                <a:spcPts val="1440"/>
              </a:spcBef>
            </a:pPr>
            <a:r>
              <a:rPr sz="1800" dirty="0">
                <a:latin typeface="Liberation Sans Narrow"/>
                <a:cs typeface="Liberation Sans Narrow"/>
              </a:rPr>
              <a:t>1 2 3 4 5 6</a:t>
            </a:r>
            <a:r>
              <a:rPr sz="1800" spc="-85" dirty="0">
                <a:latin typeface="Liberation Sans Narrow"/>
                <a:cs typeface="Liberation Sans Narrow"/>
              </a:rPr>
              <a:t> </a:t>
            </a:r>
            <a:r>
              <a:rPr sz="1800" dirty="0">
                <a:latin typeface="Liberation Sans Narrow"/>
                <a:cs typeface="Liberation Sans Narrow"/>
              </a:rPr>
              <a:t>7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7643734" y="2778025"/>
            <a:ext cx="60325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110" dirty="0">
                <a:latin typeface="Liberation Sans Narrow"/>
                <a:cs typeface="Liberation Sans Narrow"/>
              </a:rPr>
              <a:t>V</a:t>
            </a:r>
            <a:r>
              <a:rPr sz="1800" spc="-5" dirty="0">
                <a:latin typeface="Liberation Sans Narrow"/>
                <a:cs typeface="Liberation Sans Narrow"/>
              </a:rPr>
              <a:t>a</a:t>
            </a:r>
            <a:r>
              <a:rPr sz="1800" dirty="0">
                <a:latin typeface="Liberation Sans Narrow"/>
                <a:cs typeface="Liberation Sans Narrow"/>
              </a:rPr>
              <a:t>r</a:t>
            </a:r>
            <a:r>
              <a:rPr sz="1800" spc="-5" dirty="0">
                <a:latin typeface="Liberation Sans Narrow"/>
                <a:cs typeface="Liberation Sans Narrow"/>
              </a:rPr>
              <a:t>ian</a:t>
            </a:r>
            <a:r>
              <a:rPr sz="1800" dirty="0">
                <a:latin typeface="Liberation Sans Narrow"/>
                <a:cs typeface="Liberation Sans Narrow"/>
              </a:rPr>
              <a:t>t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1719440" y="5256358"/>
            <a:ext cx="4657090" cy="542925"/>
          </a:xfrm>
          <a:custGeom>
            <a:avLst/>
            <a:gdLst/>
            <a:ahLst/>
            <a:cxnLst/>
            <a:rect l="l" t="t" r="r" b="b"/>
            <a:pathLst>
              <a:path w="4657090" h="542925">
                <a:moveTo>
                  <a:pt x="4656975" y="0"/>
                </a:moveTo>
                <a:lnTo>
                  <a:pt x="0" y="0"/>
                </a:lnTo>
                <a:lnTo>
                  <a:pt x="0" y="542498"/>
                </a:lnTo>
                <a:lnTo>
                  <a:pt x="4656975" y="542498"/>
                </a:lnTo>
                <a:lnTo>
                  <a:pt x="4656975" y="537926"/>
                </a:lnTo>
                <a:lnTo>
                  <a:pt x="9144" y="537926"/>
                </a:lnTo>
                <a:lnTo>
                  <a:pt x="4572" y="533354"/>
                </a:lnTo>
                <a:lnTo>
                  <a:pt x="9144" y="533354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4656975" y="4572"/>
                </a:lnTo>
                <a:lnTo>
                  <a:pt x="4656975" y="0"/>
                </a:lnTo>
                <a:close/>
              </a:path>
              <a:path w="4657090" h="542925">
                <a:moveTo>
                  <a:pt x="9144" y="533354"/>
                </a:moveTo>
                <a:lnTo>
                  <a:pt x="4572" y="533354"/>
                </a:lnTo>
                <a:lnTo>
                  <a:pt x="9144" y="537926"/>
                </a:lnTo>
                <a:lnTo>
                  <a:pt x="9144" y="533354"/>
                </a:lnTo>
                <a:close/>
              </a:path>
              <a:path w="4657090" h="542925">
                <a:moveTo>
                  <a:pt x="4647831" y="533354"/>
                </a:moveTo>
                <a:lnTo>
                  <a:pt x="9144" y="533354"/>
                </a:lnTo>
                <a:lnTo>
                  <a:pt x="9144" y="537926"/>
                </a:lnTo>
                <a:lnTo>
                  <a:pt x="4647831" y="537926"/>
                </a:lnTo>
                <a:lnTo>
                  <a:pt x="4647831" y="533354"/>
                </a:lnTo>
                <a:close/>
              </a:path>
              <a:path w="4657090" h="542925">
                <a:moveTo>
                  <a:pt x="4647831" y="4572"/>
                </a:moveTo>
                <a:lnTo>
                  <a:pt x="4647831" y="537926"/>
                </a:lnTo>
                <a:lnTo>
                  <a:pt x="4652403" y="533354"/>
                </a:lnTo>
                <a:lnTo>
                  <a:pt x="4656975" y="533354"/>
                </a:lnTo>
                <a:lnTo>
                  <a:pt x="4656975" y="9144"/>
                </a:lnTo>
                <a:lnTo>
                  <a:pt x="4652403" y="9144"/>
                </a:lnTo>
                <a:lnTo>
                  <a:pt x="4647831" y="4572"/>
                </a:lnTo>
                <a:close/>
              </a:path>
              <a:path w="4657090" h="542925">
                <a:moveTo>
                  <a:pt x="4656975" y="533354"/>
                </a:moveTo>
                <a:lnTo>
                  <a:pt x="4652403" y="533354"/>
                </a:lnTo>
                <a:lnTo>
                  <a:pt x="4647831" y="537926"/>
                </a:lnTo>
                <a:lnTo>
                  <a:pt x="4656975" y="537926"/>
                </a:lnTo>
                <a:lnTo>
                  <a:pt x="4656975" y="533354"/>
                </a:lnTo>
                <a:close/>
              </a:path>
              <a:path w="4657090" h="5429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4657090" h="542925">
                <a:moveTo>
                  <a:pt x="4647831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4647831" y="9144"/>
                </a:lnTo>
                <a:lnTo>
                  <a:pt x="4647831" y="4572"/>
                </a:lnTo>
                <a:close/>
              </a:path>
              <a:path w="4657090" h="542925">
                <a:moveTo>
                  <a:pt x="4656975" y="4572"/>
                </a:moveTo>
                <a:lnTo>
                  <a:pt x="4647831" y="4572"/>
                </a:lnTo>
                <a:lnTo>
                  <a:pt x="4652403" y="9144"/>
                </a:lnTo>
                <a:lnTo>
                  <a:pt x="4656975" y="9144"/>
                </a:lnTo>
                <a:lnTo>
                  <a:pt x="4656975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1802753" y="5373184"/>
            <a:ext cx="73469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Liberation Sans Narrow"/>
                <a:cs typeface="Liberation Sans Narrow"/>
              </a:rPr>
              <a:t>X –</a:t>
            </a:r>
            <a:r>
              <a:rPr sz="1800" spc="-110" dirty="0">
                <a:latin typeface="Liberation Sans Narrow"/>
                <a:cs typeface="Liberation Sans Narrow"/>
              </a:rPr>
              <a:t> </a:t>
            </a:r>
            <a:r>
              <a:rPr sz="1800" spc="-15" dirty="0">
                <a:latin typeface="Liberation Sans Narrow"/>
                <a:cs typeface="Liberation Sans Narrow"/>
              </a:rPr>
              <a:t>True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035498" y="5373184"/>
            <a:ext cx="101663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Liberation Sans Narrow"/>
                <a:cs typeface="Liberation Sans Narrow"/>
              </a:rPr>
              <a:t>. - </a:t>
            </a:r>
            <a:r>
              <a:rPr sz="1800" spc="-5" dirty="0">
                <a:latin typeface="Liberation Sans Narrow"/>
                <a:cs typeface="Liberation Sans Narrow"/>
              </a:rPr>
              <a:t>Not</a:t>
            </a:r>
            <a:r>
              <a:rPr sz="1800" spc="-105" dirty="0">
                <a:latin typeface="Liberation Sans Narrow"/>
                <a:cs typeface="Liberation Sans Narrow"/>
              </a:rPr>
              <a:t> </a:t>
            </a:r>
            <a:r>
              <a:rPr sz="1800" spc="-15" dirty="0">
                <a:latin typeface="Liberation Sans Narrow"/>
                <a:cs typeface="Liberation Sans Narrow"/>
              </a:rPr>
              <a:t>True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1580772" y="3820857"/>
            <a:ext cx="6587703" cy="94480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85377" y="976894"/>
            <a:ext cx="516176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200" spc="-5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Daily Work Schedule -</a:t>
            </a:r>
            <a:r>
              <a:rPr sz="2200" spc="-100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 </a:t>
            </a:r>
            <a:r>
              <a:rPr sz="2200" spc="-5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Shifts</a:t>
            </a:r>
            <a:endParaRPr sz="2200" dirty="0">
              <a:solidFill>
                <a:schemeClr val="accent1"/>
              </a:solidFill>
              <a:latin typeface="Liberation Sans Narrow"/>
              <a:cs typeface="Liberation Sans Narrow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5900450" y="2212659"/>
            <a:ext cx="22288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170" dirty="0">
                <a:latin typeface="Liberation Sans Narrow"/>
                <a:cs typeface="Liberation Sans Narrow"/>
              </a:rPr>
              <a:t>T</a:t>
            </a:r>
            <a:r>
              <a:rPr sz="1800" dirty="0">
                <a:latin typeface="Liberation Sans Narrow"/>
                <a:cs typeface="Liberation Sans Narrow"/>
              </a:rPr>
              <a:t>o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497476" y="2104979"/>
            <a:ext cx="848994" cy="466725"/>
          </a:xfrm>
          <a:custGeom>
            <a:avLst/>
            <a:gdLst/>
            <a:ahLst/>
            <a:cxnLst/>
            <a:rect l="l" t="t" r="r" b="b"/>
            <a:pathLst>
              <a:path w="848995" h="466725">
                <a:moveTo>
                  <a:pt x="848776" y="0"/>
                </a:moveTo>
                <a:lnTo>
                  <a:pt x="0" y="0"/>
                </a:lnTo>
                <a:lnTo>
                  <a:pt x="0" y="466313"/>
                </a:lnTo>
                <a:lnTo>
                  <a:pt x="848776" y="466313"/>
                </a:lnTo>
                <a:lnTo>
                  <a:pt x="848776" y="461741"/>
                </a:lnTo>
                <a:lnTo>
                  <a:pt x="10668" y="461741"/>
                </a:lnTo>
                <a:lnTo>
                  <a:pt x="4572" y="457169"/>
                </a:lnTo>
                <a:lnTo>
                  <a:pt x="10668" y="4571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848776" y="4572"/>
                </a:lnTo>
                <a:lnTo>
                  <a:pt x="848776" y="0"/>
                </a:lnTo>
                <a:close/>
              </a:path>
              <a:path w="848995" h="466725">
                <a:moveTo>
                  <a:pt x="10668" y="457169"/>
                </a:moveTo>
                <a:lnTo>
                  <a:pt x="4572" y="457169"/>
                </a:lnTo>
                <a:lnTo>
                  <a:pt x="10668" y="461741"/>
                </a:lnTo>
                <a:lnTo>
                  <a:pt x="10668" y="457169"/>
                </a:lnTo>
                <a:close/>
              </a:path>
              <a:path w="848995" h="466725">
                <a:moveTo>
                  <a:pt x="838108" y="457169"/>
                </a:moveTo>
                <a:lnTo>
                  <a:pt x="10668" y="457169"/>
                </a:lnTo>
                <a:lnTo>
                  <a:pt x="10668" y="461741"/>
                </a:lnTo>
                <a:lnTo>
                  <a:pt x="838108" y="461741"/>
                </a:lnTo>
                <a:lnTo>
                  <a:pt x="838108" y="457169"/>
                </a:lnTo>
                <a:close/>
              </a:path>
              <a:path w="848995" h="466725">
                <a:moveTo>
                  <a:pt x="838108" y="4572"/>
                </a:moveTo>
                <a:lnTo>
                  <a:pt x="838108" y="461741"/>
                </a:lnTo>
                <a:lnTo>
                  <a:pt x="842680" y="457169"/>
                </a:lnTo>
                <a:lnTo>
                  <a:pt x="848776" y="457169"/>
                </a:lnTo>
                <a:lnTo>
                  <a:pt x="848776" y="9144"/>
                </a:lnTo>
                <a:lnTo>
                  <a:pt x="842680" y="9144"/>
                </a:lnTo>
                <a:lnTo>
                  <a:pt x="838108" y="4572"/>
                </a:lnTo>
                <a:close/>
              </a:path>
              <a:path w="848995" h="466725">
                <a:moveTo>
                  <a:pt x="848776" y="457169"/>
                </a:moveTo>
                <a:lnTo>
                  <a:pt x="842680" y="457169"/>
                </a:lnTo>
                <a:lnTo>
                  <a:pt x="838108" y="461741"/>
                </a:lnTo>
                <a:lnTo>
                  <a:pt x="848776" y="461741"/>
                </a:lnTo>
                <a:lnTo>
                  <a:pt x="848776" y="457169"/>
                </a:lnTo>
                <a:close/>
              </a:path>
              <a:path w="848995" h="4667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848995" h="466725">
                <a:moveTo>
                  <a:pt x="838108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838108" y="9144"/>
                </a:lnTo>
                <a:lnTo>
                  <a:pt x="838108" y="4572"/>
                </a:lnTo>
                <a:close/>
              </a:path>
              <a:path w="848995" h="466725">
                <a:moveTo>
                  <a:pt x="848776" y="4572"/>
                </a:moveTo>
                <a:lnTo>
                  <a:pt x="838108" y="4572"/>
                </a:lnTo>
                <a:lnTo>
                  <a:pt x="842680" y="9144"/>
                </a:lnTo>
                <a:lnTo>
                  <a:pt x="848776" y="9144"/>
                </a:lnTo>
                <a:lnTo>
                  <a:pt x="848776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554693" y="2104979"/>
            <a:ext cx="848994" cy="466725"/>
          </a:xfrm>
          <a:custGeom>
            <a:avLst/>
            <a:gdLst/>
            <a:ahLst/>
            <a:cxnLst/>
            <a:rect l="l" t="t" r="r" b="b"/>
            <a:pathLst>
              <a:path w="848995" h="466725">
                <a:moveTo>
                  <a:pt x="848807" y="0"/>
                </a:moveTo>
                <a:lnTo>
                  <a:pt x="0" y="0"/>
                </a:lnTo>
                <a:lnTo>
                  <a:pt x="0" y="466313"/>
                </a:lnTo>
                <a:lnTo>
                  <a:pt x="848807" y="466313"/>
                </a:lnTo>
                <a:lnTo>
                  <a:pt x="848807" y="461741"/>
                </a:lnTo>
                <a:lnTo>
                  <a:pt x="10668" y="461741"/>
                </a:lnTo>
                <a:lnTo>
                  <a:pt x="4572" y="457169"/>
                </a:lnTo>
                <a:lnTo>
                  <a:pt x="10668" y="4571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848807" y="4572"/>
                </a:lnTo>
                <a:lnTo>
                  <a:pt x="848807" y="0"/>
                </a:lnTo>
                <a:close/>
              </a:path>
              <a:path w="848995" h="466725">
                <a:moveTo>
                  <a:pt x="10668" y="457169"/>
                </a:moveTo>
                <a:lnTo>
                  <a:pt x="4572" y="457169"/>
                </a:lnTo>
                <a:lnTo>
                  <a:pt x="10668" y="461741"/>
                </a:lnTo>
                <a:lnTo>
                  <a:pt x="10668" y="457169"/>
                </a:lnTo>
                <a:close/>
              </a:path>
              <a:path w="848995" h="466725">
                <a:moveTo>
                  <a:pt x="838139" y="457169"/>
                </a:moveTo>
                <a:lnTo>
                  <a:pt x="10668" y="457169"/>
                </a:lnTo>
                <a:lnTo>
                  <a:pt x="10668" y="461741"/>
                </a:lnTo>
                <a:lnTo>
                  <a:pt x="838139" y="461741"/>
                </a:lnTo>
                <a:lnTo>
                  <a:pt x="838139" y="457169"/>
                </a:lnTo>
                <a:close/>
              </a:path>
              <a:path w="848995" h="466725">
                <a:moveTo>
                  <a:pt x="838139" y="4572"/>
                </a:moveTo>
                <a:lnTo>
                  <a:pt x="838139" y="461741"/>
                </a:lnTo>
                <a:lnTo>
                  <a:pt x="842711" y="457169"/>
                </a:lnTo>
                <a:lnTo>
                  <a:pt x="848807" y="457169"/>
                </a:lnTo>
                <a:lnTo>
                  <a:pt x="848807" y="9144"/>
                </a:lnTo>
                <a:lnTo>
                  <a:pt x="842711" y="9144"/>
                </a:lnTo>
                <a:lnTo>
                  <a:pt x="838139" y="4572"/>
                </a:lnTo>
                <a:close/>
              </a:path>
              <a:path w="848995" h="466725">
                <a:moveTo>
                  <a:pt x="848807" y="457169"/>
                </a:moveTo>
                <a:lnTo>
                  <a:pt x="842711" y="457169"/>
                </a:lnTo>
                <a:lnTo>
                  <a:pt x="838139" y="461741"/>
                </a:lnTo>
                <a:lnTo>
                  <a:pt x="848807" y="461741"/>
                </a:lnTo>
                <a:lnTo>
                  <a:pt x="848807" y="457169"/>
                </a:lnTo>
                <a:close/>
              </a:path>
              <a:path w="848995" h="4667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848995" h="466725">
                <a:moveTo>
                  <a:pt x="83813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838139" y="9144"/>
                </a:lnTo>
                <a:lnTo>
                  <a:pt x="838139" y="4572"/>
                </a:lnTo>
                <a:close/>
              </a:path>
              <a:path w="848995" h="466725">
                <a:moveTo>
                  <a:pt x="848807" y="4572"/>
                </a:moveTo>
                <a:lnTo>
                  <a:pt x="838139" y="4572"/>
                </a:lnTo>
                <a:lnTo>
                  <a:pt x="842711" y="9144"/>
                </a:lnTo>
                <a:lnTo>
                  <a:pt x="848807" y="9144"/>
                </a:lnTo>
                <a:lnTo>
                  <a:pt x="8488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4580766" y="2182179"/>
            <a:ext cx="254952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2069464" algn="l"/>
              </a:tabLst>
            </a:pPr>
            <a:r>
              <a:rPr sz="1800" spc="-5" dirty="0">
                <a:latin typeface="Liberation Sans Narrow"/>
                <a:cs typeface="Liberation Sans Narrow"/>
              </a:rPr>
              <a:t>08:0</a:t>
            </a:r>
            <a:r>
              <a:rPr sz="1800" dirty="0">
                <a:latin typeface="Liberation Sans Narrow"/>
                <a:cs typeface="Liberation Sans Narrow"/>
              </a:rPr>
              <a:t>0	</a:t>
            </a:r>
            <a:r>
              <a:rPr sz="1800" spc="-5" dirty="0">
                <a:latin typeface="Liberation Sans Narrow"/>
                <a:cs typeface="Liberation Sans Narrow"/>
              </a:rPr>
              <a:t>16:0</a:t>
            </a:r>
            <a:r>
              <a:rPr sz="1800" dirty="0">
                <a:latin typeface="Liberation Sans Narrow"/>
                <a:cs typeface="Liberation Sans Narrow"/>
              </a:rPr>
              <a:t>0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687787" y="2104979"/>
            <a:ext cx="2449195" cy="390525"/>
          </a:xfrm>
          <a:custGeom>
            <a:avLst/>
            <a:gdLst/>
            <a:ahLst/>
            <a:cxnLst/>
            <a:rect l="l" t="t" r="r" b="b"/>
            <a:pathLst>
              <a:path w="2449195" h="390525">
                <a:moveTo>
                  <a:pt x="2448848" y="0"/>
                </a:moveTo>
                <a:lnTo>
                  <a:pt x="0" y="0"/>
                </a:lnTo>
                <a:lnTo>
                  <a:pt x="0" y="390113"/>
                </a:lnTo>
                <a:lnTo>
                  <a:pt x="2448848" y="390113"/>
                </a:lnTo>
                <a:lnTo>
                  <a:pt x="2448848" y="385541"/>
                </a:lnTo>
                <a:lnTo>
                  <a:pt x="10668" y="385541"/>
                </a:lnTo>
                <a:lnTo>
                  <a:pt x="4572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2448848" y="4572"/>
                </a:lnTo>
                <a:lnTo>
                  <a:pt x="2448848" y="0"/>
                </a:lnTo>
                <a:close/>
              </a:path>
              <a:path w="2449195" h="390525">
                <a:moveTo>
                  <a:pt x="10668" y="380969"/>
                </a:moveTo>
                <a:lnTo>
                  <a:pt x="4572" y="380969"/>
                </a:lnTo>
                <a:lnTo>
                  <a:pt x="10668" y="385541"/>
                </a:lnTo>
                <a:lnTo>
                  <a:pt x="10668" y="380969"/>
                </a:lnTo>
                <a:close/>
              </a:path>
              <a:path w="2449195" h="390525">
                <a:moveTo>
                  <a:pt x="2438211" y="380969"/>
                </a:moveTo>
                <a:lnTo>
                  <a:pt x="10668" y="380969"/>
                </a:lnTo>
                <a:lnTo>
                  <a:pt x="10668" y="385541"/>
                </a:lnTo>
                <a:lnTo>
                  <a:pt x="2438211" y="385541"/>
                </a:lnTo>
                <a:lnTo>
                  <a:pt x="2438211" y="380969"/>
                </a:lnTo>
                <a:close/>
              </a:path>
              <a:path w="2449195" h="390525">
                <a:moveTo>
                  <a:pt x="2438211" y="4572"/>
                </a:moveTo>
                <a:lnTo>
                  <a:pt x="2438211" y="385541"/>
                </a:lnTo>
                <a:lnTo>
                  <a:pt x="2442752" y="380969"/>
                </a:lnTo>
                <a:lnTo>
                  <a:pt x="2448848" y="380969"/>
                </a:lnTo>
                <a:lnTo>
                  <a:pt x="2448848" y="9144"/>
                </a:lnTo>
                <a:lnTo>
                  <a:pt x="2442752" y="9144"/>
                </a:lnTo>
                <a:lnTo>
                  <a:pt x="2438211" y="4572"/>
                </a:lnTo>
                <a:close/>
              </a:path>
              <a:path w="2449195" h="390525">
                <a:moveTo>
                  <a:pt x="2448848" y="380969"/>
                </a:moveTo>
                <a:lnTo>
                  <a:pt x="2442752" y="380969"/>
                </a:lnTo>
                <a:lnTo>
                  <a:pt x="2438211" y="385541"/>
                </a:lnTo>
                <a:lnTo>
                  <a:pt x="2448848" y="385541"/>
                </a:lnTo>
                <a:lnTo>
                  <a:pt x="2448848" y="380969"/>
                </a:lnTo>
                <a:close/>
              </a:path>
              <a:path w="2449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2449195" h="390525">
                <a:moveTo>
                  <a:pt x="2438211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2438211" y="9144"/>
                </a:lnTo>
                <a:lnTo>
                  <a:pt x="2438211" y="4572"/>
                </a:lnTo>
                <a:close/>
              </a:path>
              <a:path w="2449195" h="390525">
                <a:moveTo>
                  <a:pt x="2448848" y="4572"/>
                </a:moveTo>
                <a:lnTo>
                  <a:pt x="2438211" y="4572"/>
                </a:lnTo>
                <a:lnTo>
                  <a:pt x="2442752" y="9144"/>
                </a:lnTo>
                <a:lnTo>
                  <a:pt x="2448848" y="9144"/>
                </a:lnTo>
                <a:lnTo>
                  <a:pt x="2448848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278368" y="2104979"/>
            <a:ext cx="696595" cy="390525"/>
          </a:xfrm>
          <a:custGeom>
            <a:avLst/>
            <a:gdLst/>
            <a:ahLst/>
            <a:cxnLst/>
            <a:rect l="l" t="t" r="r" b="b"/>
            <a:pathLst>
              <a:path w="696595" h="390525">
                <a:moveTo>
                  <a:pt x="696407" y="0"/>
                </a:moveTo>
                <a:lnTo>
                  <a:pt x="0" y="0"/>
                </a:lnTo>
                <a:lnTo>
                  <a:pt x="0" y="390113"/>
                </a:lnTo>
                <a:lnTo>
                  <a:pt x="696407" y="390113"/>
                </a:lnTo>
                <a:lnTo>
                  <a:pt x="696407" y="385541"/>
                </a:lnTo>
                <a:lnTo>
                  <a:pt x="10668" y="385541"/>
                </a:lnTo>
                <a:lnTo>
                  <a:pt x="4572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696407" y="4572"/>
                </a:lnTo>
                <a:lnTo>
                  <a:pt x="696407" y="0"/>
                </a:lnTo>
                <a:close/>
              </a:path>
              <a:path w="696595" h="390525">
                <a:moveTo>
                  <a:pt x="10668" y="380969"/>
                </a:moveTo>
                <a:lnTo>
                  <a:pt x="4572" y="380969"/>
                </a:lnTo>
                <a:lnTo>
                  <a:pt x="10668" y="385541"/>
                </a:lnTo>
                <a:lnTo>
                  <a:pt x="10668" y="380969"/>
                </a:lnTo>
                <a:close/>
              </a:path>
              <a:path w="696595" h="390525">
                <a:moveTo>
                  <a:pt x="685739" y="380969"/>
                </a:moveTo>
                <a:lnTo>
                  <a:pt x="10668" y="380969"/>
                </a:lnTo>
                <a:lnTo>
                  <a:pt x="10668" y="385541"/>
                </a:lnTo>
                <a:lnTo>
                  <a:pt x="685739" y="385541"/>
                </a:lnTo>
                <a:lnTo>
                  <a:pt x="685739" y="380969"/>
                </a:lnTo>
                <a:close/>
              </a:path>
              <a:path w="696595" h="390525">
                <a:moveTo>
                  <a:pt x="685739" y="4572"/>
                </a:moveTo>
                <a:lnTo>
                  <a:pt x="685739" y="385541"/>
                </a:lnTo>
                <a:lnTo>
                  <a:pt x="690311" y="380969"/>
                </a:lnTo>
                <a:lnTo>
                  <a:pt x="696407" y="380969"/>
                </a:lnTo>
                <a:lnTo>
                  <a:pt x="696407" y="9144"/>
                </a:lnTo>
                <a:lnTo>
                  <a:pt x="690311" y="9144"/>
                </a:lnTo>
                <a:lnTo>
                  <a:pt x="685739" y="4572"/>
                </a:lnTo>
                <a:close/>
              </a:path>
              <a:path w="696595" h="390525">
                <a:moveTo>
                  <a:pt x="696407" y="380969"/>
                </a:moveTo>
                <a:lnTo>
                  <a:pt x="690311" y="380969"/>
                </a:lnTo>
                <a:lnTo>
                  <a:pt x="685739" y="385541"/>
                </a:lnTo>
                <a:lnTo>
                  <a:pt x="696407" y="385541"/>
                </a:lnTo>
                <a:lnTo>
                  <a:pt x="696407" y="380969"/>
                </a:lnTo>
                <a:close/>
              </a:path>
              <a:path w="6965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696595" h="390525">
                <a:moveTo>
                  <a:pt x="68573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685739" y="9144"/>
                </a:lnTo>
                <a:lnTo>
                  <a:pt x="685739" y="4572"/>
                </a:lnTo>
                <a:close/>
              </a:path>
              <a:path w="696595" h="390525">
                <a:moveTo>
                  <a:pt x="696407" y="4572"/>
                </a:moveTo>
                <a:lnTo>
                  <a:pt x="685739" y="4572"/>
                </a:lnTo>
                <a:lnTo>
                  <a:pt x="690311" y="9144"/>
                </a:lnTo>
                <a:lnTo>
                  <a:pt x="696407" y="9144"/>
                </a:lnTo>
                <a:lnTo>
                  <a:pt x="6964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3361680" y="2144091"/>
            <a:ext cx="233679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0</a:t>
            </a:r>
            <a:r>
              <a:rPr sz="1800" dirty="0">
                <a:latin typeface="Liberation Sans Narrow"/>
                <a:cs typeface="Liberation Sans Narrow"/>
              </a:rPr>
              <a:t>1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4573638" y="3857434"/>
            <a:ext cx="848994" cy="466725"/>
          </a:xfrm>
          <a:custGeom>
            <a:avLst/>
            <a:gdLst/>
            <a:ahLst/>
            <a:cxnLst/>
            <a:rect l="l" t="t" r="r" b="b"/>
            <a:pathLst>
              <a:path w="848995" h="466725">
                <a:moveTo>
                  <a:pt x="848804" y="0"/>
                </a:moveTo>
                <a:lnTo>
                  <a:pt x="838136" y="0"/>
                </a:lnTo>
                <a:lnTo>
                  <a:pt x="838136" y="9144"/>
                </a:lnTo>
                <a:lnTo>
                  <a:pt x="838136" y="35052"/>
                </a:lnTo>
                <a:lnTo>
                  <a:pt x="838136" y="457161"/>
                </a:lnTo>
                <a:lnTo>
                  <a:pt x="10668" y="457161"/>
                </a:lnTo>
                <a:lnTo>
                  <a:pt x="10668" y="35052"/>
                </a:lnTo>
                <a:lnTo>
                  <a:pt x="10668" y="9144"/>
                </a:lnTo>
                <a:lnTo>
                  <a:pt x="838136" y="9144"/>
                </a:lnTo>
                <a:lnTo>
                  <a:pt x="838136" y="0"/>
                </a:lnTo>
                <a:lnTo>
                  <a:pt x="0" y="0"/>
                </a:lnTo>
                <a:lnTo>
                  <a:pt x="0" y="35052"/>
                </a:lnTo>
                <a:lnTo>
                  <a:pt x="0" y="466305"/>
                </a:lnTo>
                <a:lnTo>
                  <a:pt x="848804" y="466305"/>
                </a:lnTo>
                <a:lnTo>
                  <a:pt x="848804" y="461733"/>
                </a:lnTo>
                <a:lnTo>
                  <a:pt x="848804" y="457161"/>
                </a:lnTo>
                <a:lnTo>
                  <a:pt x="848804" y="35052"/>
                </a:lnTo>
                <a:lnTo>
                  <a:pt x="848804" y="9144"/>
                </a:lnTo>
                <a:lnTo>
                  <a:pt x="848804" y="4572"/>
                </a:lnTo>
                <a:lnTo>
                  <a:pt x="84880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6554685" y="3857434"/>
            <a:ext cx="848994" cy="466725"/>
          </a:xfrm>
          <a:custGeom>
            <a:avLst/>
            <a:gdLst/>
            <a:ahLst/>
            <a:cxnLst/>
            <a:rect l="l" t="t" r="r" b="b"/>
            <a:pathLst>
              <a:path w="848995" h="466725">
                <a:moveTo>
                  <a:pt x="848804" y="0"/>
                </a:moveTo>
                <a:lnTo>
                  <a:pt x="838136" y="0"/>
                </a:lnTo>
                <a:lnTo>
                  <a:pt x="838136" y="9144"/>
                </a:lnTo>
                <a:lnTo>
                  <a:pt x="838136" y="35052"/>
                </a:lnTo>
                <a:lnTo>
                  <a:pt x="838136" y="457161"/>
                </a:lnTo>
                <a:lnTo>
                  <a:pt x="10668" y="457161"/>
                </a:lnTo>
                <a:lnTo>
                  <a:pt x="10668" y="35052"/>
                </a:lnTo>
                <a:lnTo>
                  <a:pt x="10668" y="9144"/>
                </a:lnTo>
                <a:lnTo>
                  <a:pt x="838136" y="9144"/>
                </a:lnTo>
                <a:lnTo>
                  <a:pt x="838136" y="0"/>
                </a:lnTo>
                <a:lnTo>
                  <a:pt x="0" y="0"/>
                </a:lnTo>
                <a:lnTo>
                  <a:pt x="0" y="35052"/>
                </a:lnTo>
                <a:lnTo>
                  <a:pt x="0" y="466305"/>
                </a:lnTo>
                <a:lnTo>
                  <a:pt x="848804" y="466305"/>
                </a:lnTo>
                <a:lnTo>
                  <a:pt x="848804" y="461733"/>
                </a:lnTo>
                <a:lnTo>
                  <a:pt x="848804" y="457161"/>
                </a:lnTo>
                <a:lnTo>
                  <a:pt x="848804" y="35052"/>
                </a:lnTo>
                <a:lnTo>
                  <a:pt x="848804" y="9144"/>
                </a:lnTo>
                <a:lnTo>
                  <a:pt x="848804" y="4572"/>
                </a:lnTo>
                <a:lnTo>
                  <a:pt x="84880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687781" y="1495450"/>
            <a:ext cx="8315959" cy="466725"/>
          </a:xfrm>
          <a:custGeom>
            <a:avLst/>
            <a:gdLst/>
            <a:ahLst/>
            <a:cxnLst/>
            <a:rect l="l" t="t" r="r" b="b"/>
            <a:pathLst>
              <a:path w="8315959" h="466725">
                <a:moveTo>
                  <a:pt x="1534541" y="76161"/>
                </a:moveTo>
                <a:lnTo>
                  <a:pt x="1523873" y="76161"/>
                </a:lnTo>
                <a:lnTo>
                  <a:pt x="1523873" y="85305"/>
                </a:lnTo>
                <a:lnTo>
                  <a:pt x="1523873" y="457161"/>
                </a:lnTo>
                <a:lnTo>
                  <a:pt x="10668" y="457161"/>
                </a:lnTo>
                <a:lnTo>
                  <a:pt x="10668" y="85305"/>
                </a:lnTo>
                <a:lnTo>
                  <a:pt x="1523873" y="85305"/>
                </a:lnTo>
                <a:lnTo>
                  <a:pt x="1523873" y="76161"/>
                </a:lnTo>
                <a:lnTo>
                  <a:pt x="0" y="76161"/>
                </a:lnTo>
                <a:lnTo>
                  <a:pt x="0" y="466305"/>
                </a:lnTo>
                <a:lnTo>
                  <a:pt x="1534541" y="466305"/>
                </a:lnTo>
                <a:lnTo>
                  <a:pt x="1534541" y="461733"/>
                </a:lnTo>
                <a:lnTo>
                  <a:pt x="1534541" y="457161"/>
                </a:lnTo>
                <a:lnTo>
                  <a:pt x="1534541" y="85305"/>
                </a:lnTo>
                <a:lnTo>
                  <a:pt x="1534541" y="80733"/>
                </a:lnTo>
                <a:lnTo>
                  <a:pt x="1534541" y="76161"/>
                </a:lnTo>
                <a:close/>
              </a:path>
              <a:path w="8315959" h="466725">
                <a:moveTo>
                  <a:pt x="8315757" y="0"/>
                </a:moveTo>
                <a:lnTo>
                  <a:pt x="8305089" y="0"/>
                </a:lnTo>
                <a:lnTo>
                  <a:pt x="8305089" y="9144"/>
                </a:lnTo>
                <a:lnTo>
                  <a:pt x="8305089" y="380961"/>
                </a:lnTo>
                <a:lnTo>
                  <a:pt x="2525052" y="380961"/>
                </a:lnTo>
                <a:lnTo>
                  <a:pt x="2525052" y="9144"/>
                </a:lnTo>
                <a:lnTo>
                  <a:pt x="8305089" y="9144"/>
                </a:lnTo>
                <a:lnTo>
                  <a:pt x="8305089" y="0"/>
                </a:lnTo>
                <a:lnTo>
                  <a:pt x="2514384" y="0"/>
                </a:lnTo>
                <a:lnTo>
                  <a:pt x="2514384" y="390105"/>
                </a:lnTo>
                <a:lnTo>
                  <a:pt x="8315757" y="390105"/>
                </a:lnTo>
                <a:lnTo>
                  <a:pt x="8315757" y="385533"/>
                </a:lnTo>
                <a:lnTo>
                  <a:pt x="8315757" y="380961"/>
                </a:lnTo>
                <a:lnTo>
                  <a:pt x="8315757" y="9144"/>
                </a:lnTo>
                <a:lnTo>
                  <a:pt x="8315757" y="4572"/>
                </a:lnTo>
                <a:lnTo>
                  <a:pt x="831575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611587" y="3247887"/>
            <a:ext cx="1534795" cy="390525"/>
          </a:xfrm>
          <a:custGeom>
            <a:avLst/>
            <a:gdLst/>
            <a:ahLst/>
            <a:cxnLst/>
            <a:rect l="l" t="t" r="r" b="b"/>
            <a:pathLst>
              <a:path w="1534795" h="390525">
                <a:moveTo>
                  <a:pt x="1534536" y="0"/>
                </a:moveTo>
                <a:lnTo>
                  <a:pt x="0" y="0"/>
                </a:lnTo>
                <a:lnTo>
                  <a:pt x="0" y="390113"/>
                </a:lnTo>
                <a:lnTo>
                  <a:pt x="1534536" y="390113"/>
                </a:lnTo>
                <a:lnTo>
                  <a:pt x="1534536" y="385541"/>
                </a:lnTo>
                <a:lnTo>
                  <a:pt x="10668" y="385541"/>
                </a:lnTo>
                <a:lnTo>
                  <a:pt x="4572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1534536" y="4572"/>
                </a:lnTo>
                <a:lnTo>
                  <a:pt x="1534536" y="0"/>
                </a:lnTo>
                <a:close/>
              </a:path>
              <a:path w="1534795" h="390525">
                <a:moveTo>
                  <a:pt x="10668" y="380969"/>
                </a:moveTo>
                <a:lnTo>
                  <a:pt x="4572" y="380969"/>
                </a:lnTo>
                <a:lnTo>
                  <a:pt x="10668" y="385541"/>
                </a:lnTo>
                <a:lnTo>
                  <a:pt x="10668" y="380969"/>
                </a:lnTo>
                <a:close/>
              </a:path>
              <a:path w="1534795" h="390525">
                <a:moveTo>
                  <a:pt x="1523868" y="380969"/>
                </a:moveTo>
                <a:lnTo>
                  <a:pt x="10668" y="380969"/>
                </a:lnTo>
                <a:lnTo>
                  <a:pt x="10668" y="385541"/>
                </a:lnTo>
                <a:lnTo>
                  <a:pt x="1523868" y="385541"/>
                </a:lnTo>
                <a:lnTo>
                  <a:pt x="1523868" y="380969"/>
                </a:lnTo>
                <a:close/>
              </a:path>
              <a:path w="1534795" h="390525">
                <a:moveTo>
                  <a:pt x="1523868" y="4572"/>
                </a:moveTo>
                <a:lnTo>
                  <a:pt x="1523868" y="385541"/>
                </a:lnTo>
                <a:lnTo>
                  <a:pt x="1528440" y="380969"/>
                </a:lnTo>
                <a:lnTo>
                  <a:pt x="1534536" y="380969"/>
                </a:lnTo>
                <a:lnTo>
                  <a:pt x="1534536" y="9144"/>
                </a:lnTo>
                <a:lnTo>
                  <a:pt x="1528440" y="9144"/>
                </a:lnTo>
                <a:lnTo>
                  <a:pt x="1523868" y="4572"/>
                </a:lnTo>
                <a:close/>
              </a:path>
              <a:path w="1534795" h="390525">
                <a:moveTo>
                  <a:pt x="1534536" y="380969"/>
                </a:moveTo>
                <a:lnTo>
                  <a:pt x="1528440" y="380969"/>
                </a:lnTo>
                <a:lnTo>
                  <a:pt x="1523868" y="385541"/>
                </a:lnTo>
                <a:lnTo>
                  <a:pt x="1534536" y="385541"/>
                </a:lnTo>
                <a:lnTo>
                  <a:pt x="1534536" y="380969"/>
                </a:lnTo>
                <a:close/>
              </a:path>
              <a:path w="15347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1534795" h="390525">
                <a:moveTo>
                  <a:pt x="1523868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1523868" y="9144"/>
                </a:lnTo>
                <a:lnTo>
                  <a:pt x="1523868" y="4572"/>
                </a:lnTo>
                <a:close/>
              </a:path>
              <a:path w="1534795" h="390525">
                <a:moveTo>
                  <a:pt x="1534536" y="4572"/>
                </a:moveTo>
                <a:lnTo>
                  <a:pt x="1523868" y="4572"/>
                </a:lnTo>
                <a:lnTo>
                  <a:pt x="1528440" y="9144"/>
                </a:lnTo>
                <a:lnTo>
                  <a:pt x="1534536" y="9144"/>
                </a:lnTo>
                <a:lnTo>
                  <a:pt x="1534536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3285480" y="1549779"/>
            <a:ext cx="5332730" cy="2686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Liberation Sans Narrow"/>
                <a:cs typeface="Liberation Sans Narrow"/>
              </a:rPr>
              <a:t>If the employee works in 3 shifts there would be 3 Daily </a:t>
            </a:r>
            <a:r>
              <a:rPr sz="1600" spc="-10" dirty="0">
                <a:latin typeface="Liberation Sans Narrow"/>
                <a:cs typeface="Liberation Sans Narrow"/>
              </a:rPr>
              <a:t>Work</a:t>
            </a:r>
            <a:r>
              <a:rPr sz="1600" spc="-30" dirty="0">
                <a:latin typeface="Liberation Sans Narrow"/>
                <a:cs typeface="Liberation Sans Narrow"/>
              </a:rPr>
              <a:t> </a:t>
            </a:r>
            <a:r>
              <a:rPr sz="1600" spc="-5" dirty="0">
                <a:latin typeface="Liberation Sans Narrow"/>
                <a:cs typeface="Liberation Sans Narrow"/>
              </a:rPr>
              <a:t>Schedules</a:t>
            </a:r>
            <a:endParaRPr sz="1600">
              <a:latin typeface="Liberation Sans Narrow"/>
              <a:cs typeface="Liberation Sans Narrow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2287844" y="1571609"/>
            <a:ext cx="848994" cy="390525"/>
          </a:xfrm>
          <a:custGeom>
            <a:avLst/>
            <a:gdLst/>
            <a:ahLst/>
            <a:cxnLst/>
            <a:rect l="l" t="t" r="r" b="b"/>
            <a:pathLst>
              <a:path w="848994" h="390525">
                <a:moveTo>
                  <a:pt x="848791" y="0"/>
                </a:moveTo>
                <a:lnTo>
                  <a:pt x="0" y="0"/>
                </a:lnTo>
                <a:lnTo>
                  <a:pt x="0" y="390144"/>
                </a:lnTo>
                <a:lnTo>
                  <a:pt x="848791" y="390144"/>
                </a:lnTo>
                <a:lnTo>
                  <a:pt x="848791" y="385572"/>
                </a:lnTo>
                <a:lnTo>
                  <a:pt x="10668" y="385572"/>
                </a:lnTo>
                <a:lnTo>
                  <a:pt x="4572" y="381000"/>
                </a:lnTo>
                <a:lnTo>
                  <a:pt x="10668" y="381000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848791" y="4572"/>
                </a:lnTo>
                <a:lnTo>
                  <a:pt x="848791" y="0"/>
                </a:lnTo>
                <a:close/>
              </a:path>
              <a:path w="848994" h="390525">
                <a:moveTo>
                  <a:pt x="10668" y="381000"/>
                </a:moveTo>
                <a:lnTo>
                  <a:pt x="4572" y="381000"/>
                </a:lnTo>
                <a:lnTo>
                  <a:pt x="10668" y="385572"/>
                </a:lnTo>
                <a:lnTo>
                  <a:pt x="10668" y="381000"/>
                </a:lnTo>
                <a:close/>
              </a:path>
              <a:path w="848994" h="390525">
                <a:moveTo>
                  <a:pt x="838154" y="381000"/>
                </a:moveTo>
                <a:lnTo>
                  <a:pt x="10668" y="381000"/>
                </a:lnTo>
                <a:lnTo>
                  <a:pt x="10668" y="385572"/>
                </a:lnTo>
                <a:lnTo>
                  <a:pt x="838154" y="385572"/>
                </a:lnTo>
                <a:lnTo>
                  <a:pt x="838154" y="381000"/>
                </a:lnTo>
                <a:close/>
              </a:path>
              <a:path w="848994" h="390525">
                <a:moveTo>
                  <a:pt x="838154" y="4572"/>
                </a:moveTo>
                <a:lnTo>
                  <a:pt x="838154" y="385572"/>
                </a:lnTo>
                <a:lnTo>
                  <a:pt x="842695" y="381000"/>
                </a:lnTo>
                <a:lnTo>
                  <a:pt x="848791" y="381000"/>
                </a:lnTo>
                <a:lnTo>
                  <a:pt x="848791" y="9144"/>
                </a:lnTo>
                <a:lnTo>
                  <a:pt x="842695" y="9144"/>
                </a:lnTo>
                <a:lnTo>
                  <a:pt x="838154" y="4572"/>
                </a:lnTo>
                <a:close/>
              </a:path>
              <a:path w="848994" h="390525">
                <a:moveTo>
                  <a:pt x="848791" y="381000"/>
                </a:moveTo>
                <a:lnTo>
                  <a:pt x="842695" y="381000"/>
                </a:lnTo>
                <a:lnTo>
                  <a:pt x="838154" y="385572"/>
                </a:lnTo>
                <a:lnTo>
                  <a:pt x="848791" y="385572"/>
                </a:lnTo>
                <a:lnTo>
                  <a:pt x="848791" y="381000"/>
                </a:lnTo>
                <a:close/>
              </a:path>
              <a:path w="848994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848994" h="390525">
                <a:moveTo>
                  <a:pt x="838154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838154" y="9144"/>
                </a:lnTo>
                <a:lnTo>
                  <a:pt x="838154" y="4572"/>
                </a:lnTo>
                <a:close/>
              </a:path>
              <a:path w="848994" h="390525">
                <a:moveTo>
                  <a:pt x="848791" y="4572"/>
                </a:moveTo>
                <a:lnTo>
                  <a:pt x="838154" y="4572"/>
                </a:lnTo>
                <a:lnTo>
                  <a:pt x="842695" y="9144"/>
                </a:lnTo>
                <a:lnTo>
                  <a:pt x="848791" y="9144"/>
                </a:lnTo>
                <a:lnTo>
                  <a:pt x="848791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771088" y="1610729"/>
            <a:ext cx="2174875" cy="81724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1612265" algn="l"/>
              </a:tabLst>
            </a:pPr>
            <a:r>
              <a:rPr sz="1800" spc="-5" dirty="0">
                <a:latin typeface="Liberation Sans Narrow"/>
                <a:cs typeface="Liberation Sans Narrow"/>
              </a:rPr>
              <a:t>Early</a:t>
            </a:r>
            <a:r>
              <a:rPr sz="1800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Shift	EARL</a:t>
            </a:r>
            <a:endParaRPr sz="1800">
              <a:latin typeface="Liberation Sans Narrow"/>
              <a:cs typeface="Liberation Sans Narrow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850">
              <a:latin typeface="Liberation Sans Narrow"/>
              <a:cs typeface="Liberation Sans Narrow"/>
            </a:endParaRPr>
          </a:p>
          <a:p>
            <a:pPr marL="12700">
              <a:lnSpc>
                <a:spcPct val="100000"/>
              </a:lnSpc>
            </a:pPr>
            <a:r>
              <a:rPr sz="1600" spc="-5" dirty="0">
                <a:latin typeface="Liberation Sans Narrow"/>
                <a:cs typeface="Liberation Sans Narrow"/>
              </a:rPr>
              <a:t>Personnel Subarea</a:t>
            </a:r>
            <a:r>
              <a:rPr sz="1600" spc="-110" dirty="0">
                <a:latin typeface="Liberation Sans Narrow"/>
                <a:cs typeface="Liberation Sans Narrow"/>
              </a:rPr>
              <a:t> </a:t>
            </a:r>
            <a:r>
              <a:rPr sz="1600" spc="-5" dirty="0">
                <a:latin typeface="Liberation Sans Narrow"/>
                <a:cs typeface="Liberation Sans Narrow"/>
              </a:rPr>
              <a:t>Grouping</a:t>
            </a:r>
            <a:endParaRPr sz="1600">
              <a:latin typeface="Liberation Sans Narrow"/>
              <a:cs typeface="Liberation Sans Narrow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2287844" y="3247887"/>
            <a:ext cx="848994" cy="390525"/>
          </a:xfrm>
          <a:custGeom>
            <a:avLst/>
            <a:gdLst/>
            <a:ahLst/>
            <a:cxnLst/>
            <a:rect l="l" t="t" r="r" b="b"/>
            <a:pathLst>
              <a:path w="848994" h="390525">
                <a:moveTo>
                  <a:pt x="848791" y="0"/>
                </a:moveTo>
                <a:lnTo>
                  <a:pt x="0" y="0"/>
                </a:lnTo>
                <a:lnTo>
                  <a:pt x="0" y="390113"/>
                </a:lnTo>
                <a:lnTo>
                  <a:pt x="848791" y="390113"/>
                </a:lnTo>
                <a:lnTo>
                  <a:pt x="848791" y="385541"/>
                </a:lnTo>
                <a:lnTo>
                  <a:pt x="10668" y="385541"/>
                </a:lnTo>
                <a:lnTo>
                  <a:pt x="4572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848791" y="4572"/>
                </a:lnTo>
                <a:lnTo>
                  <a:pt x="848791" y="0"/>
                </a:lnTo>
                <a:close/>
              </a:path>
              <a:path w="848994" h="390525">
                <a:moveTo>
                  <a:pt x="10668" y="380969"/>
                </a:moveTo>
                <a:lnTo>
                  <a:pt x="4572" y="380969"/>
                </a:lnTo>
                <a:lnTo>
                  <a:pt x="10668" y="385541"/>
                </a:lnTo>
                <a:lnTo>
                  <a:pt x="10668" y="380969"/>
                </a:lnTo>
                <a:close/>
              </a:path>
              <a:path w="848994" h="390525">
                <a:moveTo>
                  <a:pt x="838154" y="380969"/>
                </a:moveTo>
                <a:lnTo>
                  <a:pt x="10668" y="380969"/>
                </a:lnTo>
                <a:lnTo>
                  <a:pt x="10668" y="385541"/>
                </a:lnTo>
                <a:lnTo>
                  <a:pt x="838154" y="385541"/>
                </a:lnTo>
                <a:lnTo>
                  <a:pt x="838154" y="380969"/>
                </a:lnTo>
                <a:close/>
              </a:path>
              <a:path w="848994" h="390525">
                <a:moveTo>
                  <a:pt x="838154" y="4572"/>
                </a:moveTo>
                <a:lnTo>
                  <a:pt x="838154" y="385541"/>
                </a:lnTo>
                <a:lnTo>
                  <a:pt x="842695" y="380969"/>
                </a:lnTo>
                <a:lnTo>
                  <a:pt x="848791" y="380969"/>
                </a:lnTo>
                <a:lnTo>
                  <a:pt x="848791" y="9144"/>
                </a:lnTo>
                <a:lnTo>
                  <a:pt x="842695" y="9144"/>
                </a:lnTo>
                <a:lnTo>
                  <a:pt x="838154" y="4572"/>
                </a:lnTo>
                <a:close/>
              </a:path>
              <a:path w="848994" h="390525">
                <a:moveTo>
                  <a:pt x="848791" y="380969"/>
                </a:moveTo>
                <a:lnTo>
                  <a:pt x="842695" y="380969"/>
                </a:lnTo>
                <a:lnTo>
                  <a:pt x="838154" y="385541"/>
                </a:lnTo>
                <a:lnTo>
                  <a:pt x="848791" y="385541"/>
                </a:lnTo>
                <a:lnTo>
                  <a:pt x="848791" y="380969"/>
                </a:lnTo>
                <a:close/>
              </a:path>
              <a:path w="848994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848994" h="390525">
                <a:moveTo>
                  <a:pt x="838154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838154" y="9144"/>
                </a:lnTo>
                <a:lnTo>
                  <a:pt x="838154" y="4572"/>
                </a:lnTo>
                <a:close/>
              </a:path>
              <a:path w="848994" h="390525">
                <a:moveTo>
                  <a:pt x="848791" y="4572"/>
                </a:moveTo>
                <a:lnTo>
                  <a:pt x="838154" y="4572"/>
                </a:lnTo>
                <a:lnTo>
                  <a:pt x="842695" y="9144"/>
                </a:lnTo>
                <a:lnTo>
                  <a:pt x="848791" y="9144"/>
                </a:lnTo>
                <a:lnTo>
                  <a:pt x="848791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611587" y="3933626"/>
            <a:ext cx="2525395" cy="390525"/>
          </a:xfrm>
          <a:custGeom>
            <a:avLst/>
            <a:gdLst/>
            <a:ahLst/>
            <a:cxnLst/>
            <a:rect l="l" t="t" r="r" b="b"/>
            <a:pathLst>
              <a:path w="2525395" h="390525">
                <a:moveTo>
                  <a:pt x="2525048" y="0"/>
                </a:moveTo>
                <a:lnTo>
                  <a:pt x="0" y="0"/>
                </a:lnTo>
                <a:lnTo>
                  <a:pt x="0" y="390113"/>
                </a:lnTo>
                <a:lnTo>
                  <a:pt x="2525048" y="390113"/>
                </a:lnTo>
                <a:lnTo>
                  <a:pt x="2525048" y="385541"/>
                </a:lnTo>
                <a:lnTo>
                  <a:pt x="10668" y="385541"/>
                </a:lnTo>
                <a:lnTo>
                  <a:pt x="4572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2525048" y="4572"/>
                </a:lnTo>
                <a:lnTo>
                  <a:pt x="2525048" y="0"/>
                </a:lnTo>
                <a:close/>
              </a:path>
              <a:path w="2525395" h="390525">
                <a:moveTo>
                  <a:pt x="10668" y="380969"/>
                </a:moveTo>
                <a:lnTo>
                  <a:pt x="4572" y="380969"/>
                </a:lnTo>
                <a:lnTo>
                  <a:pt x="10668" y="385541"/>
                </a:lnTo>
                <a:lnTo>
                  <a:pt x="10668" y="380969"/>
                </a:lnTo>
                <a:close/>
              </a:path>
              <a:path w="2525395" h="390525">
                <a:moveTo>
                  <a:pt x="2514411" y="380969"/>
                </a:moveTo>
                <a:lnTo>
                  <a:pt x="10668" y="380969"/>
                </a:lnTo>
                <a:lnTo>
                  <a:pt x="10668" y="385541"/>
                </a:lnTo>
                <a:lnTo>
                  <a:pt x="2514411" y="385541"/>
                </a:lnTo>
                <a:lnTo>
                  <a:pt x="2514411" y="380969"/>
                </a:lnTo>
                <a:close/>
              </a:path>
              <a:path w="2525395" h="390525">
                <a:moveTo>
                  <a:pt x="2514411" y="4572"/>
                </a:moveTo>
                <a:lnTo>
                  <a:pt x="2514411" y="385541"/>
                </a:lnTo>
                <a:lnTo>
                  <a:pt x="2518952" y="380969"/>
                </a:lnTo>
                <a:lnTo>
                  <a:pt x="2525048" y="380969"/>
                </a:lnTo>
                <a:lnTo>
                  <a:pt x="2525048" y="9144"/>
                </a:lnTo>
                <a:lnTo>
                  <a:pt x="2518952" y="9144"/>
                </a:lnTo>
                <a:lnTo>
                  <a:pt x="2514411" y="4572"/>
                </a:lnTo>
                <a:close/>
              </a:path>
              <a:path w="2525395" h="390525">
                <a:moveTo>
                  <a:pt x="2525048" y="380969"/>
                </a:moveTo>
                <a:lnTo>
                  <a:pt x="2518952" y="380969"/>
                </a:lnTo>
                <a:lnTo>
                  <a:pt x="2514411" y="385541"/>
                </a:lnTo>
                <a:lnTo>
                  <a:pt x="2525048" y="385541"/>
                </a:lnTo>
                <a:lnTo>
                  <a:pt x="2525048" y="380969"/>
                </a:lnTo>
                <a:close/>
              </a:path>
              <a:path w="25253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2525395" h="390525">
                <a:moveTo>
                  <a:pt x="2514411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2514411" y="9144"/>
                </a:lnTo>
                <a:lnTo>
                  <a:pt x="2514411" y="4572"/>
                </a:lnTo>
                <a:close/>
              </a:path>
              <a:path w="2525395" h="390525">
                <a:moveTo>
                  <a:pt x="2525048" y="4572"/>
                </a:moveTo>
                <a:lnTo>
                  <a:pt x="2514411" y="4572"/>
                </a:lnTo>
                <a:lnTo>
                  <a:pt x="2518952" y="9144"/>
                </a:lnTo>
                <a:lnTo>
                  <a:pt x="2525048" y="9144"/>
                </a:lnTo>
                <a:lnTo>
                  <a:pt x="2525048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687787" y="5533704"/>
            <a:ext cx="2449195" cy="390525"/>
          </a:xfrm>
          <a:custGeom>
            <a:avLst/>
            <a:gdLst/>
            <a:ahLst/>
            <a:cxnLst/>
            <a:rect l="l" t="t" r="r" b="b"/>
            <a:pathLst>
              <a:path w="2449195" h="390525">
                <a:moveTo>
                  <a:pt x="2448848" y="0"/>
                </a:moveTo>
                <a:lnTo>
                  <a:pt x="0" y="0"/>
                </a:lnTo>
                <a:lnTo>
                  <a:pt x="0" y="390107"/>
                </a:lnTo>
                <a:lnTo>
                  <a:pt x="2448848" y="390107"/>
                </a:lnTo>
                <a:lnTo>
                  <a:pt x="2448848" y="385535"/>
                </a:lnTo>
                <a:lnTo>
                  <a:pt x="10668" y="385535"/>
                </a:lnTo>
                <a:lnTo>
                  <a:pt x="4572" y="380963"/>
                </a:lnTo>
                <a:lnTo>
                  <a:pt x="10668" y="380963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2448848" y="4572"/>
                </a:lnTo>
                <a:lnTo>
                  <a:pt x="2448848" y="0"/>
                </a:lnTo>
                <a:close/>
              </a:path>
              <a:path w="2449195" h="390525">
                <a:moveTo>
                  <a:pt x="10668" y="380963"/>
                </a:moveTo>
                <a:lnTo>
                  <a:pt x="4572" y="380963"/>
                </a:lnTo>
                <a:lnTo>
                  <a:pt x="10668" y="385535"/>
                </a:lnTo>
                <a:lnTo>
                  <a:pt x="10668" y="380963"/>
                </a:lnTo>
                <a:close/>
              </a:path>
              <a:path w="2449195" h="390525">
                <a:moveTo>
                  <a:pt x="2438211" y="380963"/>
                </a:moveTo>
                <a:lnTo>
                  <a:pt x="10668" y="380963"/>
                </a:lnTo>
                <a:lnTo>
                  <a:pt x="10668" y="385535"/>
                </a:lnTo>
                <a:lnTo>
                  <a:pt x="2438211" y="385535"/>
                </a:lnTo>
                <a:lnTo>
                  <a:pt x="2438211" y="380963"/>
                </a:lnTo>
                <a:close/>
              </a:path>
              <a:path w="2449195" h="390525">
                <a:moveTo>
                  <a:pt x="2438211" y="4572"/>
                </a:moveTo>
                <a:lnTo>
                  <a:pt x="2438211" y="385535"/>
                </a:lnTo>
                <a:lnTo>
                  <a:pt x="2442752" y="380963"/>
                </a:lnTo>
                <a:lnTo>
                  <a:pt x="2448848" y="380963"/>
                </a:lnTo>
                <a:lnTo>
                  <a:pt x="2448848" y="9144"/>
                </a:lnTo>
                <a:lnTo>
                  <a:pt x="2442752" y="9144"/>
                </a:lnTo>
                <a:lnTo>
                  <a:pt x="2438211" y="4572"/>
                </a:lnTo>
                <a:close/>
              </a:path>
              <a:path w="2449195" h="390525">
                <a:moveTo>
                  <a:pt x="2448848" y="380963"/>
                </a:moveTo>
                <a:lnTo>
                  <a:pt x="2442752" y="380963"/>
                </a:lnTo>
                <a:lnTo>
                  <a:pt x="2438211" y="385535"/>
                </a:lnTo>
                <a:lnTo>
                  <a:pt x="2448848" y="385535"/>
                </a:lnTo>
                <a:lnTo>
                  <a:pt x="2448848" y="380963"/>
                </a:lnTo>
                <a:close/>
              </a:path>
              <a:path w="2449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2449195" h="390525">
                <a:moveTo>
                  <a:pt x="2438211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2438211" y="9144"/>
                </a:lnTo>
                <a:lnTo>
                  <a:pt x="2438211" y="4572"/>
                </a:lnTo>
                <a:close/>
              </a:path>
              <a:path w="2449195" h="390525">
                <a:moveTo>
                  <a:pt x="2448848" y="4572"/>
                </a:moveTo>
                <a:lnTo>
                  <a:pt x="2438211" y="4572"/>
                </a:lnTo>
                <a:lnTo>
                  <a:pt x="2442752" y="9144"/>
                </a:lnTo>
                <a:lnTo>
                  <a:pt x="2448848" y="9144"/>
                </a:lnTo>
                <a:lnTo>
                  <a:pt x="2448848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 txBox="1"/>
          <p:nvPr/>
        </p:nvSpPr>
        <p:spPr>
          <a:xfrm>
            <a:off x="771088" y="5588052"/>
            <a:ext cx="2174875" cy="2686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Liberation Sans Narrow"/>
                <a:cs typeface="Liberation Sans Narrow"/>
              </a:rPr>
              <a:t>Personnel Subarea</a:t>
            </a:r>
            <a:r>
              <a:rPr sz="1600" spc="-110" dirty="0">
                <a:latin typeface="Liberation Sans Narrow"/>
                <a:cs typeface="Liberation Sans Narrow"/>
              </a:rPr>
              <a:t> </a:t>
            </a:r>
            <a:r>
              <a:rPr sz="1600" spc="-5" dirty="0">
                <a:latin typeface="Liberation Sans Narrow"/>
                <a:cs typeface="Liberation Sans Narrow"/>
              </a:rPr>
              <a:t>Grouping</a:t>
            </a:r>
            <a:endParaRPr sz="1600">
              <a:latin typeface="Liberation Sans Narrow"/>
              <a:cs typeface="Liberation Sans Narrow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3278368" y="3933626"/>
            <a:ext cx="696595" cy="390525"/>
          </a:xfrm>
          <a:custGeom>
            <a:avLst/>
            <a:gdLst/>
            <a:ahLst/>
            <a:cxnLst/>
            <a:rect l="l" t="t" r="r" b="b"/>
            <a:pathLst>
              <a:path w="696595" h="390525">
                <a:moveTo>
                  <a:pt x="696407" y="0"/>
                </a:moveTo>
                <a:lnTo>
                  <a:pt x="0" y="0"/>
                </a:lnTo>
                <a:lnTo>
                  <a:pt x="0" y="390113"/>
                </a:lnTo>
                <a:lnTo>
                  <a:pt x="696407" y="390113"/>
                </a:lnTo>
                <a:lnTo>
                  <a:pt x="696407" y="385541"/>
                </a:lnTo>
                <a:lnTo>
                  <a:pt x="10668" y="385541"/>
                </a:lnTo>
                <a:lnTo>
                  <a:pt x="4572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696407" y="4572"/>
                </a:lnTo>
                <a:lnTo>
                  <a:pt x="696407" y="0"/>
                </a:lnTo>
                <a:close/>
              </a:path>
              <a:path w="696595" h="390525">
                <a:moveTo>
                  <a:pt x="10668" y="380969"/>
                </a:moveTo>
                <a:lnTo>
                  <a:pt x="4572" y="380969"/>
                </a:lnTo>
                <a:lnTo>
                  <a:pt x="10668" y="385541"/>
                </a:lnTo>
                <a:lnTo>
                  <a:pt x="10668" y="380969"/>
                </a:lnTo>
                <a:close/>
              </a:path>
              <a:path w="696595" h="390525">
                <a:moveTo>
                  <a:pt x="685739" y="380969"/>
                </a:moveTo>
                <a:lnTo>
                  <a:pt x="10668" y="380969"/>
                </a:lnTo>
                <a:lnTo>
                  <a:pt x="10668" y="385541"/>
                </a:lnTo>
                <a:lnTo>
                  <a:pt x="685739" y="385541"/>
                </a:lnTo>
                <a:lnTo>
                  <a:pt x="685739" y="380969"/>
                </a:lnTo>
                <a:close/>
              </a:path>
              <a:path w="696595" h="390525">
                <a:moveTo>
                  <a:pt x="685739" y="4572"/>
                </a:moveTo>
                <a:lnTo>
                  <a:pt x="685739" y="385541"/>
                </a:lnTo>
                <a:lnTo>
                  <a:pt x="690311" y="380969"/>
                </a:lnTo>
                <a:lnTo>
                  <a:pt x="696407" y="380969"/>
                </a:lnTo>
                <a:lnTo>
                  <a:pt x="696407" y="9144"/>
                </a:lnTo>
                <a:lnTo>
                  <a:pt x="690311" y="9144"/>
                </a:lnTo>
                <a:lnTo>
                  <a:pt x="685739" y="4572"/>
                </a:lnTo>
                <a:close/>
              </a:path>
              <a:path w="696595" h="390525">
                <a:moveTo>
                  <a:pt x="696407" y="380969"/>
                </a:moveTo>
                <a:lnTo>
                  <a:pt x="690311" y="380969"/>
                </a:lnTo>
                <a:lnTo>
                  <a:pt x="685739" y="385541"/>
                </a:lnTo>
                <a:lnTo>
                  <a:pt x="696407" y="385541"/>
                </a:lnTo>
                <a:lnTo>
                  <a:pt x="696407" y="380969"/>
                </a:lnTo>
                <a:close/>
              </a:path>
              <a:path w="6965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696595" h="390525">
                <a:moveTo>
                  <a:pt x="68573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685739" y="9144"/>
                </a:lnTo>
                <a:lnTo>
                  <a:pt x="685739" y="4572"/>
                </a:lnTo>
                <a:close/>
              </a:path>
              <a:path w="696595" h="390525">
                <a:moveTo>
                  <a:pt x="696407" y="4572"/>
                </a:moveTo>
                <a:lnTo>
                  <a:pt x="685739" y="4572"/>
                </a:lnTo>
                <a:lnTo>
                  <a:pt x="690311" y="9144"/>
                </a:lnTo>
                <a:lnTo>
                  <a:pt x="696407" y="9144"/>
                </a:lnTo>
                <a:lnTo>
                  <a:pt x="6964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 txBox="1"/>
          <p:nvPr/>
        </p:nvSpPr>
        <p:spPr>
          <a:xfrm>
            <a:off x="694888" y="3287004"/>
            <a:ext cx="2900045" cy="98551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1688464" algn="l"/>
              </a:tabLst>
            </a:pPr>
            <a:r>
              <a:rPr sz="1800" spc="-5" dirty="0">
                <a:latin typeface="Liberation Sans Narrow"/>
                <a:cs typeface="Liberation Sans Narrow"/>
              </a:rPr>
              <a:t>Middle</a:t>
            </a:r>
            <a:r>
              <a:rPr sz="1800" spc="15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Shift	MIDD</a:t>
            </a:r>
            <a:endParaRPr sz="1800">
              <a:latin typeface="Liberation Sans Narrow"/>
              <a:cs typeface="Liberation Sans Narrow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sz="2800">
              <a:latin typeface="Liberation Sans Narrow"/>
              <a:cs typeface="Liberation Sans Narrow"/>
            </a:endParaRPr>
          </a:p>
          <a:p>
            <a:pPr marL="12700">
              <a:lnSpc>
                <a:spcPct val="100000"/>
              </a:lnSpc>
              <a:tabLst>
                <a:tab pos="2679065" algn="l"/>
              </a:tabLst>
            </a:pPr>
            <a:r>
              <a:rPr sz="1800" spc="-5" dirty="0">
                <a:latin typeface="Liberation Sans Narrow"/>
                <a:cs typeface="Liberation Sans Narrow"/>
              </a:rPr>
              <a:t>Pe</a:t>
            </a:r>
            <a:r>
              <a:rPr sz="1800" dirty="0">
                <a:latin typeface="Liberation Sans Narrow"/>
                <a:cs typeface="Liberation Sans Narrow"/>
              </a:rPr>
              <a:t>r</a:t>
            </a:r>
            <a:r>
              <a:rPr sz="1800" spc="5" dirty="0">
                <a:latin typeface="Liberation Sans Narrow"/>
                <a:cs typeface="Liberation Sans Narrow"/>
              </a:rPr>
              <a:t>s</a:t>
            </a:r>
            <a:r>
              <a:rPr sz="1800" spc="-5" dirty="0">
                <a:latin typeface="Liberation Sans Narrow"/>
                <a:cs typeface="Liberation Sans Narrow"/>
              </a:rPr>
              <a:t>onne</a:t>
            </a:r>
            <a:r>
              <a:rPr sz="1800" dirty="0">
                <a:latin typeface="Liberation Sans Narrow"/>
                <a:cs typeface="Liberation Sans Narrow"/>
              </a:rPr>
              <a:t>l</a:t>
            </a:r>
            <a:r>
              <a:rPr sz="1800" spc="25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Suba</a:t>
            </a:r>
            <a:r>
              <a:rPr sz="1800" dirty="0">
                <a:latin typeface="Liberation Sans Narrow"/>
                <a:cs typeface="Liberation Sans Narrow"/>
              </a:rPr>
              <a:t>r</a:t>
            </a:r>
            <a:r>
              <a:rPr sz="1800" spc="-5" dirty="0">
                <a:latin typeface="Liberation Sans Narrow"/>
                <a:cs typeface="Liberation Sans Narrow"/>
              </a:rPr>
              <a:t>e</a:t>
            </a:r>
            <a:r>
              <a:rPr sz="1800" dirty="0">
                <a:latin typeface="Liberation Sans Narrow"/>
                <a:cs typeface="Liberation Sans Narrow"/>
              </a:rPr>
              <a:t>a</a:t>
            </a:r>
            <a:r>
              <a:rPr sz="1800" spc="40" dirty="0">
                <a:latin typeface="Liberation Sans Narrow"/>
                <a:cs typeface="Liberation Sans Narrow"/>
              </a:rPr>
              <a:t> </a:t>
            </a:r>
            <a:r>
              <a:rPr sz="1800" dirty="0">
                <a:latin typeface="Liberation Sans Narrow"/>
                <a:cs typeface="Liberation Sans Narrow"/>
              </a:rPr>
              <a:t>Gr</a:t>
            </a:r>
            <a:r>
              <a:rPr sz="1800" spc="-5" dirty="0">
                <a:latin typeface="Liberation Sans Narrow"/>
                <a:cs typeface="Liberation Sans Narrow"/>
              </a:rPr>
              <a:t>oupin</a:t>
            </a:r>
            <a:r>
              <a:rPr sz="1800" dirty="0">
                <a:latin typeface="Liberation Sans Narrow"/>
                <a:cs typeface="Liberation Sans Narrow"/>
              </a:rPr>
              <a:t>g	</a:t>
            </a:r>
            <a:r>
              <a:rPr sz="1800" spc="-5" dirty="0">
                <a:latin typeface="Liberation Sans Narrow"/>
                <a:cs typeface="Liberation Sans Narrow"/>
              </a:rPr>
              <a:t>0</a:t>
            </a:r>
            <a:r>
              <a:rPr sz="1800" dirty="0">
                <a:latin typeface="Liberation Sans Narrow"/>
                <a:cs typeface="Liberation Sans Narrow"/>
              </a:rPr>
              <a:t>1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3506937" y="5533704"/>
            <a:ext cx="696595" cy="390525"/>
          </a:xfrm>
          <a:custGeom>
            <a:avLst/>
            <a:gdLst/>
            <a:ahLst/>
            <a:cxnLst/>
            <a:rect l="l" t="t" r="r" b="b"/>
            <a:pathLst>
              <a:path w="696595" h="390525">
                <a:moveTo>
                  <a:pt x="696407" y="0"/>
                </a:moveTo>
                <a:lnTo>
                  <a:pt x="0" y="0"/>
                </a:lnTo>
                <a:lnTo>
                  <a:pt x="0" y="390107"/>
                </a:lnTo>
                <a:lnTo>
                  <a:pt x="696407" y="390107"/>
                </a:lnTo>
                <a:lnTo>
                  <a:pt x="696407" y="385535"/>
                </a:lnTo>
                <a:lnTo>
                  <a:pt x="10668" y="385535"/>
                </a:lnTo>
                <a:lnTo>
                  <a:pt x="4572" y="380963"/>
                </a:lnTo>
                <a:lnTo>
                  <a:pt x="10668" y="380963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696407" y="4572"/>
                </a:lnTo>
                <a:lnTo>
                  <a:pt x="696407" y="0"/>
                </a:lnTo>
                <a:close/>
              </a:path>
              <a:path w="696595" h="390525">
                <a:moveTo>
                  <a:pt x="10668" y="380963"/>
                </a:moveTo>
                <a:lnTo>
                  <a:pt x="4572" y="380963"/>
                </a:lnTo>
                <a:lnTo>
                  <a:pt x="10668" y="385535"/>
                </a:lnTo>
                <a:lnTo>
                  <a:pt x="10668" y="380963"/>
                </a:lnTo>
                <a:close/>
              </a:path>
              <a:path w="696595" h="390525">
                <a:moveTo>
                  <a:pt x="685739" y="380963"/>
                </a:moveTo>
                <a:lnTo>
                  <a:pt x="10668" y="380963"/>
                </a:lnTo>
                <a:lnTo>
                  <a:pt x="10668" y="385535"/>
                </a:lnTo>
                <a:lnTo>
                  <a:pt x="685739" y="385535"/>
                </a:lnTo>
                <a:lnTo>
                  <a:pt x="685739" y="380963"/>
                </a:lnTo>
                <a:close/>
              </a:path>
              <a:path w="696595" h="390525">
                <a:moveTo>
                  <a:pt x="685739" y="4572"/>
                </a:moveTo>
                <a:lnTo>
                  <a:pt x="685739" y="385535"/>
                </a:lnTo>
                <a:lnTo>
                  <a:pt x="690311" y="380963"/>
                </a:lnTo>
                <a:lnTo>
                  <a:pt x="696407" y="380963"/>
                </a:lnTo>
                <a:lnTo>
                  <a:pt x="696407" y="9144"/>
                </a:lnTo>
                <a:lnTo>
                  <a:pt x="690311" y="9144"/>
                </a:lnTo>
                <a:lnTo>
                  <a:pt x="685739" y="4572"/>
                </a:lnTo>
                <a:close/>
              </a:path>
              <a:path w="696595" h="390525">
                <a:moveTo>
                  <a:pt x="696407" y="380963"/>
                </a:moveTo>
                <a:lnTo>
                  <a:pt x="690311" y="380963"/>
                </a:lnTo>
                <a:lnTo>
                  <a:pt x="685739" y="385535"/>
                </a:lnTo>
                <a:lnTo>
                  <a:pt x="696407" y="385535"/>
                </a:lnTo>
                <a:lnTo>
                  <a:pt x="696407" y="380963"/>
                </a:lnTo>
                <a:close/>
              </a:path>
              <a:path w="6965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696595" h="390525">
                <a:moveTo>
                  <a:pt x="68573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685739" y="9144"/>
                </a:lnTo>
                <a:lnTo>
                  <a:pt x="685739" y="4572"/>
                </a:lnTo>
                <a:close/>
              </a:path>
              <a:path w="696595" h="390525">
                <a:moveTo>
                  <a:pt x="696407" y="4572"/>
                </a:moveTo>
                <a:lnTo>
                  <a:pt x="685739" y="4572"/>
                </a:lnTo>
                <a:lnTo>
                  <a:pt x="690311" y="9144"/>
                </a:lnTo>
                <a:lnTo>
                  <a:pt x="696407" y="9144"/>
                </a:lnTo>
                <a:lnTo>
                  <a:pt x="6964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>
            <a:off x="3590254" y="5572815"/>
            <a:ext cx="233679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0</a:t>
            </a:r>
            <a:r>
              <a:rPr sz="1800" dirty="0">
                <a:latin typeface="Liberation Sans Narrow"/>
                <a:cs typeface="Liberation Sans Narrow"/>
              </a:rPr>
              <a:t>1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4656966" y="3934641"/>
            <a:ext cx="492759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16:0</a:t>
            </a:r>
            <a:r>
              <a:rPr sz="1800" dirty="0">
                <a:latin typeface="Liberation Sans Narrow"/>
                <a:cs typeface="Liberation Sans Narrow"/>
              </a:rPr>
              <a:t>0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4649846" y="5457504"/>
            <a:ext cx="848994" cy="466725"/>
          </a:xfrm>
          <a:custGeom>
            <a:avLst/>
            <a:gdLst/>
            <a:ahLst/>
            <a:cxnLst/>
            <a:rect l="l" t="t" r="r" b="b"/>
            <a:pathLst>
              <a:path w="848995" h="466725">
                <a:moveTo>
                  <a:pt x="848807" y="0"/>
                </a:moveTo>
                <a:lnTo>
                  <a:pt x="0" y="0"/>
                </a:lnTo>
                <a:lnTo>
                  <a:pt x="0" y="466307"/>
                </a:lnTo>
                <a:lnTo>
                  <a:pt x="848807" y="466307"/>
                </a:lnTo>
                <a:lnTo>
                  <a:pt x="848807" y="461735"/>
                </a:lnTo>
                <a:lnTo>
                  <a:pt x="10668" y="461735"/>
                </a:lnTo>
                <a:lnTo>
                  <a:pt x="4572" y="457163"/>
                </a:lnTo>
                <a:lnTo>
                  <a:pt x="10668" y="457163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848807" y="4572"/>
                </a:lnTo>
                <a:lnTo>
                  <a:pt x="848807" y="0"/>
                </a:lnTo>
                <a:close/>
              </a:path>
              <a:path w="848995" h="466725">
                <a:moveTo>
                  <a:pt x="10668" y="457163"/>
                </a:moveTo>
                <a:lnTo>
                  <a:pt x="4572" y="457163"/>
                </a:lnTo>
                <a:lnTo>
                  <a:pt x="10668" y="461735"/>
                </a:lnTo>
                <a:lnTo>
                  <a:pt x="10668" y="457163"/>
                </a:lnTo>
                <a:close/>
              </a:path>
              <a:path w="848995" h="466725">
                <a:moveTo>
                  <a:pt x="838139" y="457163"/>
                </a:moveTo>
                <a:lnTo>
                  <a:pt x="10668" y="457163"/>
                </a:lnTo>
                <a:lnTo>
                  <a:pt x="10668" y="461735"/>
                </a:lnTo>
                <a:lnTo>
                  <a:pt x="838139" y="461735"/>
                </a:lnTo>
                <a:lnTo>
                  <a:pt x="838139" y="457163"/>
                </a:lnTo>
                <a:close/>
              </a:path>
              <a:path w="848995" h="466725">
                <a:moveTo>
                  <a:pt x="838139" y="4572"/>
                </a:moveTo>
                <a:lnTo>
                  <a:pt x="838139" y="461735"/>
                </a:lnTo>
                <a:lnTo>
                  <a:pt x="842711" y="457163"/>
                </a:lnTo>
                <a:lnTo>
                  <a:pt x="848807" y="457163"/>
                </a:lnTo>
                <a:lnTo>
                  <a:pt x="848807" y="9144"/>
                </a:lnTo>
                <a:lnTo>
                  <a:pt x="842711" y="9144"/>
                </a:lnTo>
                <a:lnTo>
                  <a:pt x="838139" y="4572"/>
                </a:lnTo>
                <a:close/>
              </a:path>
              <a:path w="848995" h="466725">
                <a:moveTo>
                  <a:pt x="848807" y="457163"/>
                </a:moveTo>
                <a:lnTo>
                  <a:pt x="842711" y="457163"/>
                </a:lnTo>
                <a:lnTo>
                  <a:pt x="838139" y="461735"/>
                </a:lnTo>
                <a:lnTo>
                  <a:pt x="848807" y="461735"/>
                </a:lnTo>
                <a:lnTo>
                  <a:pt x="848807" y="457163"/>
                </a:lnTo>
                <a:close/>
              </a:path>
              <a:path w="848995" h="4667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848995" h="466725">
                <a:moveTo>
                  <a:pt x="83813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838139" y="9144"/>
                </a:lnTo>
                <a:lnTo>
                  <a:pt x="838139" y="4572"/>
                </a:lnTo>
                <a:close/>
              </a:path>
              <a:path w="848995" h="466725">
                <a:moveTo>
                  <a:pt x="848807" y="4572"/>
                </a:moveTo>
                <a:lnTo>
                  <a:pt x="838139" y="4572"/>
                </a:lnTo>
                <a:lnTo>
                  <a:pt x="842711" y="9144"/>
                </a:lnTo>
                <a:lnTo>
                  <a:pt x="848807" y="9144"/>
                </a:lnTo>
                <a:lnTo>
                  <a:pt x="8488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 txBox="1"/>
          <p:nvPr/>
        </p:nvSpPr>
        <p:spPr>
          <a:xfrm>
            <a:off x="4733154" y="5534715"/>
            <a:ext cx="38925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0:0</a:t>
            </a:r>
            <a:r>
              <a:rPr sz="1800" dirty="0">
                <a:latin typeface="Liberation Sans Narrow"/>
                <a:cs typeface="Liberation Sans Narrow"/>
              </a:rPr>
              <a:t>0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6638003" y="3934641"/>
            <a:ext cx="492759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24:0</a:t>
            </a:r>
            <a:r>
              <a:rPr sz="1800" dirty="0">
                <a:latin typeface="Liberation Sans Narrow"/>
                <a:cs typeface="Liberation Sans Narrow"/>
              </a:rPr>
              <a:t>0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6554693" y="5457504"/>
            <a:ext cx="848994" cy="466725"/>
          </a:xfrm>
          <a:custGeom>
            <a:avLst/>
            <a:gdLst/>
            <a:ahLst/>
            <a:cxnLst/>
            <a:rect l="l" t="t" r="r" b="b"/>
            <a:pathLst>
              <a:path w="848995" h="466725">
                <a:moveTo>
                  <a:pt x="848807" y="0"/>
                </a:moveTo>
                <a:lnTo>
                  <a:pt x="0" y="0"/>
                </a:lnTo>
                <a:lnTo>
                  <a:pt x="0" y="466307"/>
                </a:lnTo>
                <a:lnTo>
                  <a:pt x="848807" y="466307"/>
                </a:lnTo>
                <a:lnTo>
                  <a:pt x="848807" y="461735"/>
                </a:lnTo>
                <a:lnTo>
                  <a:pt x="10668" y="461735"/>
                </a:lnTo>
                <a:lnTo>
                  <a:pt x="4572" y="457163"/>
                </a:lnTo>
                <a:lnTo>
                  <a:pt x="10668" y="457163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848807" y="4572"/>
                </a:lnTo>
                <a:lnTo>
                  <a:pt x="848807" y="0"/>
                </a:lnTo>
                <a:close/>
              </a:path>
              <a:path w="848995" h="466725">
                <a:moveTo>
                  <a:pt x="10668" y="457163"/>
                </a:moveTo>
                <a:lnTo>
                  <a:pt x="4572" y="457163"/>
                </a:lnTo>
                <a:lnTo>
                  <a:pt x="10668" y="461735"/>
                </a:lnTo>
                <a:lnTo>
                  <a:pt x="10668" y="457163"/>
                </a:lnTo>
                <a:close/>
              </a:path>
              <a:path w="848995" h="466725">
                <a:moveTo>
                  <a:pt x="838139" y="457163"/>
                </a:moveTo>
                <a:lnTo>
                  <a:pt x="10668" y="457163"/>
                </a:lnTo>
                <a:lnTo>
                  <a:pt x="10668" y="461735"/>
                </a:lnTo>
                <a:lnTo>
                  <a:pt x="838139" y="461735"/>
                </a:lnTo>
                <a:lnTo>
                  <a:pt x="838139" y="457163"/>
                </a:lnTo>
                <a:close/>
              </a:path>
              <a:path w="848995" h="466725">
                <a:moveTo>
                  <a:pt x="838139" y="4572"/>
                </a:moveTo>
                <a:lnTo>
                  <a:pt x="838139" y="461735"/>
                </a:lnTo>
                <a:lnTo>
                  <a:pt x="842711" y="457163"/>
                </a:lnTo>
                <a:lnTo>
                  <a:pt x="848807" y="457163"/>
                </a:lnTo>
                <a:lnTo>
                  <a:pt x="848807" y="9144"/>
                </a:lnTo>
                <a:lnTo>
                  <a:pt x="842711" y="9144"/>
                </a:lnTo>
                <a:lnTo>
                  <a:pt x="838139" y="4572"/>
                </a:lnTo>
                <a:close/>
              </a:path>
              <a:path w="848995" h="466725">
                <a:moveTo>
                  <a:pt x="848807" y="457163"/>
                </a:moveTo>
                <a:lnTo>
                  <a:pt x="842711" y="457163"/>
                </a:lnTo>
                <a:lnTo>
                  <a:pt x="838139" y="461735"/>
                </a:lnTo>
                <a:lnTo>
                  <a:pt x="848807" y="461735"/>
                </a:lnTo>
                <a:lnTo>
                  <a:pt x="848807" y="457163"/>
                </a:lnTo>
                <a:close/>
              </a:path>
              <a:path w="848995" h="4667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848995" h="466725">
                <a:moveTo>
                  <a:pt x="83813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838139" y="9144"/>
                </a:lnTo>
                <a:lnTo>
                  <a:pt x="838139" y="4572"/>
                </a:lnTo>
                <a:close/>
              </a:path>
              <a:path w="848995" h="466725">
                <a:moveTo>
                  <a:pt x="848807" y="4572"/>
                </a:moveTo>
                <a:lnTo>
                  <a:pt x="838139" y="4572"/>
                </a:lnTo>
                <a:lnTo>
                  <a:pt x="842711" y="9144"/>
                </a:lnTo>
                <a:lnTo>
                  <a:pt x="848807" y="9144"/>
                </a:lnTo>
                <a:lnTo>
                  <a:pt x="8488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 txBox="1"/>
          <p:nvPr/>
        </p:nvSpPr>
        <p:spPr>
          <a:xfrm>
            <a:off x="6638003" y="5534715"/>
            <a:ext cx="492759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08:0</a:t>
            </a:r>
            <a:r>
              <a:rPr sz="1800" dirty="0">
                <a:latin typeface="Liberation Sans Narrow"/>
                <a:cs typeface="Liberation Sans Narrow"/>
              </a:rPr>
              <a:t>0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5824257" y="3965121"/>
            <a:ext cx="22288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170" dirty="0">
                <a:latin typeface="Liberation Sans Narrow"/>
                <a:cs typeface="Liberation Sans Narrow"/>
              </a:rPr>
              <a:t>T</a:t>
            </a:r>
            <a:r>
              <a:rPr sz="1800" dirty="0">
                <a:latin typeface="Liberation Sans Narrow"/>
                <a:cs typeface="Liberation Sans Narrow"/>
              </a:rPr>
              <a:t>o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5900445" y="5565195"/>
            <a:ext cx="22288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170" dirty="0">
                <a:latin typeface="Liberation Sans Narrow"/>
                <a:cs typeface="Liberation Sans Narrow"/>
              </a:rPr>
              <a:t>T</a:t>
            </a:r>
            <a:r>
              <a:rPr sz="1800" dirty="0">
                <a:latin typeface="Liberation Sans Narrow"/>
                <a:cs typeface="Liberation Sans Narrow"/>
              </a:rPr>
              <a:t>o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87787" y="4847950"/>
            <a:ext cx="1534795" cy="390525"/>
          </a:xfrm>
          <a:custGeom>
            <a:avLst/>
            <a:gdLst/>
            <a:ahLst/>
            <a:cxnLst/>
            <a:rect l="l" t="t" r="r" b="b"/>
            <a:pathLst>
              <a:path w="1534795" h="390525">
                <a:moveTo>
                  <a:pt x="1534536" y="0"/>
                </a:moveTo>
                <a:lnTo>
                  <a:pt x="0" y="0"/>
                </a:lnTo>
                <a:lnTo>
                  <a:pt x="0" y="390119"/>
                </a:lnTo>
                <a:lnTo>
                  <a:pt x="1534536" y="390119"/>
                </a:lnTo>
                <a:lnTo>
                  <a:pt x="1534536" y="385547"/>
                </a:lnTo>
                <a:lnTo>
                  <a:pt x="10668" y="385547"/>
                </a:lnTo>
                <a:lnTo>
                  <a:pt x="4572" y="380975"/>
                </a:lnTo>
                <a:lnTo>
                  <a:pt x="10668" y="380975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1534536" y="4572"/>
                </a:lnTo>
                <a:lnTo>
                  <a:pt x="1534536" y="0"/>
                </a:lnTo>
                <a:close/>
              </a:path>
              <a:path w="1534795" h="390525">
                <a:moveTo>
                  <a:pt x="10668" y="380975"/>
                </a:moveTo>
                <a:lnTo>
                  <a:pt x="4572" y="380975"/>
                </a:lnTo>
                <a:lnTo>
                  <a:pt x="10668" y="385547"/>
                </a:lnTo>
                <a:lnTo>
                  <a:pt x="10668" y="380975"/>
                </a:lnTo>
                <a:close/>
              </a:path>
              <a:path w="1534795" h="390525">
                <a:moveTo>
                  <a:pt x="1523868" y="380975"/>
                </a:moveTo>
                <a:lnTo>
                  <a:pt x="10668" y="380975"/>
                </a:lnTo>
                <a:lnTo>
                  <a:pt x="10668" y="385547"/>
                </a:lnTo>
                <a:lnTo>
                  <a:pt x="1523868" y="385547"/>
                </a:lnTo>
                <a:lnTo>
                  <a:pt x="1523868" y="380975"/>
                </a:lnTo>
                <a:close/>
              </a:path>
              <a:path w="1534795" h="390525">
                <a:moveTo>
                  <a:pt x="1523868" y="4572"/>
                </a:moveTo>
                <a:lnTo>
                  <a:pt x="1523868" y="385547"/>
                </a:lnTo>
                <a:lnTo>
                  <a:pt x="1528440" y="380975"/>
                </a:lnTo>
                <a:lnTo>
                  <a:pt x="1534536" y="380975"/>
                </a:lnTo>
                <a:lnTo>
                  <a:pt x="1534536" y="9144"/>
                </a:lnTo>
                <a:lnTo>
                  <a:pt x="1528440" y="9144"/>
                </a:lnTo>
                <a:lnTo>
                  <a:pt x="1523868" y="4572"/>
                </a:lnTo>
                <a:close/>
              </a:path>
              <a:path w="1534795" h="390525">
                <a:moveTo>
                  <a:pt x="1534536" y="380975"/>
                </a:moveTo>
                <a:lnTo>
                  <a:pt x="1528440" y="380975"/>
                </a:lnTo>
                <a:lnTo>
                  <a:pt x="1523868" y="385547"/>
                </a:lnTo>
                <a:lnTo>
                  <a:pt x="1534536" y="385547"/>
                </a:lnTo>
                <a:lnTo>
                  <a:pt x="1534536" y="380975"/>
                </a:lnTo>
                <a:close/>
              </a:path>
              <a:path w="15347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1534795" h="390525">
                <a:moveTo>
                  <a:pt x="1523868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1523868" y="9144"/>
                </a:lnTo>
                <a:lnTo>
                  <a:pt x="1523868" y="4572"/>
                </a:lnTo>
                <a:close/>
              </a:path>
              <a:path w="1534795" h="390525">
                <a:moveTo>
                  <a:pt x="1534536" y="4572"/>
                </a:moveTo>
                <a:lnTo>
                  <a:pt x="1523868" y="4572"/>
                </a:lnTo>
                <a:lnTo>
                  <a:pt x="1528440" y="9144"/>
                </a:lnTo>
                <a:lnTo>
                  <a:pt x="1534536" y="9144"/>
                </a:lnTo>
                <a:lnTo>
                  <a:pt x="1534536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 txBox="1"/>
          <p:nvPr/>
        </p:nvSpPr>
        <p:spPr>
          <a:xfrm>
            <a:off x="771088" y="4887065"/>
            <a:ext cx="88836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Night</a:t>
            </a:r>
            <a:r>
              <a:rPr sz="1800" spc="-65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Shift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2364044" y="4847950"/>
            <a:ext cx="848994" cy="390525"/>
          </a:xfrm>
          <a:custGeom>
            <a:avLst/>
            <a:gdLst/>
            <a:ahLst/>
            <a:cxnLst/>
            <a:rect l="l" t="t" r="r" b="b"/>
            <a:pathLst>
              <a:path w="848994" h="390525">
                <a:moveTo>
                  <a:pt x="848791" y="0"/>
                </a:moveTo>
                <a:lnTo>
                  <a:pt x="0" y="0"/>
                </a:lnTo>
                <a:lnTo>
                  <a:pt x="0" y="390119"/>
                </a:lnTo>
                <a:lnTo>
                  <a:pt x="848791" y="390119"/>
                </a:lnTo>
                <a:lnTo>
                  <a:pt x="848791" y="385547"/>
                </a:lnTo>
                <a:lnTo>
                  <a:pt x="10668" y="385547"/>
                </a:lnTo>
                <a:lnTo>
                  <a:pt x="4572" y="380975"/>
                </a:lnTo>
                <a:lnTo>
                  <a:pt x="10668" y="380975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848791" y="4572"/>
                </a:lnTo>
                <a:lnTo>
                  <a:pt x="848791" y="0"/>
                </a:lnTo>
                <a:close/>
              </a:path>
              <a:path w="848994" h="390525">
                <a:moveTo>
                  <a:pt x="10668" y="380975"/>
                </a:moveTo>
                <a:lnTo>
                  <a:pt x="4572" y="380975"/>
                </a:lnTo>
                <a:lnTo>
                  <a:pt x="10668" y="385547"/>
                </a:lnTo>
                <a:lnTo>
                  <a:pt x="10668" y="380975"/>
                </a:lnTo>
                <a:close/>
              </a:path>
              <a:path w="848994" h="390525">
                <a:moveTo>
                  <a:pt x="838123" y="380975"/>
                </a:moveTo>
                <a:lnTo>
                  <a:pt x="10668" y="380975"/>
                </a:lnTo>
                <a:lnTo>
                  <a:pt x="10668" y="385547"/>
                </a:lnTo>
                <a:lnTo>
                  <a:pt x="838123" y="385547"/>
                </a:lnTo>
                <a:lnTo>
                  <a:pt x="838123" y="380975"/>
                </a:lnTo>
                <a:close/>
              </a:path>
              <a:path w="848994" h="390525">
                <a:moveTo>
                  <a:pt x="838123" y="4572"/>
                </a:moveTo>
                <a:lnTo>
                  <a:pt x="838123" y="385547"/>
                </a:lnTo>
                <a:lnTo>
                  <a:pt x="842695" y="380975"/>
                </a:lnTo>
                <a:lnTo>
                  <a:pt x="848791" y="380975"/>
                </a:lnTo>
                <a:lnTo>
                  <a:pt x="848791" y="9144"/>
                </a:lnTo>
                <a:lnTo>
                  <a:pt x="842695" y="9144"/>
                </a:lnTo>
                <a:lnTo>
                  <a:pt x="838123" y="4572"/>
                </a:lnTo>
                <a:close/>
              </a:path>
              <a:path w="848994" h="390525">
                <a:moveTo>
                  <a:pt x="848791" y="380975"/>
                </a:moveTo>
                <a:lnTo>
                  <a:pt x="842695" y="380975"/>
                </a:lnTo>
                <a:lnTo>
                  <a:pt x="838123" y="385547"/>
                </a:lnTo>
                <a:lnTo>
                  <a:pt x="848791" y="385547"/>
                </a:lnTo>
                <a:lnTo>
                  <a:pt x="848791" y="380975"/>
                </a:lnTo>
                <a:close/>
              </a:path>
              <a:path w="848994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848994" h="390525">
                <a:moveTo>
                  <a:pt x="838123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838123" y="9144"/>
                </a:lnTo>
                <a:lnTo>
                  <a:pt x="838123" y="4572"/>
                </a:lnTo>
                <a:close/>
              </a:path>
              <a:path w="848994" h="390525">
                <a:moveTo>
                  <a:pt x="848791" y="4572"/>
                </a:moveTo>
                <a:lnTo>
                  <a:pt x="838123" y="4572"/>
                </a:lnTo>
                <a:lnTo>
                  <a:pt x="842695" y="9144"/>
                </a:lnTo>
                <a:lnTo>
                  <a:pt x="848791" y="9144"/>
                </a:lnTo>
                <a:lnTo>
                  <a:pt x="848791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 txBox="1"/>
          <p:nvPr/>
        </p:nvSpPr>
        <p:spPr>
          <a:xfrm>
            <a:off x="2447342" y="4887065"/>
            <a:ext cx="49466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Liberation Sans Narrow"/>
                <a:cs typeface="Liberation Sans Narrow"/>
              </a:rPr>
              <a:t>N</a:t>
            </a:r>
            <a:r>
              <a:rPr sz="1800" spc="-5" dirty="0">
                <a:latin typeface="Liberation Sans Narrow"/>
                <a:cs typeface="Liberation Sans Narrow"/>
              </a:rPr>
              <a:t>I</a:t>
            </a:r>
            <a:r>
              <a:rPr sz="1800" dirty="0">
                <a:latin typeface="Liberation Sans Narrow"/>
                <a:cs typeface="Liberation Sans Narrow"/>
              </a:rPr>
              <a:t>GH</a:t>
            </a:r>
            <a:endParaRPr sz="1800">
              <a:latin typeface="Liberation Sans Narrow"/>
              <a:cs typeface="Liberation Sans Narrow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53753" y="627840"/>
            <a:ext cx="548513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pc="-5" dirty="0">
                <a:solidFill>
                  <a:schemeClr val="accent1"/>
                </a:solidFill>
              </a:rPr>
              <a:t>Time Management Infotype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938605" y="1760069"/>
            <a:ext cx="8183245" cy="194925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19710">
              <a:lnSpc>
                <a:spcPct val="100000"/>
              </a:lnSpc>
              <a:spcBef>
                <a:spcPts val="1730"/>
              </a:spcBef>
              <a:tabLst>
                <a:tab pos="4102735" algn="l"/>
              </a:tabLst>
            </a:pPr>
            <a:endParaRPr lang="en-IN" sz="2000" spc="-5" dirty="0">
              <a:solidFill>
                <a:srgbClr val="5E5E5E"/>
              </a:solidFill>
              <a:latin typeface="Arial"/>
              <a:cs typeface="Arial"/>
            </a:endParaRPr>
          </a:p>
          <a:p>
            <a:pPr marL="219710">
              <a:lnSpc>
                <a:spcPct val="100000"/>
              </a:lnSpc>
              <a:spcBef>
                <a:spcPts val="1730"/>
              </a:spcBef>
              <a:tabLst>
                <a:tab pos="4102735" algn="l"/>
              </a:tabLst>
            </a:pPr>
            <a:r>
              <a:rPr lang="en-IN" sz="2000" spc="-5" dirty="0">
                <a:solidFill>
                  <a:srgbClr val="5E5E5E"/>
                </a:solidFill>
                <a:latin typeface="Arial"/>
                <a:cs typeface="Arial"/>
              </a:rPr>
              <a:t>IT </a:t>
            </a:r>
            <a:r>
              <a:rPr lang="en-IN" sz="2000" dirty="0">
                <a:solidFill>
                  <a:srgbClr val="5E5E5E"/>
                </a:solidFill>
                <a:latin typeface="Arial"/>
                <a:cs typeface="Arial"/>
              </a:rPr>
              <a:t>0007 (Planned</a:t>
            </a:r>
            <a:r>
              <a:rPr lang="en-IN" sz="2000" spc="-2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lang="en-IN" sz="2000" dirty="0">
                <a:solidFill>
                  <a:srgbClr val="5E5E5E"/>
                </a:solidFill>
                <a:latin typeface="Arial"/>
                <a:cs typeface="Arial"/>
              </a:rPr>
              <a:t>Working</a:t>
            </a:r>
            <a:r>
              <a:rPr lang="en-IN" sz="2000" spc="-2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lang="en-IN" sz="2000" spc="-5" dirty="0">
                <a:solidFill>
                  <a:srgbClr val="5E5E5E"/>
                </a:solidFill>
                <a:latin typeface="Arial"/>
                <a:cs typeface="Arial"/>
              </a:rPr>
              <a:t>time)	</a:t>
            </a:r>
            <a:r>
              <a:rPr lang="en-IN" sz="2000" dirty="0">
                <a:solidFill>
                  <a:srgbClr val="323299"/>
                </a:solidFill>
                <a:latin typeface="Wingdings"/>
                <a:cs typeface="Wingdings"/>
              </a:rPr>
              <a:t></a:t>
            </a:r>
            <a:r>
              <a:rPr lang="en-IN" sz="2000" dirty="0">
                <a:solidFill>
                  <a:srgbClr val="323299"/>
                </a:solidFill>
                <a:latin typeface="Times New Roman"/>
                <a:cs typeface="Times New Roman"/>
              </a:rPr>
              <a:t> </a:t>
            </a:r>
            <a:r>
              <a:rPr lang="en-IN" sz="2000" spc="-5" dirty="0">
                <a:solidFill>
                  <a:srgbClr val="5E5E5E"/>
                </a:solidFill>
                <a:latin typeface="Arial"/>
                <a:cs typeface="Arial"/>
              </a:rPr>
              <a:t>IT </a:t>
            </a:r>
            <a:r>
              <a:rPr lang="en-IN" sz="2000" dirty="0">
                <a:solidFill>
                  <a:srgbClr val="5E5E5E"/>
                </a:solidFill>
                <a:latin typeface="Arial"/>
                <a:cs typeface="Arial"/>
              </a:rPr>
              <a:t>2007 (Attendance</a:t>
            </a:r>
            <a:r>
              <a:rPr lang="en-IN" sz="2000" spc="-12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lang="en-IN" sz="2000" dirty="0">
                <a:solidFill>
                  <a:srgbClr val="5E5E5E"/>
                </a:solidFill>
                <a:latin typeface="Arial"/>
                <a:cs typeface="Arial"/>
              </a:rPr>
              <a:t>Quota)</a:t>
            </a:r>
            <a:endParaRPr lang="en-IN" sz="2000" dirty="0">
              <a:latin typeface="Arial"/>
              <a:cs typeface="Arial"/>
            </a:endParaRPr>
          </a:p>
          <a:p>
            <a:pPr marL="251460" indent="-239395">
              <a:lnSpc>
                <a:spcPct val="100000"/>
              </a:lnSpc>
              <a:spcBef>
                <a:spcPts val="1920"/>
              </a:spcBef>
              <a:buClr>
                <a:srgbClr val="323299"/>
              </a:buClr>
              <a:buFont typeface="Wingdings"/>
              <a:buChar char=""/>
              <a:tabLst>
                <a:tab pos="252095" algn="l"/>
                <a:tab pos="4102735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IT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0050 (Time Recording</a:t>
            </a:r>
            <a:r>
              <a:rPr sz="2000" spc="-5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Info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)	</a:t>
            </a:r>
            <a:r>
              <a:rPr sz="2000" dirty="0">
                <a:solidFill>
                  <a:srgbClr val="323299"/>
                </a:solidFill>
                <a:latin typeface="Wingdings"/>
                <a:cs typeface="Wingdings"/>
              </a:rPr>
              <a:t></a:t>
            </a:r>
            <a:r>
              <a:rPr sz="2000" dirty="0">
                <a:solidFill>
                  <a:srgbClr val="323299"/>
                </a:solidFill>
                <a:latin typeface="Times New Roman"/>
                <a:cs typeface="Times New Roman"/>
              </a:rPr>
              <a:t>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IT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2010(Employee</a:t>
            </a:r>
            <a:r>
              <a:rPr sz="2000" spc="-14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Remuneration)</a:t>
            </a:r>
            <a:endParaRPr sz="2000" dirty="0">
              <a:latin typeface="Arial"/>
              <a:cs typeface="Arial"/>
            </a:endParaRPr>
          </a:p>
          <a:p>
            <a:pPr marL="251460" indent="-239395">
              <a:lnSpc>
                <a:spcPct val="100000"/>
              </a:lnSpc>
              <a:spcBef>
                <a:spcPts val="1920"/>
              </a:spcBef>
              <a:buClr>
                <a:srgbClr val="323299"/>
              </a:buClr>
              <a:buFont typeface="Wingdings"/>
              <a:buChar char=""/>
              <a:tabLst>
                <a:tab pos="252095" algn="l"/>
                <a:tab pos="4102735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IT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0416 (</a:t>
            </a:r>
            <a:r>
              <a:rPr sz="2000" spc="-2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Time</a:t>
            </a:r>
            <a:r>
              <a:rPr sz="2000" spc="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Quota	</a:t>
            </a:r>
            <a:r>
              <a:rPr sz="2000" dirty="0">
                <a:solidFill>
                  <a:srgbClr val="323299"/>
                </a:solidFill>
                <a:latin typeface="Wingdings"/>
                <a:cs typeface="Wingdings"/>
              </a:rPr>
              <a:t></a:t>
            </a:r>
            <a:r>
              <a:rPr sz="2000" dirty="0">
                <a:solidFill>
                  <a:srgbClr val="323299"/>
                </a:solidFill>
                <a:latin typeface="Times New Roman"/>
                <a:cs typeface="Times New Roman"/>
              </a:rPr>
              <a:t>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IT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2011 (Time</a:t>
            </a:r>
            <a:r>
              <a:rPr sz="2000" spc="-9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Events)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463771" y="3892479"/>
            <a:ext cx="8985029" cy="2871998"/>
          </a:xfrm>
          <a:custGeom>
            <a:avLst/>
            <a:gdLst/>
            <a:ahLst/>
            <a:cxnLst/>
            <a:rect l="l" t="t" r="r" b="b"/>
            <a:pathLst>
              <a:path w="9143365" h="3429000">
                <a:moveTo>
                  <a:pt x="0" y="3428722"/>
                </a:moveTo>
                <a:lnTo>
                  <a:pt x="9143238" y="3428722"/>
                </a:lnTo>
                <a:lnTo>
                  <a:pt x="9143238" y="0"/>
                </a:lnTo>
                <a:lnTo>
                  <a:pt x="0" y="0"/>
                </a:lnTo>
                <a:lnTo>
                  <a:pt x="0" y="342872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1109392" y="4021498"/>
            <a:ext cx="1752600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Co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m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pen</a:t>
            </a:r>
            <a:r>
              <a:rPr sz="2000" spc="5" dirty="0">
                <a:solidFill>
                  <a:srgbClr val="5E5E5E"/>
                </a:solidFill>
                <a:latin typeface="Arial"/>
                <a:cs typeface="Arial"/>
              </a:rPr>
              <a:t>s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a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ti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on)</a:t>
            </a:r>
            <a:endParaRPr sz="20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938717" y="4570101"/>
            <a:ext cx="2484755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51460" indent="-239395">
              <a:lnSpc>
                <a:spcPct val="100000"/>
              </a:lnSpc>
              <a:spcBef>
                <a:spcPts val="100"/>
              </a:spcBef>
              <a:buClr>
                <a:srgbClr val="323299"/>
              </a:buClr>
              <a:buFont typeface="Wingdings"/>
              <a:buChar char=""/>
              <a:tabLst>
                <a:tab pos="252095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IT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2001</a:t>
            </a:r>
            <a:r>
              <a:rPr sz="2000" spc="-8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(Absences)</a:t>
            </a:r>
            <a:endParaRPr sz="20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938717" y="5118703"/>
            <a:ext cx="2780030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51460" indent="-239395">
              <a:lnSpc>
                <a:spcPct val="100000"/>
              </a:lnSpc>
              <a:spcBef>
                <a:spcPts val="100"/>
              </a:spcBef>
              <a:buClr>
                <a:srgbClr val="323299"/>
              </a:buClr>
              <a:buFont typeface="Wingdings"/>
              <a:buChar char=""/>
              <a:tabLst>
                <a:tab pos="252095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IT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2002</a:t>
            </a:r>
            <a:r>
              <a:rPr sz="2000" spc="-9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(Attendances)</a:t>
            </a:r>
            <a:endParaRPr sz="20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938717" y="5667293"/>
            <a:ext cx="2821305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51460" indent="-239395">
              <a:lnSpc>
                <a:spcPct val="100000"/>
              </a:lnSpc>
              <a:spcBef>
                <a:spcPts val="100"/>
              </a:spcBef>
              <a:buClr>
                <a:srgbClr val="323299"/>
              </a:buClr>
              <a:buFont typeface="Wingdings"/>
              <a:buChar char=""/>
              <a:tabLst>
                <a:tab pos="252095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IT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2003</a:t>
            </a:r>
            <a:r>
              <a:rPr sz="2000" spc="-10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(Substitutions)</a:t>
            </a:r>
            <a:endParaRPr sz="20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938717" y="6215882"/>
            <a:ext cx="2563495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51460" indent="-239395">
              <a:lnSpc>
                <a:spcPct val="100000"/>
              </a:lnSpc>
              <a:spcBef>
                <a:spcPts val="100"/>
              </a:spcBef>
              <a:buClr>
                <a:srgbClr val="323299"/>
              </a:buClr>
              <a:buFont typeface="Wingdings"/>
              <a:buChar char=""/>
              <a:tabLst>
                <a:tab pos="252095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IT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2004</a:t>
            </a:r>
            <a:r>
              <a:rPr sz="2000" spc="-7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(Availability)</a:t>
            </a:r>
            <a:endParaRPr sz="20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938717" y="6764477"/>
            <a:ext cx="2396490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51460" indent="-239395">
              <a:lnSpc>
                <a:spcPct val="100000"/>
              </a:lnSpc>
              <a:spcBef>
                <a:spcPts val="100"/>
              </a:spcBef>
              <a:buClr>
                <a:srgbClr val="323299"/>
              </a:buClr>
              <a:buFont typeface="Wingdings"/>
              <a:buChar char=""/>
              <a:tabLst>
                <a:tab pos="252095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IT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2005</a:t>
            </a:r>
            <a:r>
              <a:rPr sz="2000" spc="-7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(Overtime)</a:t>
            </a:r>
            <a:endParaRPr sz="200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028784" y="4083054"/>
            <a:ext cx="2862580" cy="8178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2880" marR="5080" indent="-170815">
              <a:lnSpc>
                <a:spcPct val="130000"/>
              </a:lnSpc>
              <a:spcBef>
                <a:spcPts val="100"/>
              </a:spcBef>
              <a:buClr>
                <a:srgbClr val="323299"/>
              </a:buClr>
              <a:buFont typeface="Wingdings"/>
              <a:buChar char=""/>
              <a:tabLst>
                <a:tab pos="252095" algn="l"/>
              </a:tabLst>
            </a:pPr>
            <a:r>
              <a:rPr dirty="0"/>
              <a:t>	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IT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2012 (Time</a:t>
            </a:r>
            <a:r>
              <a:rPr sz="2000" spc="-114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Transfer  Specifications)</a:t>
            </a:r>
            <a:endParaRPr sz="20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028784" y="5118703"/>
            <a:ext cx="3230880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2880" indent="-170815">
              <a:lnSpc>
                <a:spcPct val="100000"/>
              </a:lnSpc>
              <a:spcBef>
                <a:spcPts val="100"/>
              </a:spcBef>
              <a:buClr>
                <a:srgbClr val="323299"/>
              </a:buClr>
              <a:buFont typeface="Wingdings"/>
              <a:buChar char=""/>
              <a:tabLst>
                <a:tab pos="183515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IT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2013 (Quota</a:t>
            </a:r>
            <a:r>
              <a:rPr sz="2000" spc="-13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Correction)</a:t>
            </a:r>
            <a:endParaRPr sz="20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5480" y="1077466"/>
            <a:ext cx="4240321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200" spc="-10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Period </a:t>
            </a:r>
            <a:r>
              <a:rPr sz="2200" spc="-5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Work</a:t>
            </a:r>
            <a:r>
              <a:rPr sz="2200" spc="-75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 </a:t>
            </a:r>
            <a:r>
              <a:rPr sz="2200" spc="-5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Schedule</a:t>
            </a:r>
            <a:endParaRPr sz="2200" dirty="0">
              <a:solidFill>
                <a:schemeClr val="accent1"/>
              </a:solidFill>
              <a:latin typeface="Liberation Sans Narrow"/>
              <a:cs typeface="Liberation Sans Narrow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993570" y="1856081"/>
            <a:ext cx="5768340" cy="12598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15748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Period </a:t>
            </a:r>
            <a:r>
              <a:rPr sz="1800" spc="-10" dirty="0">
                <a:latin typeface="Liberation Sans Narrow"/>
                <a:cs typeface="Liberation Sans Narrow"/>
              </a:rPr>
              <a:t>Work </a:t>
            </a:r>
            <a:r>
              <a:rPr sz="1800" spc="-5" dirty="0">
                <a:latin typeface="Liberation Sans Narrow"/>
                <a:cs typeface="Liberation Sans Narrow"/>
              </a:rPr>
              <a:t>Schedule is </a:t>
            </a:r>
            <a:r>
              <a:rPr sz="1800" dirty="0">
                <a:latin typeface="Liberation Sans Narrow"/>
                <a:cs typeface="Liberation Sans Narrow"/>
              </a:rPr>
              <a:t>a </a:t>
            </a:r>
            <a:r>
              <a:rPr sz="1800" spc="-5" dirty="0">
                <a:latin typeface="Liberation Sans Narrow"/>
                <a:cs typeface="Liberation Sans Narrow"/>
              </a:rPr>
              <a:t>pattern of daily work schedule which the  employee will be</a:t>
            </a:r>
            <a:r>
              <a:rPr sz="1800" spc="35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working</a:t>
            </a:r>
            <a:endParaRPr sz="1800">
              <a:latin typeface="Liberation Sans Narrow"/>
              <a:cs typeface="Liberation Sans Narrow"/>
            </a:endParaRPr>
          </a:p>
          <a:p>
            <a:pPr marL="12700" marR="5080">
              <a:lnSpc>
                <a:spcPct val="100000"/>
              </a:lnSpc>
              <a:spcBef>
                <a:spcPts val="108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In this example, the employee </a:t>
            </a:r>
            <a:r>
              <a:rPr sz="1800" dirty="0">
                <a:latin typeface="Liberation Sans Narrow"/>
                <a:cs typeface="Liberation Sans Narrow"/>
              </a:rPr>
              <a:t>works </a:t>
            </a:r>
            <a:r>
              <a:rPr sz="1800" spc="-5" dirty="0">
                <a:latin typeface="Liberation Sans Narrow"/>
                <a:cs typeface="Liberation Sans Narrow"/>
              </a:rPr>
              <a:t>from 9:00 to 17:00. Name of the  Daily </a:t>
            </a:r>
            <a:r>
              <a:rPr sz="1800" spc="-10" dirty="0">
                <a:latin typeface="Liberation Sans Narrow"/>
                <a:cs typeface="Liberation Sans Narrow"/>
              </a:rPr>
              <a:t>Work </a:t>
            </a:r>
            <a:r>
              <a:rPr sz="1800" spc="-5" dirty="0">
                <a:latin typeface="Liberation Sans Narrow"/>
                <a:cs typeface="Liberation Sans Narrow"/>
              </a:rPr>
              <a:t>Schedule is</a:t>
            </a:r>
            <a:r>
              <a:rPr sz="1800" spc="45" dirty="0">
                <a:latin typeface="Liberation Sans Narrow"/>
                <a:cs typeface="Liberation Sans Narrow"/>
              </a:rPr>
              <a:t> </a:t>
            </a:r>
            <a:r>
              <a:rPr sz="1800" spc="-30" dirty="0">
                <a:latin typeface="Liberation Sans Narrow"/>
                <a:cs typeface="Liberation Sans Narrow"/>
              </a:rPr>
              <a:t>6DAY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8683538" y="3577041"/>
            <a:ext cx="497205" cy="315595"/>
          </a:xfrm>
          <a:custGeom>
            <a:avLst/>
            <a:gdLst/>
            <a:ahLst/>
            <a:cxnLst/>
            <a:rect l="l" t="t" r="r" b="b"/>
            <a:pathLst>
              <a:path w="497204" h="315595">
                <a:moveTo>
                  <a:pt x="496793" y="0"/>
                </a:moveTo>
                <a:lnTo>
                  <a:pt x="0" y="0"/>
                </a:lnTo>
                <a:lnTo>
                  <a:pt x="0" y="315437"/>
                </a:lnTo>
                <a:lnTo>
                  <a:pt x="9144" y="315437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496793" y="4572"/>
                </a:lnTo>
                <a:lnTo>
                  <a:pt x="496793" y="0"/>
                </a:lnTo>
                <a:close/>
              </a:path>
              <a:path w="497204" h="315595">
                <a:moveTo>
                  <a:pt x="487649" y="4572"/>
                </a:moveTo>
                <a:lnTo>
                  <a:pt x="487649" y="315437"/>
                </a:lnTo>
                <a:lnTo>
                  <a:pt x="496793" y="315437"/>
                </a:lnTo>
                <a:lnTo>
                  <a:pt x="496793" y="9144"/>
                </a:lnTo>
                <a:lnTo>
                  <a:pt x="492221" y="9144"/>
                </a:lnTo>
                <a:lnTo>
                  <a:pt x="487649" y="4572"/>
                </a:lnTo>
                <a:close/>
              </a:path>
              <a:path w="497204" h="31559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497204" h="315595">
                <a:moveTo>
                  <a:pt x="487649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487649" y="9144"/>
                </a:lnTo>
                <a:lnTo>
                  <a:pt x="487649" y="4572"/>
                </a:lnTo>
                <a:close/>
              </a:path>
              <a:path w="497204" h="315595">
                <a:moveTo>
                  <a:pt x="496793" y="4572"/>
                </a:moveTo>
                <a:lnTo>
                  <a:pt x="487649" y="4572"/>
                </a:lnTo>
                <a:lnTo>
                  <a:pt x="492221" y="9144"/>
                </a:lnTo>
                <a:lnTo>
                  <a:pt x="496793" y="9144"/>
                </a:lnTo>
                <a:lnTo>
                  <a:pt x="49679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8765330" y="3616150"/>
            <a:ext cx="13017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Liberation Sans Narrow"/>
                <a:cs typeface="Liberation Sans Narrow"/>
              </a:rPr>
              <a:t>7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7921600" y="3577041"/>
            <a:ext cx="497205" cy="315595"/>
          </a:xfrm>
          <a:custGeom>
            <a:avLst/>
            <a:gdLst/>
            <a:ahLst/>
            <a:cxnLst/>
            <a:rect l="l" t="t" r="r" b="b"/>
            <a:pathLst>
              <a:path w="497204" h="315595">
                <a:moveTo>
                  <a:pt x="496793" y="0"/>
                </a:moveTo>
                <a:lnTo>
                  <a:pt x="0" y="0"/>
                </a:lnTo>
                <a:lnTo>
                  <a:pt x="0" y="315437"/>
                </a:lnTo>
                <a:lnTo>
                  <a:pt x="9144" y="315437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496793" y="4572"/>
                </a:lnTo>
                <a:lnTo>
                  <a:pt x="496793" y="0"/>
                </a:lnTo>
                <a:close/>
              </a:path>
              <a:path w="497204" h="315595">
                <a:moveTo>
                  <a:pt x="487649" y="4572"/>
                </a:moveTo>
                <a:lnTo>
                  <a:pt x="487649" y="315437"/>
                </a:lnTo>
                <a:lnTo>
                  <a:pt x="496793" y="315437"/>
                </a:lnTo>
                <a:lnTo>
                  <a:pt x="496793" y="9144"/>
                </a:lnTo>
                <a:lnTo>
                  <a:pt x="492221" y="9144"/>
                </a:lnTo>
                <a:lnTo>
                  <a:pt x="487649" y="4572"/>
                </a:lnTo>
                <a:close/>
              </a:path>
              <a:path w="497204" h="31559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497204" h="315595">
                <a:moveTo>
                  <a:pt x="487649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487649" y="9144"/>
                </a:lnTo>
                <a:lnTo>
                  <a:pt x="487649" y="4572"/>
                </a:lnTo>
                <a:close/>
              </a:path>
              <a:path w="497204" h="315595">
                <a:moveTo>
                  <a:pt x="496793" y="4572"/>
                </a:moveTo>
                <a:lnTo>
                  <a:pt x="487649" y="4572"/>
                </a:lnTo>
                <a:lnTo>
                  <a:pt x="492221" y="9144"/>
                </a:lnTo>
                <a:lnTo>
                  <a:pt x="496793" y="9144"/>
                </a:lnTo>
                <a:lnTo>
                  <a:pt x="49679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8003393" y="3616150"/>
            <a:ext cx="13017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Liberation Sans Narrow"/>
                <a:cs typeface="Liberation Sans Narrow"/>
              </a:rPr>
              <a:t>6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7159660" y="3577041"/>
            <a:ext cx="497205" cy="315595"/>
          </a:xfrm>
          <a:custGeom>
            <a:avLst/>
            <a:gdLst/>
            <a:ahLst/>
            <a:cxnLst/>
            <a:rect l="l" t="t" r="r" b="b"/>
            <a:pathLst>
              <a:path w="497204" h="315595">
                <a:moveTo>
                  <a:pt x="496793" y="0"/>
                </a:moveTo>
                <a:lnTo>
                  <a:pt x="0" y="0"/>
                </a:lnTo>
                <a:lnTo>
                  <a:pt x="0" y="315437"/>
                </a:lnTo>
                <a:lnTo>
                  <a:pt x="9144" y="315437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496793" y="4572"/>
                </a:lnTo>
                <a:lnTo>
                  <a:pt x="496793" y="0"/>
                </a:lnTo>
                <a:close/>
              </a:path>
              <a:path w="497204" h="315595">
                <a:moveTo>
                  <a:pt x="487649" y="4572"/>
                </a:moveTo>
                <a:lnTo>
                  <a:pt x="487649" y="315437"/>
                </a:lnTo>
                <a:lnTo>
                  <a:pt x="496793" y="315437"/>
                </a:lnTo>
                <a:lnTo>
                  <a:pt x="496793" y="9144"/>
                </a:lnTo>
                <a:lnTo>
                  <a:pt x="492221" y="9144"/>
                </a:lnTo>
                <a:lnTo>
                  <a:pt x="487649" y="4572"/>
                </a:lnTo>
                <a:close/>
              </a:path>
              <a:path w="497204" h="31559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497204" h="315595">
                <a:moveTo>
                  <a:pt x="487649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487649" y="9144"/>
                </a:lnTo>
                <a:lnTo>
                  <a:pt x="487649" y="4572"/>
                </a:lnTo>
                <a:close/>
              </a:path>
              <a:path w="497204" h="315595">
                <a:moveTo>
                  <a:pt x="496793" y="4572"/>
                </a:moveTo>
                <a:lnTo>
                  <a:pt x="487649" y="4572"/>
                </a:lnTo>
                <a:lnTo>
                  <a:pt x="492221" y="9144"/>
                </a:lnTo>
                <a:lnTo>
                  <a:pt x="496793" y="9144"/>
                </a:lnTo>
                <a:lnTo>
                  <a:pt x="49679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7241457" y="3616150"/>
            <a:ext cx="13017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Liberation Sans Narrow"/>
                <a:cs typeface="Liberation Sans Narrow"/>
              </a:rPr>
              <a:t>5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6397752" y="3577041"/>
            <a:ext cx="497205" cy="315595"/>
          </a:xfrm>
          <a:custGeom>
            <a:avLst/>
            <a:gdLst/>
            <a:ahLst/>
            <a:cxnLst/>
            <a:rect l="l" t="t" r="r" b="b"/>
            <a:pathLst>
              <a:path w="497204" h="315595">
                <a:moveTo>
                  <a:pt x="496763" y="0"/>
                </a:moveTo>
                <a:lnTo>
                  <a:pt x="0" y="0"/>
                </a:lnTo>
                <a:lnTo>
                  <a:pt x="0" y="315437"/>
                </a:lnTo>
                <a:lnTo>
                  <a:pt x="9144" y="315437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496763" y="4572"/>
                </a:lnTo>
                <a:lnTo>
                  <a:pt x="496763" y="0"/>
                </a:lnTo>
                <a:close/>
              </a:path>
              <a:path w="497204" h="315595">
                <a:moveTo>
                  <a:pt x="487619" y="4572"/>
                </a:moveTo>
                <a:lnTo>
                  <a:pt x="487619" y="315437"/>
                </a:lnTo>
                <a:lnTo>
                  <a:pt x="496763" y="315437"/>
                </a:lnTo>
                <a:lnTo>
                  <a:pt x="496763" y="9144"/>
                </a:lnTo>
                <a:lnTo>
                  <a:pt x="492191" y="9144"/>
                </a:lnTo>
                <a:lnTo>
                  <a:pt x="487619" y="4572"/>
                </a:lnTo>
                <a:close/>
              </a:path>
              <a:path w="497204" h="31559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497204" h="315595">
                <a:moveTo>
                  <a:pt x="487619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487619" y="9144"/>
                </a:lnTo>
                <a:lnTo>
                  <a:pt x="487619" y="4572"/>
                </a:lnTo>
                <a:close/>
              </a:path>
              <a:path w="497204" h="315595">
                <a:moveTo>
                  <a:pt x="496763" y="4572"/>
                </a:moveTo>
                <a:lnTo>
                  <a:pt x="487619" y="4572"/>
                </a:lnTo>
                <a:lnTo>
                  <a:pt x="492191" y="9144"/>
                </a:lnTo>
                <a:lnTo>
                  <a:pt x="496763" y="9144"/>
                </a:lnTo>
                <a:lnTo>
                  <a:pt x="49676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6479519" y="3616150"/>
            <a:ext cx="13017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Liberation Sans Narrow"/>
                <a:cs typeface="Liberation Sans Narrow"/>
              </a:rPr>
              <a:t>4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5635812" y="3577041"/>
            <a:ext cx="497205" cy="315595"/>
          </a:xfrm>
          <a:custGeom>
            <a:avLst/>
            <a:gdLst/>
            <a:ahLst/>
            <a:cxnLst/>
            <a:rect l="l" t="t" r="r" b="b"/>
            <a:pathLst>
              <a:path w="497204" h="315595">
                <a:moveTo>
                  <a:pt x="496763" y="0"/>
                </a:moveTo>
                <a:lnTo>
                  <a:pt x="0" y="0"/>
                </a:lnTo>
                <a:lnTo>
                  <a:pt x="0" y="315437"/>
                </a:lnTo>
                <a:lnTo>
                  <a:pt x="9144" y="315437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496763" y="4572"/>
                </a:lnTo>
                <a:lnTo>
                  <a:pt x="496763" y="0"/>
                </a:lnTo>
                <a:close/>
              </a:path>
              <a:path w="497204" h="315595">
                <a:moveTo>
                  <a:pt x="487619" y="4572"/>
                </a:moveTo>
                <a:lnTo>
                  <a:pt x="487619" y="315437"/>
                </a:lnTo>
                <a:lnTo>
                  <a:pt x="496763" y="315437"/>
                </a:lnTo>
                <a:lnTo>
                  <a:pt x="496763" y="9144"/>
                </a:lnTo>
                <a:lnTo>
                  <a:pt x="492191" y="9144"/>
                </a:lnTo>
                <a:lnTo>
                  <a:pt x="487619" y="4572"/>
                </a:lnTo>
                <a:close/>
              </a:path>
              <a:path w="497204" h="31559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497204" h="315595">
                <a:moveTo>
                  <a:pt x="487619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487619" y="9144"/>
                </a:lnTo>
                <a:lnTo>
                  <a:pt x="487619" y="4572"/>
                </a:lnTo>
                <a:close/>
              </a:path>
              <a:path w="497204" h="315595">
                <a:moveTo>
                  <a:pt x="496763" y="4572"/>
                </a:moveTo>
                <a:lnTo>
                  <a:pt x="487619" y="4572"/>
                </a:lnTo>
                <a:lnTo>
                  <a:pt x="492191" y="9144"/>
                </a:lnTo>
                <a:lnTo>
                  <a:pt x="496763" y="9144"/>
                </a:lnTo>
                <a:lnTo>
                  <a:pt x="49676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5717582" y="3616150"/>
            <a:ext cx="13017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Liberation Sans Narrow"/>
                <a:cs typeface="Liberation Sans Narrow"/>
              </a:rPr>
              <a:t>3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4797674" y="3577041"/>
            <a:ext cx="497205" cy="315595"/>
          </a:xfrm>
          <a:custGeom>
            <a:avLst/>
            <a:gdLst/>
            <a:ahLst/>
            <a:cxnLst/>
            <a:rect l="l" t="t" r="r" b="b"/>
            <a:pathLst>
              <a:path w="497204" h="315595">
                <a:moveTo>
                  <a:pt x="496763" y="0"/>
                </a:moveTo>
                <a:lnTo>
                  <a:pt x="0" y="0"/>
                </a:lnTo>
                <a:lnTo>
                  <a:pt x="0" y="315437"/>
                </a:lnTo>
                <a:lnTo>
                  <a:pt x="9144" y="315437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496763" y="4572"/>
                </a:lnTo>
                <a:lnTo>
                  <a:pt x="496763" y="0"/>
                </a:lnTo>
                <a:close/>
              </a:path>
              <a:path w="497204" h="315595">
                <a:moveTo>
                  <a:pt x="487619" y="4572"/>
                </a:moveTo>
                <a:lnTo>
                  <a:pt x="487619" y="315437"/>
                </a:lnTo>
                <a:lnTo>
                  <a:pt x="496763" y="315437"/>
                </a:lnTo>
                <a:lnTo>
                  <a:pt x="496763" y="9144"/>
                </a:lnTo>
                <a:lnTo>
                  <a:pt x="492191" y="9144"/>
                </a:lnTo>
                <a:lnTo>
                  <a:pt x="487619" y="4572"/>
                </a:lnTo>
                <a:close/>
              </a:path>
              <a:path w="497204" h="31559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497204" h="315595">
                <a:moveTo>
                  <a:pt x="487619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487619" y="9144"/>
                </a:lnTo>
                <a:lnTo>
                  <a:pt x="487619" y="4572"/>
                </a:lnTo>
                <a:close/>
              </a:path>
              <a:path w="497204" h="315595">
                <a:moveTo>
                  <a:pt x="496763" y="4572"/>
                </a:moveTo>
                <a:lnTo>
                  <a:pt x="487619" y="4572"/>
                </a:lnTo>
                <a:lnTo>
                  <a:pt x="492191" y="9144"/>
                </a:lnTo>
                <a:lnTo>
                  <a:pt x="496763" y="9144"/>
                </a:lnTo>
                <a:lnTo>
                  <a:pt x="49676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4879445" y="3616150"/>
            <a:ext cx="13017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Liberation Sans Narrow"/>
                <a:cs typeface="Liberation Sans Narrow"/>
              </a:rPr>
              <a:t>2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4035735" y="3577041"/>
            <a:ext cx="497205" cy="315595"/>
          </a:xfrm>
          <a:custGeom>
            <a:avLst/>
            <a:gdLst/>
            <a:ahLst/>
            <a:cxnLst/>
            <a:rect l="l" t="t" r="r" b="b"/>
            <a:pathLst>
              <a:path w="497204" h="315595">
                <a:moveTo>
                  <a:pt x="496793" y="0"/>
                </a:moveTo>
                <a:lnTo>
                  <a:pt x="0" y="0"/>
                </a:lnTo>
                <a:lnTo>
                  <a:pt x="0" y="315437"/>
                </a:lnTo>
                <a:lnTo>
                  <a:pt x="9144" y="315437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496793" y="4572"/>
                </a:lnTo>
                <a:lnTo>
                  <a:pt x="496793" y="0"/>
                </a:lnTo>
                <a:close/>
              </a:path>
              <a:path w="497204" h="315595">
                <a:moveTo>
                  <a:pt x="487649" y="4572"/>
                </a:moveTo>
                <a:lnTo>
                  <a:pt x="487649" y="315437"/>
                </a:lnTo>
                <a:lnTo>
                  <a:pt x="496793" y="315437"/>
                </a:lnTo>
                <a:lnTo>
                  <a:pt x="496793" y="9144"/>
                </a:lnTo>
                <a:lnTo>
                  <a:pt x="492221" y="9144"/>
                </a:lnTo>
                <a:lnTo>
                  <a:pt x="487649" y="4572"/>
                </a:lnTo>
                <a:close/>
              </a:path>
              <a:path w="497204" h="31559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497204" h="315595">
                <a:moveTo>
                  <a:pt x="487649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487649" y="9144"/>
                </a:lnTo>
                <a:lnTo>
                  <a:pt x="487649" y="4572"/>
                </a:lnTo>
                <a:close/>
              </a:path>
              <a:path w="497204" h="315595">
                <a:moveTo>
                  <a:pt x="496793" y="4572"/>
                </a:moveTo>
                <a:lnTo>
                  <a:pt x="487649" y="4572"/>
                </a:lnTo>
                <a:lnTo>
                  <a:pt x="492221" y="9144"/>
                </a:lnTo>
                <a:lnTo>
                  <a:pt x="496793" y="9144"/>
                </a:lnTo>
                <a:lnTo>
                  <a:pt x="49679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4117508" y="3616150"/>
            <a:ext cx="13017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Liberation Sans Narrow"/>
                <a:cs typeface="Liberation Sans Narrow"/>
              </a:rPr>
              <a:t>1</a:t>
            </a:r>
            <a:endParaRPr sz="1800">
              <a:latin typeface="Liberation Sans Narrow"/>
              <a:cs typeface="Liberation Sans Narrow"/>
            </a:endParaRPr>
          </a:p>
        </p:txBody>
      </p:sp>
      <p:grpSp>
        <p:nvGrpSpPr>
          <p:cNvPr id="18" name="object 18"/>
          <p:cNvGrpSpPr/>
          <p:nvPr/>
        </p:nvGrpSpPr>
        <p:grpSpPr>
          <a:xfrm>
            <a:off x="463771" y="3892479"/>
            <a:ext cx="8712019" cy="2660721"/>
            <a:chOff x="463771" y="3892479"/>
            <a:chExt cx="9143365" cy="3429000"/>
          </a:xfrm>
        </p:grpSpPr>
        <p:sp>
          <p:nvSpPr>
            <p:cNvPr id="19" name="object 19"/>
            <p:cNvSpPr/>
            <p:nvPr/>
          </p:nvSpPr>
          <p:spPr>
            <a:xfrm>
              <a:off x="463771" y="3892479"/>
              <a:ext cx="9143365" cy="3429000"/>
            </a:xfrm>
            <a:custGeom>
              <a:avLst/>
              <a:gdLst/>
              <a:ahLst/>
              <a:cxnLst/>
              <a:rect l="l" t="t" r="r" b="b"/>
              <a:pathLst>
                <a:path w="9143365" h="3429000">
                  <a:moveTo>
                    <a:pt x="0" y="3428722"/>
                  </a:moveTo>
                  <a:lnTo>
                    <a:pt x="9143238" y="3428722"/>
                  </a:lnTo>
                  <a:lnTo>
                    <a:pt x="9143238" y="0"/>
                  </a:lnTo>
                  <a:lnTo>
                    <a:pt x="0" y="0"/>
                  </a:lnTo>
                  <a:lnTo>
                    <a:pt x="0" y="342872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987981" y="4338980"/>
              <a:ext cx="497205" cy="390525"/>
            </a:xfrm>
            <a:custGeom>
              <a:avLst/>
              <a:gdLst/>
              <a:ahLst/>
              <a:cxnLst/>
              <a:rect l="l" t="t" r="r" b="b"/>
              <a:pathLst>
                <a:path w="497205" h="390525">
                  <a:moveTo>
                    <a:pt x="496787" y="0"/>
                  </a:moveTo>
                  <a:lnTo>
                    <a:pt x="0" y="0"/>
                  </a:lnTo>
                  <a:lnTo>
                    <a:pt x="0" y="390110"/>
                  </a:lnTo>
                  <a:lnTo>
                    <a:pt x="496787" y="390110"/>
                  </a:lnTo>
                  <a:lnTo>
                    <a:pt x="496787" y="385538"/>
                  </a:lnTo>
                  <a:lnTo>
                    <a:pt x="9144" y="385538"/>
                  </a:lnTo>
                  <a:lnTo>
                    <a:pt x="4572" y="380969"/>
                  </a:lnTo>
                  <a:lnTo>
                    <a:pt x="9144" y="380969"/>
                  </a:lnTo>
                  <a:lnTo>
                    <a:pt x="9144" y="9144"/>
                  </a:lnTo>
                  <a:lnTo>
                    <a:pt x="4572" y="9144"/>
                  </a:lnTo>
                  <a:lnTo>
                    <a:pt x="9144" y="4572"/>
                  </a:lnTo>
                  <a:lnTo>
                    <a:pt x="496787" y="4572"/>
                  </a:lnTo>
                  <a:lnTo>
                    <a:pt x="496787" y="0"/>
                  </a:lnTo>
                  <a:close/>
                </a:path>
                <a:path w="497205" h="390525">
                  <a:moveTo>
                    <a:pt x="9144" y="380969"/>
                  </a:moveTo>
                  <a:lnTo>
                    <a:pt x="4572" y="380969"/>
                  </a:lnTo>
                  <a:lnTo>
                    <a:pt x="9144" y="385538"/>
                  </a:lnTo>
                  <a:lnTo>
                    <a:pt x="9144" y="380969"/>
                  </a:lnTo>
                  <a:close/>
                </a:path>
                <a:path w="497205" h="390525">
                  <a:moveTo>
                    <a:pt x="487643" y="380969"/>
                  </a:moveTo>
                  <a:lnTo>
                    <a:pt x="9144" y="380969"/>
                  </a:lnTo>
                  <a:lnTo>
                    <a:pt x="9144" y="385538"/>
                  </a:lnTo>
                  <a:lnTo>
                    <a:pt x="487643" y="385538"/>
                  </a:lnTo>
                  <a:lnTo>
                    <a:pt x="487643" y="380969"/>
                  </a:lnTo>
                  <a:close/>
                </a:path>
                <a:path w="497205" h="390525">
                  <a:moveTo>
                    <a:pt x="487643" y="4572"/>
                  </a:moveTo>
                  <a:lnTo>
                    <a:pt x="487643" y="385538"/>
                  </a:lnTo>
                  <a:lnTo>
                    <a:pt x="492215" y="380969"/>
                  </a:lnTo>
                  <a:lnTo>
                    <a:pt x="496787" y="380969"/>
                  </a:lnTo>
                  <a:lnTo>
                    <a:pt x="496787" y="9144"/>
                  </a:lnTo>
                  <a:lnTo>
                    <a:pt x="492215" y="9144"/>
                  </a:lnTo>
                  <a:lnTo>
                    <a:pt x="487643" y="4572"/>
                  </a:lnTo>
                  <a:close/>
                </a:path>
                <a:path w="497205" h="390525">
                  <a:moveTo>
                    <a:pt x="496787" y="380969"/>
                  </a:moveTo>
                  <a:lnTo>
                    <a:pt x="492215" y="380969"/>
                  </a:lnTo>
                  <a:lnTo>
                    <a:pt x="487643" y="385538"/>
                  </a:lnTo>
                  <a:lnTo>
                    <a:pt x="496787" y="385538"/>
                  </a:lnTo>
                  <a:lnTo>
                    <a:pt x="496787" y="380969"/>
                  </a:lnTo>
                  <a:close/>
                </a:path>
                <a:path w="497205" h="390525">
                  <a:moveTo>
                    <a:pt x="9144" y="4572"/>
                  </a:moveTo>
                  <a:lnTo>
                    <a:pt x="4572" y="9144"/>
                  </a:lnTo>
                  <a:lnTo>
                    <a:pt x="9144" y="9144"/>
                  </a:lnTo>
                  <a:lnTo>
                    <a:pt x="9144" y="4572"/>
                  </a:lnTo>
                  <a:close/>
                </a:path>
                <a:path w="497205" h="390525">
                  <a:moveTo>
                    <a:pt x="487643" y="4572"/>
                  </a:moveTo>
                  <a:lnTo>
                    <a:pt x="9144" y="4572"/>
                  </a:lnTo>
                  <a:lnTo>
                    <a:pt x="9144" y="9144"/>
                  </a:lnTo>
                  <a:lnTo>
                    <a:pt x="487643" y="9144"/>
                  </a:lnTo>
                  <a:lnTo>
                    <a:pt x="487643" y="4572"/>
                  </a:lnTo>
                  <a:close/>
                </a:path>
                <a:path w="497205" h="390525">
                  <a:moveTo>
                    <a:pt x="496787" y="4572"/>
                  </a:moveTo>
                  <a:lnTo>
                    <a:pt x="487643" y="4572"/>
                  </a:lnTo>
                  <a:lnTo>
                    <a:pt x="492215" y="9144"/>
                  </a:lnTo>
                  <a:lnTo>
                    <a:pt x="496787" y="9144"/>
                  </a:lnTo>
                  <a:lnTo>
                    <a:pt x="496787" y="457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2" name="object 22"/>
          <p:cNvSpPr txBox="1"/>
          <p:nvPr/>
        </p:nvSpPr>
        <p:spPr>
          <a:xfrm>
            <a:off x="1069770" y="4378087"/>
            <a:ext cx="233679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0</a:t>
            </a:r>
            <a:r>
              <a:rPr sz="1800" dirty="0">
                <a:latin typeface="Liberation Sans Narrow"/>
                <a:cs typeface="Liberation Sans Narrow"/>
              </a:rPr>
              <a:t>1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1902308" y="4338980"/>
            <a:ext cx="706120" cy="390525"/>
          </a:xfrm>
          <a:custGeom>
            <a:avLst/>
            <a:gdLst/>
            <a:ahLst/>
            <a:cxnLst/>
            <a:rect l="l" t="t" r="r" b="b"/>
            <a:pathLst>
              <a:path w="706119" h="390525">
                <a:moveTo>
                  <a:pt x="705554" y="0"/>
                </a:moveTo>
                <a:lnTo>
                  <a:pt x="0" y="0"/>
                </a:lnTo>
                <a:lnTo>
                  <a:pt x="0" y="390110"/>
                </a:lnTo>
                <a:lnTo>
                  <a:pt x="705554" y="390110"/>
                </a:lnTo>
                <a:lnTo>
                  <a:pt x="705554" y="385538"/>
                </a:lnTo>
                <a:lnTo>
                  <a:pt x="9144" y="385538"/>
                </a:lnTo>
                <a:lnTo>
                  <a:pt x="4572" y="380969"/>
                </a:lnTo>
                <a:lnTo>
                  <a:pt x="9144" y="380969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705554" y="4572"/>
                </a:lnTo>
                <a:lnTo>
                  <a:pt x="705554" y="0"/>
                </a:lnTo>
                <a:close/>
              </a:path>
              <a:path w="706119" h="390525">
                <a:moveTo>
                  <a:pt x="9144" y="380969"/>
                </a:moveTo>
                <a:lnTo>
                  <a:pt x="4572" y="380969"/>
                </a:lnTo>
                <a:lnTo>
                  <a:pt x="9144" y="385538"/>
                </a:lnTo>
                <a:lnTo>
                  <a:pt x="9144" y="380969"/>
                </a:lnTo>
                <a:close/>
              </a:path>
              <a:path w="706119" h="390525">
                <a:moveTo>
                  <a:pt x="696410" y="380969"/>
                </a:moveTo>
                <a:lnTo>
                  <a:pt x="9144" y="380969"/>
                </a:lnTo>
                <a:lnTo>
                  <a:pt x="9144" y="385538"/>
                </a:lnTo>
                <a:lnTo>
                  <a:pt x="696410" y="385538"/>
                </a:lnTo>
                <a:lnTo>
                  <a:pt x="696410" y="380969"/>
                </a:lnTo>
                <a:close/>
              </a:path>
              <a:path w="706119" h="390525">
                <a:moveTo>
                  <a:pt x="696410" y="4572"/>
                </a:moveTo>
                <a:lnTo>
                  <a:pt x="696410" y="385538"/>
                </a:lnTo>
                <a:lnTo>
                  <a:pt x="700982" y="380969"/>
                </a:lnTo>
                <a:lnTo>
                  <a:pt x="705554" y="380969"/>
                </a:lnTo>
                <a:lnTo>
                  <a:pt x="705554" y="9144"/>
                </a:lnTo>
                <a:lnTo>
                  <a:pt x="700982" y="9144"/>
                </a:lnTo>
                <a:lnTo>
                  <a:pt x="696410" y="4572"/>
                </a:lnTo>
                <a:close/>
              </a:path>
              <a:path w="706119" h="390525">
                <a:moveTo>
                  <a:pt x="705554" y="380969"/>
                </a:moveTo>
                <a:lnTo>
                  <a:pt x="700982" y="380969"/>
                </a:lnTo>
                <a:lnTo>
                  <a:pt x="696410" y="385538"/>
                </a:lnTo>
                <a:lnTo>
                  <a:pt x="705554" y="385538"/>
                </a:lnTo>
                <a:lnTo>
                  <a:pt x="705554" y="380969"/>
                </a:lnTo>
                <a:close/>
              </a:path>
              <a:path w="706119" h="3905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706119" h="390525">
                <a:moveTo>
                  <a:pt x="696410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696410" y="9144"/>
                </a:lnTo>
                <a:lnTo>
                  <a:pt x="696410" y="4572"/>
                </a:lnTo>
                <a:close/>
              </a:path>
              <a:path w="706119" h="390525">
                <a:moveTo>
                  <a:pt x="705554" y="4572"/>
                </a:moveTo>
                <a:lnTo>
                  <a:pt x="696410" y="4572"/>
                </a:lnTo>
                <a:lnTo>
                  <a:pt x="700982" y="9144"/>
                </a:lnTo>
                <a:lnTo>
                  <a:pt x="705554" y="9144"/>
                </a:lnTo>
                <a:lnTo>
                  <a:pt x="705554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1984084" y="4378087"/>
            <a:ext cx="50101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6</a:t>
            </a:r>
            <a:r>
              <a:rPr sz="1800" dirty="0">
                <a:latin typeface="Liberation Sans Narrow"/>
                <a:cs typeface="Liberation Sans Narrow"/>
              </a:rPr>
              <a:t>D</a:t>
            </a:r>
            <a:r>
              <a:rPr sz="1800" spc="-110" dirty="0">
                <a:latin typeface="Liberation Sans Narrow"/>
                <a:cs typeface="Liberation Sans Narrow"/>
              </a:rPr>
              <a:t>A</a:t>
            </a:r>
            <a:r>
              <a:rPr sz="1800" dirty="0">
                <a:latin typeface="Liberation Sans Narrow"/>
                <a:cs typeface="Liberation Sans Narrow"/>
              </a:rPr>
              <a:t>Y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2892826" y="4338980"/>
            <a:ext cx="775970" cy="390525"/>
          </a:xfrm>
          <a:custGeom>
            <a:avLst/>
            <a:gdLst/>
            <a:ahLst/>
            <a:cxnLst/>
            <a:rect l="l" t="t" r="r" b="b"/>
            <a:pathLst>
              <a:path w="775970" h="390525">
                <a:moveTo>
                  <a:pt x="775655" y="0"/>
                </a:moveTo>
                <a:lnTo>
                  <a:pt x="0" y="0"/>
                </a:lnTo>
                <a:lnTo>
                  <a:pt x="0" y="390110"/>
                </a:lnTo>
                <a:lnTo>
                  <a:pt x="775655" y="390110"/>
                </a:lnTo>
                <a:lnTo>
                  <a:pt x="775655" y="385538"/>
                </a:lnTo>
                <a:lnTo>
                  <a:pt x="9144" y="385538"/>
                </a:lnTo>
                <a:lnTo>
                  <a:pt x="4572" y="380969"/>
                </a:lnTo>
                <a:lnTo>
                  <a:pt x="9144" y="380969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775655" y="4572"/>
                </a:lnTo>
                <a:lnTo>
                  <a:pt x="775655" y="0"/>
                </a:lnTo>
                <a:close/>
              </a:path>
              <a:path w="775970" h="390525">
                <a:moveTo>
                  <a:pt x="9144" y="380969"/>
                </a:moveTo>
                <a:lnTo>
                  <a:pt x="4572" y="380969"/>
                </a:lnTo>
                <a:lnTo>
                  <a:pt x="9144" y="385538"/>
                </a:lnTo>
                <a:lnTo>
                  <a:pt x="9144" y="380969"/>
                </a:lnTo>
                <a:close/>
              </a:path>
              <a:path w="775970" h="390525">
                <a:moveTo>
                  <a:pt x="764987" y="380969"/>
                </a:moveTo>
                <a:lnTo>
                  <a:pt x="9144" y="380969"/>
                </a:lnTo>
                <a:lnTo>
                  <a:pt x="9144" y="385538"/>
                </a:lnTo>
                <a:lnTo>
                  <a:pt x="764987" y="385538"/>
                </a:lnTo>
                <a:lnTo>
                  <a:pt x="764987" y="380969"/>
                </a:lnTo>
                <a:close/>
              </a:path>
              <a:path w="775970" h="390525">
                <a:moveTo>
                  <a:pt x="764987" y="4572"/>
                </a:moveTo>
                <a:lnTo>
                  <a:pt x="764987" y="385538"/>
                </a:lnTo>
                <a:lnTo>
                  <a:pt x="769559" y="380969"/>
                </a:lnTo>
                <a:lnTo>
                  <a:pt x="775655" y="380969"/>
                </a:lnTo>
                <a:lnTo>
                  <a:pt x="775655" y="9144"/>
                </a:lnTo>
                <a:lnTo>
                  <a:pt x="769559" y="9144"/>
                </a:lnTo>
                <a:lnTo>
                  <a:pt x="764987" y="4572"/>
                </a:lnTo>
                <a:close/>
              </a:path>
              <a:path w="775970" h="390525">
                <a:moveTo>
                  <a:pt x="775655" y="380969"/>
                </a:moveTo>
                <a:lnTo>
                  <a:pt x="769559" y="380969"/>
                </a:lnTo>
                <a:lnTo>
                  <a:pt x="764987" y="385538"/>
                </a:lnTo>
                <a:lnTo>
                  <a:pt x="775655" y="385538"/>
                </a:lnTo>
                <a:lnTo>
                  <a:pt x="775655" y="380969"/>
                </a:lnTo>
                <a:close/>
              </a:path>
              <a:path w="775970" h="3905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775970" h="390525">
                <a:moveTo>
                  <a:pt x="764987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764987" y="9144"/>
                </a:lnTo>
                <a:lnTo>
                  <a:pt x="764987" y="4572"/>
                </a:lnTo>
                <a:close/>
              </a:path>
              <a:path w="775970" h="390525">
                <a:moveTo>
                  <a:pt x="775655" y="4572"/>
                </a:moveTo>
                <a:lnTo>
                  <a:pt x="764987" y="4572"/>
                </a:lnTo>
                <a:lnTo>
                  <a:pt x="769559" y="9144"/>
                </a:lnTo>
                <a:lnTo>
                  <a:pt x="775655" y="9144"/>
                </a:lnTo>
                <a:lnTo>
                  <a:pt x="775655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 txBox="1"/>
          <p:nvPr/>
        </p:nvSpPr>
        <p:spPr>
          <a:xfrm>
            <a:off x="2974609" y="4378087"/>
            <a:ext cx="33718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00</a:t>
            </a:r>
            <a:r>
              <a:rPr sz="1800" dirty="0">
                <a:latin typeface="Liberation Sans Narrow"/>
                <a:cs typeface="Liberation Sans Narrow"/>
              </a:rPr>
              <a:t>1</a:t>
            </a:r>
            <a:endParaRPr sz="1800">
              <a:latin typeface="Liberation Sans Narrow"/>
              <a:cs typeface="Liberation Sans Narrow"/>
            </a:endParaRPr>
          </a:p>
        </p:txBody>
      </p:sp>
      <p:grpSp>
        <p:nvGrpSpPr>
          <p:cNvPr id="27" name="object 27"/>
          <p:cNvGrpSpPr/>
          <p:nvPr/>
        </p:nvGrpSpPr>
        <p:grpSpPr>
          <a:xfrm>
            <a:off x="3932103" y="3892479"/>
            <a:ext cx="5248275" cy="836930"/>
            <a:chOff x="3932103" y="3892479"/>
            <a:chExt cx="5248275" cy="836930"/>
          </a:xfrm>
        </p:grpSpPr>
        <p:sp>
          <p:nvSpPr>
            <p:cNvPr id="28" name="object 28"/>
            <p:cNvSpPr/>
            <p:nvPr/>
          </p:nvSpPr>
          <p:spPr>
            <a:xfrm>
              <a:off x="4035729" y="3892486"/>
              <a:ext cx="5144770" cy="74930"/>
            </a:xfrm>
            <a:custGeom>
              <a:avLst/>
              <a:gdLst/>
              <a:ahLst/>
              <a:cxnLst/>
              <a:rect l="l" t="t" r="r" b="b"/>
              <a:pathLst>
                <a:path w="5144770" h="74929">
                  <a:moveTo>
                    <a:pt x="496798" y="0"/>
                  </a:moveTo>
                  <a:lnTo>
                    <a:pt x="487654" y="0"/>
                  </a:lnTo>
                  <a:lnTo>
                    <a:pt x="487654" y="65532"/>
                  </a:lnTo>
                  <a:lnTo>
                    <a:pt x="9144" y="65532"/>
                  </a:lnTo>
                  <a:lnTo>
                    <a:pt x="9144" y="0"/>
                  </a:lnTo>
                  <a:lnTo>
                    <a:pt x="0" y="0"/>
                  </a:lnTo>
                  <a:lnTo>
                    <a:pt x="0" y="74676"/>
                  </a:lnTo>
                  <a:lnTo>
                    <a:pt x="496798" y="74676"/>
                  </a:lnTo>
                  <a:lnTo>
                    <a:pt x="496798" y="70104"/>
                  </a:lnTo>
                  <a:lnTo>
                    <a:pt x="496798" y="65532"/>
                  </a:lnTo>
                  <a:lnTo>
                    <a:pt x="496798" y="0"/>
                  </a:lnTo>
                  <a:close/>
                </a:path>
                <a:path w="5144770" h="74929">
                  <a:moveTo>
                    <a:pt x="1258697" y="0"/>
                  </a:moveTo>
                  <a:lnTo>
                    <a:pt x="1249553" y="0"/>
                  </a:lnTo>
                  <a:lnTo>
                    <a:pt x="1249553" y="65532"/>
                  </a:lnTo>
                  <a:lnTo>
                    <a:pt x="771080" y="65532"/>
                  </a:lnTo>
                  <a:lnTo>
                    <a:pt x="771080" y="0"/>
                  </a:lnTo>
                  <a:lnTo>
                    <a:pt x="761936" y="0"/>
                  </a:lnTo>
                  <a:lnTo>
                    <a:pt x="761936" y="74676"/>
                  </a:lnTo>
                  <a:lnTo>
                    <a:pt x="1258697" y="74676"/>
                  </a:lnTo>
                  <a:lnTo>
                    <a:pt x="1258697" y="70104"/>
                  </a:lnTo>
                  <a:lnTo>
                    <a:pt x="1258697" y="65532"/>
                  </a:lnTo>
                  <a:lnTo>
                    <a:pt x="1258697" y="0"/>
                  </a:lnTo>
                  <a:close/>
                </a:path>
                <a:path w="5144770" h="74929">
                  <a:moveTo>
                    <a:pt x="2096846" y="0"/>
                  </a:moveTo>
                  <a:lnTo>
                    <a:pt x="2087702" y="0"/>
                  </a:lnTo>
                  <a:lnTo>
                    <a:pt x="2087702" y="65532"/>
                  </a:lnTo>
                  <a:lnTo>
                    <a:pt x="1609217" y="65532"/>
                  </a:lnTo>
                  <a:lnTo>
                    <a:pt x="1609217" y="0"/>
                  </a:lnTo>
                  <a:lnTo>
                    <a:pt x="1600073" y="0"/>
                  </a:lnTo>
                  <a:lnTo>
                    <a:pt x="1600073" y="74676"/>
                  </a:lnTo>
                  <a:lnTo>
                    <a:pt x="2096846" y="74676"/>
                  </a:lnTo>
                  <a:lnTo>
                    <a:pt x="2096846" y="70104"/>
                  </a:lnTo>
                  <a:lnTo>
                    <a:pt x="2096846" y="65532"/>
                  </a:lnTo>
                  <a:lnTo>
                    <a:pt x="2096846" y="0"/>
                  </a:lnTo>
                  <a:close/>
                </a:path>
                <a:path w="5144770" h="74929">
                  <a:moveTo>
                    <a:pt x="2858782" y="0"/>
                  </a:moveTo>
                  <a:lnTo>
                    <a:pt x="2849638" y="0"/>
                  </a:lnTo>
                  <a:lnTo>
                    <a:pt x="2849638" y="65532"/>
                  </a:lnTo>
                  <a:lnTo>
                    <a:pt x="2371166" y="65532"/>
                  </a:lnTo>
                  <a:lnTo>
                    <a:pt x="2371166" y="0"/>
                  </a:lnTo>
                  <a:lnTo>
                    <a:pt x="2362022" y="0"/>
                  </a:lnTo>
                  <a:lnTo>
                    <a:pt x="2362022" y="74676"/>
                  </a:lnTo>
                  <a:lnTo>
                    <a:pt x="2858782" y="74676"/>
                  </a:lnTo>
                  <a:lnTo>
                    <a:pt x="2858782" y="70104"/>
                  </a:lnTo>
                  <a:lnTo>
                    <a:pt x="2858782" y="65532"/>
                  </a:lnTo>
                  <a:lnTo>
                    <a:pt x="2858782" y="0"/>
                  </a:lnTo>
                  <a:close/>
                </a:path>
                <a:path w="5144770" h="74929">
                  <a:moveTo>
                    <a:pt x="3620719" y="0"/>
                  </a:moveTo>
                  <a:lnTo>
                    <a:pt x="3611575" y="0"/>
                  </a:lnTo>
                  <a:lnTo>
                    <a:pt x="3611575" y="65532"/>
                  </a:lnTo>
                  <a:lnTo>
                    <a:pt x="3133064" y="65532"/>
                  </a:lnTo>
                  <a:lnTo>
                    <a:pt x="3133064" y="0"/>
                  </a:lnTo>
                  <a:lnTo>
                    <a:pt x="3123920" y="0"/>
                  </a:lnTo>
                  <a:lnTo>
                    <a:pt x="3123920" y="74676"/>
                  </a:lnTo>
                  <a:lnTo>
                    <a:pt x="3620719" y="74676"/>
                  </a:lnTo>
                  <a:lnTo>
                    <a:pt x="3620719" y="70104"/>
                  </a:lnTo>
                  <a:lnTo>
                    <a:pt x="3620719" y="65532"/>
                  </a:lnTo>
                  <a:lnTo>
                    <a:pt x="3620719" y="0"/>
                  </a:lnTo>
                  <a:close/>
                </a:path>
                <a:path w="5144770" h="74929">
                  <a:moveTo>
                    <a:pt x="4382655" y="0"/>
                  </a:moveTo>
                  <a:lnTo>
                    <a:pt x="4373511" y="0"/>
                  </a:lnTo>
                  <a:lnTo>
                    <a:pt x="4373511" y="65532"/>
                  </a:lnTo>
                  <a:lnTo>
                    <a:pt x="3895013" y="65532"/>
                  </a:lnTo>
                  <a:lnTo>
                    <a:pt x="3895013" y="0"/>
                  </a:lnTo>
                  <a:lnTo>
                    <a:pt x="3885869" y="0"/>
                  </a:lnTo>
                  <a:lnTo>
                    <a:pt x="3885869" y="74676"/>
                  </a:lnTo>
                  <a:lnTo>
                    <a:pt x="4382655" y="74676"/>
                  </a:lnTo>
                  <a:lnTo>
                    <a:pt x="4382655" y="70104"/>
                  </a:lnTo>
                  <a:lnTo>
                    <a:pt x="4382655" y="65532"/>
                  </a:lnTo>
                  <a:lnTo>
                    <a:pt x="4382655" y="0"/>
                  </a:lnTo>
                  <a:close/>
                </a:path>
                <a:path w="5144770" h="74929">
                  <a:moveTo>
                    <a:pt x="5144592" y="0"/>
                  </a:moveTo>
                  <a:lnTo>
                    <a:pt x="5135448" y="0"/>
                  </a:lnTo>
                  <a:lnTo>
                    <a:pt x="5135448" y="65532"/>
                  </a:lnTo>
                  <a:lnTo>
                    <a:pt x="4656950" y="65532"/>
                  </a:lnTo>
                  <a:lnTo>
                    <a:pt x="4656950" y="0"/>
                  </a:lnTo>
                  <a:lnTo>
                    <a:pt x="4647806" y="0"/>
                  </a:lnTo>
                  <a:lnTo>
                    <a:pt x="4647806" y="74676"/>
                  </a:lnTo>
                  <a:lnTo>
                    <a:pt x="5144592" y="74676"/>
                  </a:lnTo>
                  <a:lnTo>
                    <a:pt x="5144592" y="70104"/>
                  </a:lnTo>
                  <a:lnTo>
                    <a:pt x="5144592" y="65532"/>
                  </a:lnTo>
                  <a:lnTo>
                    <a:pt x="5144592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3936674" y="4343555"/>
              <a:ext cx="695325" cy="381000"/>
            </a:xfrm>
            <a:custGeom>
              <a:avLst/>
              <a:gdLst/>
              <a:ahLst/>
              <a:cxnLst/>
              <a:rect l="l" t="t" r="r" b="b"/>
              <a:pathLst>
                <a:path w="695325" h="381000">
                  <a:moveTo>
                    <a:pt x="694883" y="0"/>
                  </a:moveTo>
                  <a:lnTo>
                    <a:pt x="0" y="0"/>
                  </a:lnTo>
                  <a:lnTo>
                    <a:pt x="0" y="380963"/>
                  </a:lnTo>
                  <a:lnTo>
                    <a:pt x="694883" y="380963"/>
                  </a:lnTo>
                  <a:lnTo>
                    <a:pt x="694883" y="0"/>
                  </a:lnTo>
                  <a:close/>
                </a:path>
              </a:pathLst>
            </a:custGeom>
            <a:solidFill>
              <a:srgbClr val="3265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3932103" y="4338980"/>
              <a:ext cx="704215" cy="390525"/>
            </a:xfrm>
            <a:custGeom>
              <a:avLst/>
              <a:gdLst/>
              <a:ahLst/>
              <a:cxnLst/>
              <a:rect l="l" t="t" r="r" b="b"/>
              <a:pathLst>
                <a:path w="704214" h="390525">
                  <a:moveTo>
                    <a:pt x="704027" y="0"/>
                  </a:moveTo>
                  <a:lnTo>
                    <a:pt x="0" y="0"/>
                  </a:lnTo>
                  <a:lnTo>
                    <a:pt x="0" y="390110"/>
                  </a:lnTo>
                  <a:lnTo>
                    <a:pt x="704027" y="390110"/>
                  </a:lnTo>
                  <a:lnTo>
                    <a:pt x="704027" y="385538"/>
                  </a:lnTo>
                  <a:lnTo>
                    <a:pt x="9144" y="385538"/>
                  </a:lnTo>
                  <a:lnTo>
                    <a:pt x="4572" y="380969"/>
                  </a:lnTo>
                  <a:lnTo>
                    <a:pt x="9144" y="380969"/>
                  </a:lnTo>
                  <a:lnTo>
                    <a:pt x="9144" y="9144"/>
                  </a:lnTo>
                  <a:lnTo>
                    <a:pt x="4572" y="9144"/>
                  </a:lnTo>
                  <a:lnTo>
                    <a:pt x="9144" y="4572"/>
                  </a:lnTo>
                  <a:lnTo>
                    <a:pt x="704027" y="4572"/>
                  </a:lnTo>
                  <a:lnTo>
                    <a:pt x="704027" y="0"/>
                  </a:lnTo>
                  <a:close/>
                </a:path>
                <a:path w="704214" h="390525">
                  <a:moveTo>
                    <a:pt x="9144" y="380969"/>
                  </a:moveTo>
                  <a:lnTo>
                    <a:pt x="4572" y="380969"/>
                  </a:lnTo>
                  <a:lnTo>
                    <a:pt x="9144" y="385538"/>
                  </a:lnTo>
                  <a:lnTo>
                    <a:pt x="9144" y="380969"/>
                  </a:lnTo>
                  <a:close/>
                </a:path>
                <a:path w="704214" h="390525">
                  <a:moveTo>
                    <a:pt x="694883" y="380969"/>
                  </a:moveTo>
                  <a:lnTo>
                    <a:pt x="9144" y="380969"/>
                  </a:lnTo>
                  <a:lnTo>
                    <a:pt x="9144" y="385538"/>
                  </a:lnTo>
                  <a:lnTo>
                    <a:pt x="694883" y="385538"/>
                  </a:lnTo>
                  <a:lnTo>
                    <a:pt x="694883" y="380969"/>
                  </a:lnTo>
                  <a:close/>
                </a:path>
                <a:path w="704214" h="390525">
                  <a:moveTo>
                    <a:pt x="694883" y="4572"/>
                  </a:moveTo>
                  <a:lnTo>
                    <a:pt x="694883" y="385538"/>
                  </a:lnTo>
                  <a:lnTo>
                    <a:pt x="699455" y="380969"/>
                  </a:lnTo>
                  <a:lnTo>
                    <a:pt x="704027" y="380969"/>
                  </a:lnTo>
                  <a:lnTo>
                    <a:pt x="704027" y="9144"/>
                  </a:lnTo>
                  <a:lnTo>
                    <a:pt x="699455" y="9144"/>
                  </a:lnTo>
                  <a:lnTo>
                    <a:pt x="694883" y="4572"/>
                  </a:lnTo>
                  <a:close/>
                </a:path>
                <a:path w="704214" h="390525">
                  <a:moveTo>
                    <a:pt x="704027" y="380969"/>
                  </a:moveTo>
                  <a:lnTo>
                    <a:pt x="699455" y="380969"/>
                  </a:lnTo>
                  <a:lnTo>
                    <a:pt x="694883" y="385538"/>
                  </a:lnTo>
                  <a:lnTo>
                    <a:pt x="704027" y="385538"/>
                  </a:lnTo>
                  <a:lnTo>
                    <a:pt x="704027" y="380969"/>
                  </a:lnTo>
                  <a:close/>
                </a:path>
                <a:path w="704214" h="390525">
                  <a:moveTo>
                    <a:pt x="9144" y="4572"/>
                  </a:moveTo>
                  <a:lnTo>
                    <a:pt x="4572" y="9144"/>
                  </a:lnTo>
                  <a:lnTo>
                    <a:pt x="9144" y="9144"/>
                  </a:lnTo>
                  <a:lnTo>
                    <a:pt x="9144" y="4572"/>
                  </a:lnTo>
                  <a:close/>
                </a:path>
                <a:path w="704214" h="390525">
                  <a:moveTo>
                    <a:pt x="694883" y="4572"/>
                  </a:moveTo>
                  <a:lnTo>
                    <a:pt x="9144" y="4572"/>
                  </a:lnTo>
                  <a:lnTo>
                    <a:pt x="9144" y="9144"/>
                  </a:lnTo>
                  <a:lnTo>
                    <a:pt x="694883" y="9144"/>
                  </a:lnTo>
                  <a:lnTo>
                    <a:pt x="694883" y="4572"/>
                  </a:lnTo>
                  <a:close/>
                </a:path>
                <a:path w="704214" h="390525">
                  <a:moveTo>
                    <a:pt x="704027" y="4572"/>
                  </a:moveTo>
                  <a:lnTo>
                    <a:pt x="694883" y="4572"/>
                  </a:lnTo>
                  <a:lnTo>
                    <a:pt x="699455" y="9144"/>
                  </a:lnTo>
                  <a:lnTo>
                    <a:pt x="704027" y="9144"/>
                  </a:lnTo>
                  <a:lnTo>
                    <a:pt x="704027" y="457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1" name="object 31"/>
          <p:cNvSpPr txBox="1"/>
          <p:nvPr/>
        </p:nvSpPr>
        <p:spPr>
          <a:xfrm>
            <a:off x="3936674" y="4343555"/>
            <a:ext cx="695325" cy="381000"/>
          </a:xfrm>
          <a:prstGeom prst="rect">
            <a:avLst/>
          </a:prstGeom>
        </p:spPr>
        <p:txBody>
          <a:bodyPr vert="horz" wrap="square" lIns="0" tIns="61594" rIns="0" bIns="0" rtlCol="0">
            <a:spAutoFit/>
          </a:bodyPr>
          <a:lstStyle/>
          <a:p>
            <a:pPr marL="89535">
              <a:lnSpc>
                <a:spcPct val="100000"/>
              </a:lnSpc>
              <a:spcBef>
                <a:spcPts val="484"/>
              </a:spcBef>
            </a:pPr>
            <a:r>
              <a:rPr sz="1600" spc="-30" dirty="0">
                <a:latin typeface="Liberation Sans Narrow"/>
                <a:cs typeface="Liberation Sans Narrow"/>
              </a:rPr>
              <a:t>6DAY</a:t>
            </a:r>
            <a:endParaRPr sz="1600">
              <a:latin typeface="Liberation Sans Narrow"/>
              <a:cs typeface="Liberation Sans Narrow"/>
            </a:endParaRPr>
          </a:p>
        </p:txBody>
      </p:sp>
      <p:grpSp>
        <p:nvGrpSpPr>
          <p:cNvPr id="32" name="object 32"/>
          <p:cNvGrpSpPr/>
          <p:nvPr/>
        </p:nvGrpSpPr>
        <p:grpSpPr>
          <a:xfrm>
            <a:off x="5635812" y="4338980"/>
            <a:ext cx="629920" cy="390525"/>
            <a:chOff x="5635812" y="4338980"/>
            <a:chExt cx="629920" cy="390525"/>
          </a:xfrm>
        </p:grpSpPr>
        <p:sp>
          <p:nvSpPr>
            <p:cNvPr id="33" name="object 33"/>
            <p:cNvSpPr/>
            <p:nvPr/>
          </p:nvSpPr>
          <p:spPr>
            <a:xfrm>
              <a:off x="5640384" y="4343555"/>
              <a:ext cx="620395" cy="381000"/>
            </a:xfrm>
            <a:custGeom>
              <a:avLst/>
              <a:gdLst/>
              <a:ahLst/>
              <a:cxnLst/>
              <a:rect l="l" t="t" r="r" b="b"/>
              <a:pathLst>
                <a:path w="620395" h="381000">
                  <a:moveTo>
                    <a:pt x="620219" y="0"/>
                  </a:moveTo>
                  <a:lnTo>
                    <a:pt x="0" y="0"/>
                  </a:lnTo>
                  <a:lnTo>
                    <a:pt x="0" y="380963"/>
                  </a:lnTo>
                  <a:lnTo>
                    <a:pt x="620219" y="380963"/>
                  </a:lnTo>
                  <a:lnTo>
                    <a:pt x="620219" y="0"/>
                  </a:lnTo>
                  <a:close/>
                </a:path>
              </a:pathLst>
            </a:custGeom>
            <a:solidFill>
              <a:srgbClr val="3265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5635812" y="4338980"/>
              <a:ext cx="629920" cy="390525"/>
            </a:xfrm>
            <a:custGeom>
              <a:avLst/>
              <a:gdLst/>
              <a:ahLst/>
              <a:cxnLst/>
              <a:rect l="l" t="t" r="r" b="b"/>
              <a:pathLst>
                <a:path w="629920" h="390525">
                  <a:moveTo>
                    <a:pt x="629351" y="0"/>
                  </a:moveTo>
                  <a:lnTo>
                    <a:pt x="0" y="0"/>
                  </a:lnTo>
                  <a:lnTo>
                    <a:pt x="0" y="390110"/>
                  </a:lnTo>
                  <a:lnTo>
                    <a:pt x="629351" y="390110"/>
                  </a:lnTo>
                  <a:lnTo>
                    <a:pt x="629351" y="385538"/>
                  </a:lnTo>
                  <a:lnTo>
                    <a:pt x="9144" y="385538"/>
                  </a:lnTo>
                  <a:lnTo>
                    <a:pt x="4572" y="380969"/>
                  </a:lnTo>
                  <a:lnTo>
                    <a:pt x="9144" y="380969"/>
                  </a:lnTo>
                  <a:lnTo>
                    <a:pt x="9144" y="9144"/>
                  </a:lnTo>
                  <a:lnTo>
                    <a:pt x="4572" y="9144"/>
                  </a:lnTo>
                  <a:lnTo>
                    <a:pt x="9144" y="4572"/>
                  </a:lnTo>
                  <a:lnTo>
                    <a:pt x="629351" y="4572"/>
                  </a:lnTo>
                  <a:lnTo>
                    <a:pt x="629351" y="0"/>
                  </a:lnTo>
                  <a:close/>
                </a:path>
                <a:path w="629920" h="390525">
                  <a:moveTo>
                    <a:pt x="9144" y="380969"/>
                  </a:moveTo>
                  <a:lnTo>
                    <a:pt x="4572" y="380969"/>
                  </a:lnTo>
                  <a:lnTo>
                    <a:pt x="9144" y="385538"/>
                  </a:lnTo>
                  <a:lnTo>
                    <a:pt x="9144" y="380969"/>
                  </a:lnTo>
                  <a:close/>
                </a:path>
                <a:path w="629920" h="390525">
                  <a:moveTo>
                    <a:pt x="620207" y="380969"/>
                  </a:moveTo>
                  <a:lnTo>
                    <a:pt x="9144" y="380969"/>
                  </a:lnTo>
                  <a:lnTo>
                    <a:pt x="9144" y="385538"/>
                  </a:lnTo>
                  <a:lnTo>
                    <a:pt x="620207" y="385538"/>
                  </a:lnTo>
                  <a:lnTo>
                    <a:pt x="620207" y="380969"/>
                  </a:lnTo>
                  <a:close/>
                </a:path>
                <a:path w="629920" h="390525">
                  <a:moveTo>
                    <a:pt x="620207" y="4572"/>
                  </a:moveTo>
                  <a:lnTo>
                    <a:pt x="620207" y="385538"/>
                  </a:lnTo>
                  <a:lnTo>
                    <a:pt x="624779" y="380969"/>
                  </a:lnTo>
                  <a:lnTo>
                    <a:pt x="629351" y="380969"/>
                  </a:lnTo>
                  <a:lnTo>
                    <a:pt x="629351" y="9144"/>
                  </a:lnTo>
                  <a:lnTo>
                    <a:pt x="624779" y="9144"/>
                  </a:lnTo>
                  <a:lnTo>
                    <a:pt x="620207" y="4572"/>
                  </a:lnTo>
                  <a:close/>
                </a:path>
                <a:path w="629920" h="390525">
                  <a:moveTo>
                    <a:pt x="629351" y="380969"/>
                  </a:moveTo>
                  <a:lnTo>
                    <a:pt x="624779" y="380969"/>
                  </a:lnTo>
                  <a:lnTo>
                    <a:pt x="620207" y="385538"/>
                  </a:lnTo>
                  <a:lnTo>
                    <a:pt x="629351" y="385538"/>
                  </a:lnTo>
                  <a:lnTo>
                    <a:pt x="629351" y="380969"/>
                  </a:lnTo>
                  <a:close/>
                </a:path>
                <a:path w="629920" h="390525">
                  <a:moveTo>
                    <a:pt x="9144" y="4572"/>
                  </a:moveTo>
                  <a:lnTo>
                    <a:pt x="4572" y="9144"/>
                  </a:lnTo>
                  <a:lnTo>
                    <a:pt x="9144" y="9144"/>
                  </a:lnTo>
                  <a:lnTo>
                    <a:pt x="9144" y="4572"/>
                  </a:lnTo>
                  <a:close/>
                </a:path>
                <a:path w="629920" h="390525">
                  <a:moveTo>
                    <a:pt x="620207" y="4572"/>
                  </a:moveTo>
                  <a:lnTo>
                    <a:pt x="9144" y="4572"/>
                  </a:lnTo>
                  <a:lnTo>
                    <a:pt x="9144" y="9144"/>
                  </a:lnTo>
                  <a:lnTo>
                    <a:pt x="620207" y="9144"/>
                  </a:lnTo>
                  <a:lnTo>
                    <a:pt x="620207" y="4572"/>
                  </a:lnTo>
                  <a:close/>
                </a:path>
                <a:path w="629920" h="390525">
                  <a:moveTo>
                    <a:pt x="629351" y="4572"/>
                  </a:moveTo>
                  <a:lnTo>
                    <a:pt x="620207" y="4572"/>
                  </a:lnTo>
                  <a:lnTo>
                    <a:pt x="624779" y="9144"/>
                  </a:lnTo>
                  <a:lnTo>
                    <a:pt x="629351" y="9144"/>
                  </a:lnTo>
                  <a:lnTo>
                    <a:pt x="629351" y="457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5" name="object 35"/>
          <p:cNvSpPr txBox="1"/>
          <p:nvPr/>
        </p:nvSpPr>
        <p:spPr>
          <a:xfrm>
            <a:off x="5640384" y="4343555"/>
            <a:ext cx="620395" cy="381000"/>
          </a:xfrm>
          <a:prstGeom prst="rect">
            <a:avLst/>
          </a:prstGeom>
        </p:spPr>
        <p:txBody>
          <a:bodyPr vert="horz" wrap="square" lIns="0" tIns="61594" rIns="0" bIns="0" rtlCol="0">
            <a:spAutoFit/>
          </a:bodyPr>
          <a:lstStyle/>
          <a:p>
            <a:pPr marL="89535">
              <a:lnSpc>
                <a:spcPct val="100000"/>
              </a:lnSpc>
              <a:spcBef>
                <a:spcPts val="484"/>
              </a:spcBef>
            </a:pPr>
            <a:r>
              <a:rPr sz="1600" spc="-30" dirty="0">
                <a:latin typeface="Liberation Sans Narrow"/>
                <a:cs typeface="Liberation Sans Narrow"/>
              </a:rPr>
              <a:t>6DAY</a:t>
            </a:r>
            <a:endParaRPr sz="1600">
              <a:latin typeface="Liberation Sans Narrow"/>
              <a:cs typeface="Liberation Sans Narrow"/>
            </a:endParaRPr>
          </a:p>
        </p:txBody>
      </p:sp>
      <p:grpSp>
        <p:nvGrpSpPr>
          <p:cNvPr id="36" name="object 36"/>
          <p:cNvGrpSpPr/>
          <p:nvPr/>
        </p:nvGrpSpPr>
        <p:grpSpPr>
          <a:xfrm>
            <a:off x="4797674" y="4338980"/>
            <a:ext cx="603885" cy="390525"/>
            <a:chOff x="4797674" y="4338980"/>
            <a:chExt cx="603885" cy="390525"/>
          </a:xfrm>
        </p:grpSpPr>
        <p:sp>
          <p:nvSpPr>
            <p:cNvPr id="37" name="object 37"/>
            <p:cNvSpPr/>
            <p:nvPr/>
          </p:nvSpPr>
          <p:spPr>
            <a:xfrm>
              <a:off x="4802245" y="4343555"/>
              <a:ext cx="594360" cy="381000"/>
            </a:xfrm>
            <a:custGeom>
              <a:avLst/>
              <a:gdLst/>
              <a:ahLst/>
              <a:cxnLst/>
              <a:rect l="l" t="t" r="r" b="b"/>
              <a:pathLst>
                <a:path w="594360" h="381000">
                  <a:moveTo>
                    <a:pt x="594311" y="0"/>
                  </a:moveTo>
                  <a:lnTo>
                    <a:pt x="0" y="0"/>
                  </a:lnTo>
                  <a:lnTo>
                    <a:pt x="0" y="380963"/>
                  </a:lnTo>
                  <a:lnTo>
                    <a:pt x="594311" y="380963"/>
                  </a:lnTo>
                  <a:lnTo>
                    <a:pt x="594311" y="0"/>
                  </a:lnTo>
                  <a:close/>
                </a:path>
              </a:pathLst>
            </a:custGeom>
            <a:solidFill>
              <a:srgbClr val="3265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4797674" y="4338980"/>
              <a:ext cx="603885" cy="390525"/>
            </a:xfrm>
            <a:custGeom>
              <a:avLst/>
              <a:gdLst/>
              <a:ahLst/>
              <a:cxnLst/>
              <a:rect l="l" t="t" r="r" b="b"/>
              <a:pathLst>
                <a:path w="603885" h="390525">
                  <a:moveTo>
                    <a:pt x="603443" y="0"/>
                  </a:moveTo>
                  <a:lnTo>
                    <a:pt x="0" y="0"/>
                  </a:lnTo>
                  <a:lnTo>
                    <a:pt x="0" y="390110"/>
                  </a:lnTo>
                  <a:lnTo>
                    <a:pt x="603443" y="390110"/>
                  </a:lnTo>
                  <a:lnTo>
                    <a:pt x="603443" y="385538"/>
                  </a:lnTo>
                  <a:lnTo>
                    <a:pt x="9144" y="385538"/>
                  </a:lnTo>
                  <a:lnTo>
                    <a:pt x="4572" y="380969"/>
                  </a:lnTo>
                  <a:lnTo>
                    <a:pt x="9144" y="380969"/>
                  </a:lnTo>
                  <a:lnTo>
                    <a:pt x="9144" y="9144"/>
                  </a:lnTo>
                  <a:lnTo>
                    <a:pt x="4572" y="9144"/>
                  </a:lnTo>
                  <a:lnTo>
                    <a:pt x="9144" y="4572"/>
                  </a:lnTo>
                  <a:lnTo>
                    <a:pt x="603443" y="4572"/>
                  </a:lnTo>
                  <a:lnTo>
                    <a:pt x="603443" y="0"/>
                  </a:lnTo>
                  <a:close/>
                </a:path>
                <a:path w="603885" h="390525">
                  <a:moveTo>
                    <a:pt x="9144" y="380969"/>
                  </a:moveTo>
                  <a:lnTo>
                    <a:pt x="4572" y="380969"/>
                  </a:lnTo>
                  <a:lnTo>
                    <a:pt x="9144" y="385538"/>
                  </a:lnTo>
                  <a:lnTo>
                    <a:pt x="9144" y="380969"/>
                  </a:lnTo>
                  <a:close/>
                </a:path>
                <a:path w="603885" h="390525">
                  <a:moveTo>
                    <a:pt x="594299" y="380969"/>
                  </a:moveTo>
                  <a:lnTo>
                    <a:pt x="9144" y="380969"/>
                  </a:lnTo>
                  <a:lnTo>
                    <a:pt x="9144" y="385538"/>
                  </a:lnTo>
                  <a:lnTo>
                    <a:pt x="594299" y="385538"/>
                  </a:lnTo>
                  <a:lnTo>
                    <a:pt x="594299" y="380969"/>
                  </a:lnTo>
                  <a:close/>
                </a:path>
                <a:path w="603885" h="390525">
                  <a:moveTo>
                    <a:pt x="594299" y="4572"/>
                  </a:moveTo>
                  <a:lnTo>
                    <a:pt x="594299" y="385538"/>
                  </a:lnTo>
                  <a:lnTo>
                    <a:pt x="598871" y="380969"/>
                  </a:lnTo>
                  <a:lnTo>
                    <a:pt x="603443" y="380969"/>
                  </a:lnTo>
                  <a:lnTo>
                    <a:pt x="603443" y="9144"/>
                  </a:lnTo>
                  <a:lnTo>
                    <a:pt x="598871" y="9144"/>
                  </a:lnTo>
                  <a:lnTo>
                    <a:pt x="594299" y="4572"/>
                  </a:lnTo>
                  <a:close/>
                </a:path>
                <a:path w="603885" h="390525">
                  <a:moveTo>
                    <a:pt x="603443" y="380969"/>
                  </a:moveTo>
                  <a:lnTo>
                    <a:pt x="598871" y="380969"/>
                  </a:lnTo>
                  <a:lnTo>
                    <a:pt x="594299" y="385538"/>
                  </a:lnTo>
                  <a:lnTo>
                    <a:pt x="603443" y="385538"/>
                  </a:lnTo>
                  <a:lnTo>
                    <a:pt x="603443" y="380969"/>
                  </a:lnTo>
                  <a:close/>
                </a:path>
                <a:path w="603885" h="390525">
                  <a:moveTo>
                    <a:pt x="9144" y="4572"/>
                  </a:moveTo>
                  <a:lnTo>
                    <a:pt x="4572" y="9144"/>
                  </a:lnTo>
                  <a:lnTo>
                    <a:pt x="9144" y="9144"/>
                  </a:lnTo>
                  <a:lnTo>
                    <a:pt x="9144" y="4572"/>
                  </a:lnTo>
                  <a:close/>
                </a:path>
                <a:path w="603885" h="390525">
                  <a:moveTo>
                    <a:pt x="594299" y="4572"/>
                  </a:moveTo>
                  <a:lnTo>
                    <a:pt x="9144" y="4572"/>
                  </a:lnTo>
                  <a:lnTo>
                    <a:pt x="9144" y="9144"/>
                  </a:lnTo>
                  <a:lnTo>
                    <a:pt x="594299" y="9144"/>
                  </a:lnTo>
                  <a:lnTo>
                    <a:pt x="594299" y="4572"/>
                  </a:lnTo>
                  <a:close/>
                </a:path>
                <a:path w="603885" h="390525">
                  <a:moveTo>
                    <a:pt x="603443" y="4572"/>
                  </a:moveTo>
                  <a:lnTo>
                    <a:pt x="594299" y="4572"/>
                  </a:lnTo>
                  <a:lnTo>
                    <a:pt x="598871" y="9144"/>
                  </a:lnTo>
                  <a:lnTo>
                    <a:pt x="603443" y="9144"/>
                  </a:lnTo>
                  <a:lnTo>
                    <a:pt x="603443" y="457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9" name="object 39"/>
          <p:cNvSpPr txBox="1"/>
          <p:nvPr/>
        </p:nvSpPr>
        <p:spPr>
          <a:xfrm>
            <a:off x="4802245" y="4343555"/>
            <a:ext cx="594360" cy="381000"/>
          </a:xfrm>
          <a:prstGeom prst="rect">
            <a:avLst/>
          </a:prstGeom>
        </p:spPr>
        <p:txBody>
          <a:bodyPr vert="horz" wrap="square" lIns="0" tIns="61594" rIns="0" bIns="0" rtlCol="0">
            <a:spAutoFit/>
          </a:bodyPr>
          <a:lstStyle/>
          <a:p>
            <a:pPr marL="89535">
              <a:lnSpc>
                <a:spcPct val="100000"/>
              </a:lnSpc>
              <a:spcBef>
                <a:spcPts val="484"/>
              </a:spcBef>
            </a:pPr>
            <a:r>
              <a:rPr sz="1600" spc="-30" dirty="0">
                <a:latin typeface="Liberation Sans Narrow"/>
                <a:cs typeface="Liberation Sans Narrow"/>
              </a:rPr>
              <a:t>6DAY</a:t>
            </a:r>
            <a:endParaRPr sz="1600">
              <a:latin typeface="Liberation Sans Narrow"/>
              <a:cs typeface="Liberation Sans Narrow"/>
            </a:endParaRPr>
          </a:p>
        </p:txBody>
      </p:sp>
      <p:grpSp>
        <p:nvGrpSpPr>
          <p:cNvPr id="40" name="object 40"/>
          <p:cNvGrpSpPr/>
          <p:nvPr/>
        </p:nvGrpSpPr>
        <p:grpSpPr>
          <a:xfrm>
            <a:off x="6397752" y="4338980"/>
            <a:ext cx="586740" cy="390525"/>
            <a:chOff x="6397752" y="4338980"/>
            <a:chExt cx="586740" cy="390525"/>
          </a:xfrm>
        </p:grpSpPr>
        <p:sp>
          <p:nvSpPr>
            <p:cNvPr id="41" name="object 41"/>
            <p:cNvSpPr/>
            <p:nvPr/>
          </p:nvSpPr>
          <p:spPr>
            <a:xfrm>
              <a:off x="6402323" y="4343555"/>
              <a:ext cx="577850" cy="381000"/>
            </a:xfrm>
            <a:custGeom>
              <a:avLst/>
              <a:gdLst/>
              <a:ahLst/>
              <a:cxnLst/>
              <a:rect l="l" t="t" r="r" b="b"/>
              <a:pathLst>
                <a:path w="577850" h="381000">
                  <a:moveTo>
                    <a:pt x="577547" y="0"/>
                  </a:moveTo>
                  <a:lnTo>
                    <a:pt x="0" y="0"/>
                  </a:lnTo>
                  <a:lnTo>
                    <a:pt x="0" y="380963"/>
                  </a:lnTo>
                  <a:lnTo>
                    <a:pt x="577547" y="380963"/>
                  </a:lnTo>
                  <a:lnTo>
                    <a:pt x="577547" y="0"/>
                  </a:lnTo>
                  <a:close/>
                </a:path>
              </a:pathLst>
            </a:custGeom>
            <a:solidFill>
              <a:srgbClr val="3265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6397752" y="4338980"/>
              <a:ext cx="586740" cy="390525"/>
            </a:xfrm>
            <a:custGeom>
              <a:avLst/>
              <a:gdLst/>
              <a:ahLst/>
              <a:cxnLst/>
              <a:rect l="l" t="t" r="r" b="b"/>
              <a:pathLst>
                <a:path w="586740" h="390525">
                  <a:moveTo>
                    <a:pt x="586679" y="0"/>
                  </a:moveTo>
                  <a:lnTo>
                    <a:pt x="0" y="0"/>
                  </a:lnTo>
                  <a:lnTo>
                    <a:pt x="0" y="390110"/>
                  </a:lnTo>
                  <a:lnTo>
                    <a:pt x="586679" y="390110"/>
                  </a:lnTo>
                  <a:lnTo>
                    <a:pt x="586679" y="385538"/>
                  </a:lnTo>
                  <a:lnTo>
                    <a:pt x="9144" y="385538"/>
                  </a:lnTo>
                  <a:lnTo>
                    <a:pt x="4572" y="380969"/>
                  </a:lnTo>
                  <a:lnTo>
                    <a:pt x="9144" y="380969"/>
                  </a:lnTo>
                  <a:lnTo>
                    <a:pt x="9144" y="9144"/>
                  </a:lnTo>
                  <a:lnTo>
                    <a:pt x="4572" y="9144"/>
                  </a:lnTo>
                  <a:lnTo>
                    <a:pt x="9144" y="4572"/>
                  </a:lnTo>
                  <a:lnTo>
                    <a:pt x="586679" y="4572"/>
                  </a:lnTo>
                  <a:lnTo>
                    <a:pt x="586679" y="0"/>
                  </a:lnTo>
                  <a:close/>
                </a:path>
                <a:path w="586740" h="390525">
                  <a:moveTo>
                    <a:pt x="9144" y="380969"/>
                  </a:moveTo>
                  <a:lnTo>
                    <a:pt x="4572" y="380969"/>
                  </a:lnTo>
                  <a:lnTo>
                    <a:pt x="9144" y="385538"/>
                  </a:lnTo>
                  <a:lnTo>
                    <a:pt x="9144" y="380969"/>
                  </a:lnTo>
                  <a:close/>
                </a:path>
                <a:path w="586740" h="390525">
                  <a:moveTo>
                    <a:pt x="577535" y="380969"/>
                  </a:moveTo>
                  <a:lnTo>
                    <a:pt x="9144" y="380969"/>
                  </a:lnTo>
                  <a:lnTo>
                    <a:pt x="9144" y="385538"/>
                  </a:lnTo>
                  <a:lnTo>
                    <a:pt x="577535" y="385538"/>
                  </a:lnTo>
                  <a:lnTo>
                    <a:pt x="577535" y="380969"/>
                  </a:lnTo>
                  <a:close/>
                </a:path>
                <a:path w="586740" h="390525">
                  <a:moveTo>
                    <a:pt x="577535" y="4572"/>
                  </a:moveTo>
                  <a:lnTo>
                    <a:pt x="577535" y="385538"/>
                  </a:lnTo>
                  <a:lnTo>
                    <a:pt x="582107" y="380969"/>
                  </a:lnTo>
                  <a:lnTo>
                    <a:pt x="586679" y="380969"/>
                  </a:lnTo>
                  <a:lnTo>
                    <a:pt x="586679" y="9144"/>
                  </a:lnTo>
                  <a:lnTo>
                    <a:pt x="582107" y="9144"/>
                  </a:lnTo>
                  <a:lnTo>
                    <a:pt x="577535" y="4572"/>
                  </a:lnTo>
                  <a:close/>
                </a:path>
                <a:path w="586740" h="390525">
                  <a:moveTo>
                    <a:pt x="586679" y="380969"/>
                  </a:moveTo>
                  <a:lnTo>
                    <a:pt x="582107" y="380969"/>
                  </a:lnTo>
                  <a:lnTo>
                    <a:pt x="577535" y="385538"/>
                  </a:lnTo>
                  <a:lnTo>
                    <a:pt x="586679" y="385538"/>
                  </a:lnTo>
                  <a:lnTo>
                    <a:pt x="586679" y="380969"/>
                  </a:lnTo>
                  <a:close/>
                </a:path>
                <a:path w="586740" h="390525">
                  <a:moveTo>
                    <a:pt x="9144" y="4572"/>
                  </a:moveTo>
                  <a:lnTo>
                    <a:pt x="4572" y="9144"/>
                  </a:lnTo>
                  <a:lnTo>
                    <a:pt x="9144" y="9144"/>
                  </a:lnTo>
                  <a:lnTo>
                    <a:pt x="9144" y="4572"/>
                  </a:lnTo>
                  <a:close/>
                </a:path>
                <a:path w="586740" h="390525">
                  <a:moveTo>
                    <a:pt x="577535" y="4572"/>
                  </a:moveTo>
                  <a:lnTo>
                    <a:pt x="9144" y="4572"/>
                  </a:lnTo>
                  <a:lnTo>
                    <a:pt x="9144" y="9144"/>
                  </a:lnTo>
                  <a:lnTo>
                    <a:pt x="577535" y="9144"/>
                  </a:lnTo>
                  <a:lnTo>
                    <a:pt x="577535" y="4572"/>
                  </a:lnTo>
                  <a:close/>
                </a:path>
                <a:path w="586740" h="390525">
                  <a:moveTo>
                    <a:pt x="586679" y="4572"/>
                  </a:moveTo>
                  <a:lnTo>
                    <a:pt x="577535" y="4572"/>
                  </a:lnTo>
                  <a:lnTo>
                    <a:pt x="582107" y="9144"/>
                  </a:lnTo>
                  <a:lnTo>
                    <a:pt x="586679" y="9144"/>
                  </a:lnTo>
                  <a:lnTo>
                    <a:pt x="586679" y="457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3" name="object 43"/>
          <p:cNvSpPr txBox="1"/>
          <p:nvPr/>
        </p:nvSpPr>
        <p:spPr>
          <a:xfrm>
            <a:off x="6402323" y="4343555"/>
            <a:ext cx="577850" cy="381000"/>
          </a:xfrm>
          <a:prstGeom prst="rect">
            <a:avLst/>
          </a:prstGeom>
        </p:spPr>
        <p:txBody>
          <a:bodyPr vert="horz" wrap="square" lIns="0" tIns="61594" rIns="0" bIns="0" rtlCol="0">
            <a:spAutoFit/>
          </a:bodyPr>
          <a:lstStyle/>
          <a:p>
            <a:pPr marL="89535">
              <a:lnSpc>
                <a:spcPct val="100000"/>
              </a:lnSpc>
              <a:spcBef>
                <a:spcPts val="484"/>
              </a:spcBef>
            </a:pPr>
            <a:r>
              <a:rPr sz="1600" spc="-30" dirty="0">
                <a:latin typeface="Liberation Sans Narrow"/>
                <a:cs typeface="Liberation Sans Narrow"/>
              </a:rPr>
              <a:t>6DAY</a:t>
            </a:r>
            <a:endParaRPr sz="1600">
              <a:latin typeface="Liberation Sans Narrow"/>
              <a:cs typeface="Liberation Sans Narrow"/>
            </a:endParaRPr>
          </a:p>
        </p:txBody>
      </p:sp>
      <p:grpSp>
        <p:nvGrpSpPr>
          <p:cNvPr id="44" name="object 44"/>
          <p:cNvGrpSpPr/>
          <p:nvPr/>
        </p:nvGrpSpPr>
        <p:grpSpPr>
          <a:xfrm>
            <a:off x="7159660" y="4338980"/>
            <a:ext cx="617220" cy="390525"/>
            <a:chOff x="7159660" y="4338980"/>
            <a:chExt cx="617220" cy="390525"/>
          </a:xfrm>
        </p:grpSpPr>
        <p:sp>
          <p:nvSpPr>
            <p:cNvPr id="45" name="object 45"/>
            <p:cNvSpPr/>
            <p:nvPr/>
          </p:nvSpPr>
          <p:spPr>
            <a:xfrm>
              <a:off x="7164232" y="4343555"/>
              <a:ext cx="608330" cy="381000"/>
            </a:xfrm>
            <a:custGeom>
              <a:avLst/>
              <a:gdLst/>
              <a:ahLst/>
              <a:cxnLst/>
              <a:rect l="l" t="t" r="r" b="b"/>
              <a:pathLst>
                <a:path w="608329" h="381000">
                  <a:moveTo>
                    <a:pt x="608027" y="0"/>
                  </a:moveTo>
                  <a:lnTo>
                    <a:pt x="0" y="0"/>
                  </a:lnTo>
                  <a:lnTo>
                    <a:pt x="0" y="380963"/>
                  </a:lnTo>
                  <a:lnTo>
                    <a:pt x="608027" y="380963"/>
                  </a:lnTo>
                  <a:lnTo>
                    <a:pt x="608027" y="0"/>
                  </a:lnTo>
                  <a:close/>
                </a:path>
              </a:pathLst>
            </a:custGeom>
            <a:solidFill>
              <a:srgbClr val="3265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6"/>
            <p:cNvSpPr/>
            <p:nvPr/>
          </p:nvSpPr>
          <p:spPr>
            <a:xfrm>
              <a:off x="7159660" y="4338980"/>
              <a:ext cx="617220" cy="390525"/>
            </a:xfrm>
            <a:custGeom>
              <a:avLst/>
              <a:gdLst/>
              <a:ahLst/>
              <a:cxnLst/>
              <a:rect l="l" t="t" r="r" b="b"/>
              <a:pathLst>
                <a:path w="617220" h="390525">
                  <a:moveTo>
                    <a:pt x="617189" y="0"/>
                  </a:moveTo>
                  <a:lnTo>
                    <a:pt x="0" y="0"/>
                  </a:lnTo>
                  <a:lnTo>
                    <a:pt x="0" y="390110"/>
                  </a:lnTo>
                  <a:lnTo>
                    <a:pt x="617189" y="390110"/>
                  </a:lnTo>
                  <a:lnTo>
                    <a:pt x="617189" y="385538"/>
                  </a:lnTo>
                  <a:lnTo>
                    <a:pt x="9144" y="385538"/>
                  </a:lnTo>
                  <a:lnTo>
                    <a:pt x="4572" y="380969"/>
                  </a:lnTo>
                  <a:lnTo>
                    <a:pt x="9144" y="380969"/>
                  </a:lnTo>
                  <a:lnTo>
                    <a:pt x="9144" y="9144"/>
                  </a:lnTo>
                  <a:lnTo>
                    <a:pt x="4572" y="9144"/>
                  </a:lnTo>
                  <a:lnTo>
                    <a:pt x="9144" y="4572"/>
                  </a:lnTo>
                  <a:lnTo>
                    <a:pt x="617189" y="4572"/>
                  </a:lnTo>
                  <a:lnTo>
                    <a:pt x="617189" y="0"/>
                  </a:lnTo>
                  <a:close/>
                </a:path>
                <a:path w="617220" h="390525">
                  <a:moveTo>
                    <a:pt x="9144" y="380969"/>
                  </a:moveTo>
                  <a:lnTo>
                    <a:pt x="4572" y="380969"/>
                  </a:lnTo>
                  <a:lnTo>
                    <a:pt x="9144" y="385538"/>
                  </a:lnTo>
                  <a:lnTo>
                    <a:pt x="9144" y="380969"/>
                  </a:lnTo>
                  <a:close/>
                </a:path>
                <a:path w="617220" h="390525">
                  <a:moveTo>
                    <a:pt x="608045" y="380969"/>
                  </a:moveTo>
                  <a:lnTo>
                    <a:pt x="9144" y="380969"/>
                  </a:lnTo>
                  <a:lnTo>
                    <a:pt x="9144" y="385538"/>
                  </a:lnTo>
                  <a:lnTo>
                    <a:pt x="608045" y="385538"/>
                  </a:lnTo>
                  <a:lnTo>
                    <a:pt x="608045" y="380969"/>
                  </a:lnTo>
                  <a:close/>
                </a:path>
                <a:path w="617220" h="390525">
                  <a:moveTo>
                    <a:pt x="608045" y="4572"/>
                  </a:moveTo>
                  <a:lnTo>
                    <a:pt x="608045" y="385538"/>
                  </a:lnTo>
                  <a:lnTo>
                    <a:pt x="612617" y="380969"/>
                  </a:lnTo>
                  <a:lnTo>
                    <a:pt x="617189" y="380969"/>
                  </a:lnTo>
                  <a:lnTo>
                    <a:pt x="617189" y="9144"/>
                  </a:lnTo>
                  <a:lnTo>
                    <a:pt x="612617" y="9144"/>
                  </a:lnTo>
                  <a:lnTo>
                    <a:pt x="608045" y="4572"/>
                  </a:lnTo>
                  <a:close/>
                </a:path>
                <a:path w="617220" h="390525">
                  <a:moveTo>
                    <a:pt x="617189" y="380969"/>
                  </a:moveTo>
                  <a:lnTo>
                    <a:pt x="612617" y="380969"/>
                  </a:lnTo>
                  <a:lnTo>
                    <a:pt x="608045" y="385538"/>
                  </a:lnTo>
                  <a:lnTo>
                    <a:pt x="617189" y="385538"/>
                  </a:lnTo>
                  <a:lnTo>
                    <a:pt x="617189" y="380969"/>
                  </a:lnTo>
                  <a:close/>
                </a:path>
                <a:path w="617220" h="390525">
                  <a:moveTo>
                    <a:pt x="9144" y="4572"/>
                  </a:moveTo>
                  <a:lnTo>
                    <a:pt x="4572" y="9144"/>
                  </a:lnTo>
                  <a:lnTo>
                    <a:pt x="9144" y="9144"/>
                  </a:lnTo>
                  <a:lnTo>
                    <a:pt x="9144" y="4572"/>
                  </a:lnTo>
                  <a:close/>
                </a:path>
                <a:path w="617220" h="390525">
                  <a:moveTo>
                    <a:pt x="608045" y="4572"/>
                  </a:moveTo>
                  <a:lnTo>
                    <a:pt x="9144" y="4572"/>
                  </a:lnTo>
                  <a:lnTo>
                    <a:pt x="9144" y="9144"/>
                  </a:lnTo>
                  <a:lnTo>
                    <a:pt x="608045" y="9144"/>
                  </a:lnTo>
                  <a:lnTo>
                    <a:pt x="608045" y="4572"/>
                  </a:lnTo>
                  <a:close/>
                </a:path>
                <a:path w="617220" h="390525">
                  <a:moveTo>
                    <a:pt x="617189" y="4572"/>
                  </a:moveTo>
                  <a:lnTo>
                    <a:pt x="608045" y="4572"/>
                  </a:lnTo>
                  <a:lnTo>
                    <a:pt x="612617" y="9144"/>
                  </a:lnTo>
                  <a:lnTo>
                    <a:pt x="617189" y="9144"/>
                  </a:lnTo>
                  <a:lnTo>
                    <a:pt x="617189" y="457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7" name="object 47"/>
          <p:cNvSpPr txBox="1"/>
          <p:nvPr/>
        </p:nvSpPr>
        <p:spPr>
          <a:xfrm>
            <a:off x="7164232" y="4343555"/>
            <a:ext cx="608330" cy="381000"/>
          </a:xfrm>
          <a:prstGeom prst="rect">
            <a:avLst/>
          </a:prstGeom>
        </p:spPr>
        <p:txBody>
          <a:bodyPr vert="horz" wrap="square" lIns="0" tIns="61594" rIns="0" bIns="0" rtlCol="0">
            <a:spAutoFit/>
          </a:bodyPr>
          <a:lstStyle/>
          <a:p>
            <a:pPr marL="89535">
              <a:lnSpc>
                <a:spcPct val="100000"/>
              </a:lnSpc>
              <a:spcBef>
                <a:spcPts val="484"/>
              </a:spcBef>
            </a:pPr>
            <a:r>
              <a:rPr sz="1600" spc="-30" dirty="0">
                <a:latin typeface="Liberation Sans Narrow"/>
                <a:cs typeface="Liberation Sans Narrow"/>
              </a:rPr>
              <a:t>6DAY</a:t>
            </a:r>
            <a:endParaRPr sz="1600">
              <a:latin typeface="Liberation Sans Narrow"/>
              <a:cs typeface="Liberation Sans Narrow"/>
            </a:endParaRPr>
          </a:p>
        </p:txBody>
      </p:sp>
      <p:grpSp>
        <p:nvGrpSpPr>
          <p:cNvPr id="48" name="object 48"/>
          <p:cNvGrpSpPr/>
          <p:nvPr/>
        </p:nvGrpSpPr>
        <p:grpSpPr>
          <a:xfrm>
            <a:off x="8683538" y="4338980"/>
            <a:ext cx="497205" cy="390525"/>
            <a:chOff x="8683538" y="4338980"/>
            <a:chExt cx="497205" cy="390525"/>
          </a:xfrm>
        </p:grpSpPr>
        <p:sp>
          <p:nvSpPr>
            <p:cNvPr id="49" name="object 49"/>
            <p:cNvSpPr/>
            <p:nvPr/>
          </p:nvSpPr>
          <p:spPr>
            <a:xfrm>
              <a:off x="8688110" y="4343555"/>
              <a:ext cx="487680" cy="381000"/>
            </a:xfrm>
            <a:custGeom>
              <a:avLst/>
              <a:gdLst/>
              <a:ahLst/>
              <a:cxnLst/>
              <a:rect l="l" t="t" r="r" b="b"/>
              <a:pathLst>
                <a:path w="487679" h="381000">
                  <a:moveTo>
                    <a:pt x="487631" y="0"/>
                  </a:moveTo>
                  <a:lnTo>
                    <a:pt x="0" y="0"/>
                  </a:lnTo>
                  <a:lnTo>
                    <a:pt x="0" y="380963"/>
                  </a:lnTo>
                  <a:lnTo>
                    <a:pt x="487631" y="380963"/>
                  </a:lnTo>
                  <a:lnTo>
                    <a:pt x="487631" y="0"/>
                  </a:lnTo>
                  <a:close/>
                </a:path>
              </a:pathLst>
            </a:custGeom>
            <a:solidFill>
              <a:srgbClr val="F4A60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50"/>
            <p:cNvSpPr/>
            <p:nvPr/>
          </p:nvSpPr>
          <p:spPr>
            <a:xfrm>
              <a:off x="8683538" y="4338980"/>
              <a:ext cx="497205" cy="390525"/>
            </a:xfrm>
            <a:custGeom>
              <a:avLst/>
              <a:gdLst/>
              <a:ahLst/>
              <a:cxnLst/>
              <a:rect l="l" t="t" r="r" b="b"/>
              <a:pathLst>
                <a:path w="497204" h="390525">
                  <a:moveTo>
                    <a:pt x="496793" y="0"/>
                  </a:moveTo>
                  <a:lnTo>
                    <a:pt x="0" y="0"/>
                  </a:lnTo>
                  <a:lnTo>
                    <a:pt x="0" y="390110"/>
                  </a:lnTo>
                  <a:lnTo>
                    <a:pt x="496793" y="390110"/>
                  </a:lnTo>
                  <a:lnTo>
                    <a:pt x="496793" y="385538"/>
                  </a:lnTo>
                  <a:lnTo>
                    <a:pt x="9144" y="385538"/>
                  </a:lnTo>
                  <a:lnTo>
                    <a:pt x="4572" y="380969"/>
                  </a:lnTo>
                  <a:lnTo>
                    <a:pt x="9144" y="380969"/>
                  </a:lnTo>
                  <a:lnTo>
                    <a:pt x="9144" y="9144"/>
                  </a:lnTo>
                  <a:lnTo>
                    <a:pt x="4572" y="9144"/>
                  </a:lnTo>
                  <a:lnTo>
                    <a:pt x="9144" y="4572"/>
                  </a:lnTo>
                  <a:lnTo>
                    <a:pt x="496793" y="4572"/>
                  </a:lnTo>
                  <a:lnTo>
                    <a:pt x="496793" y="0"/>
                  </a:lnTo>
                  <a:close/>
                </a:path>
                <a:path w="497204" h="390525">
                  <a:moveTo>
                    <a:pt x="9144" y="380969"/>
                  </a:moveTo>
                  <a:lnTo>
                    <a:pt x="4572" y="380969"/>
                  </a:lnTo>
                  <a:lnTo>
                    <a:pt x="9144" y="385538"/>
                  </a:lnTo>
                  <a:lnTo>
                    <a:pt x="9144" y="380969"/>
                  </a:lnTo>
                  <a:close/>
                </a:path>
                <a:path w="497204" h="390525">
                  <a:moveTo>
                    <a:pt x="487649" y="380969"/>
                  </a:moveTo>
                  <a:lnTo>
                    <a:pt x="9144" y="380969"/>
                  </a:lnTo>
                  <a:lnTo>
                    <a:pt x="9144" y="385538"/>
                  </a:lnTo>
                  <a:lnTo>
                    <a:pt x="487649" y="385538"/>
                  </a:lnTo>
                  <a:lnTo>
                    <a:pt x="487649" y="380969"/>
                  </a:lnTo>
                  <a:close/>
                </a:path>
                <a:path w="497204" h="390525">
                  <a:moveTo>
                    <a:pt x="487649" y="4572"/>
                  </a:moveTo>
                  <a:lnTo>
                    <a:pt x="487649" y="385538"/>
                  </a:lnTo>
                  <a:lnTo>
                    <a:pt x="492221" y="380969"/>
                  </a:lnTo>
                  <a:lnTo>
                    <a:pt x="496793" y="380969"/>
                  </a:lnTo>
                  <a:lnTo>
                    <a:pt x="496793" y="9144"/>
                  </a:lnTo>
                  <a:lnTo>
                    <a:pt x="492221" y="9144"/>
                  </a:lnTo>
                  <a:lnTo>
                    <a:pt x="487649" y="4572"/>
                  </a:lnTo>
                  <a:close/>
                </a:path>
                <a:path w="497204" h="390525">
                  <a:moveTo>
                    <a:pt x="496793" y="380969"/>
                  </a:moveTo>
                  <a:lnTo>
                    <a:pt x="492221" y="380969"/>
                  </a:lnTo>
                  <a:lnTo>
                    <a:pt x="487649" y="385538"/>
                  </a:lnTo>
                  <a:lnTo>
                    <a:pt x="496793" y="385538"/>
                  </a:lnTo>
                  <a:lnTo>
                    <a:pt x="496793" y="380969"/>
                  </a:lnTo>
                  <a:close/>
                </a:path>
                <a:path w="497204" h="390525">
                  <a:moveTo>
                    <a:pt x="9144" y="4572"/>
                  </a:moveTo>
                  <a:lnTo>
                    <a:pt x="4572" y="9144"/>
                  </a:lnTo>
                  <a:lnTo>
                    <a:pt x="9144" y="9144"/>
                  </a:lnTo>
                  <a:lnTo>
                    <a:pt x="9144" y="4572"/>
                  </a:lnTo>
                  <a:close/>
                </a:path>
                <a:path w="497204" h="390525">
                  <a:moveTo>
                    <a:pt x="487649" y="4572"/>
                  </a:moveTo>
                  <a:lnTo>
                    <a:pt x="9144" y="4572"/>
                  </a:lnTo>
                  <a:lnTo>
                    <a:pt x="9144" y="9144"/>
                  </a:lnTo>
                  <a:lnTo>
                    <a:pt x="487649" y="9144"/>
                  </a:lnTo>
                  <a:lnTo>
                    <a:pt x="487649" y="4572"/>
                  </a:lnTo>
                  <a:close/>
                </a:path>
                <a:path w="497204" h="390525">
                  <a:moveTo>
                    <a:pt x="496793" y="4572"/>
                  </a:moveTo>
                  <a:lnTo>
                    <a:pt x="487649" y="4572"/>
                  </a:lnTo>
                  <a:lnTo>
                    <a:pt x="492221" y="9144"/>
                  </a:lnTo>
                  <a:lnTo>
                    <a:pt x="496793" y="9144"/>
                  </a:lnTo>
                  <a:lnTo>
                    <a:pt x="496793" y="457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1" name="object 51"/>
          <p:cNvSpPr txBox="1"/>
          <p:nvPr/>
        </p:nvSpPr>
        <p:spPr>
          <a:xfrm>
            <a:off x="8688110" y="4343555"/>
            <a:ext cx="487680" cy="381000"/>
          </a:xfrm>
          <a:prstGeom prst="rect">
            <a:avLst/>
          </a:prstGeom>
        </p:spPr>
        <p:txBody>
          <a:bodyPr vert="horz" wrap="square" lIns="0" tIns="61594" rIns="0" bIns="0" rtlCol="0">
            <a:spAutoFit/>
          </a:bodyPr>
          <a:lstStyle/>
          <a:p>
            <a:pPr marL="89535">
              <a:lnSpc>
                <a:spcPct val="100000"/>
              </a:lnSpc>
              <a:spcBef>
                <a:spcPts val="484"/>
              </a:spcBef>
            </a:pPr>
            <a:r>
              <a:rPr sz="1600" spc="-5" dirty="0">
                <a:latin typeface="Liberation Sans Narrow"/>
                <a:cs typeface="Liberation Sans Narrow"/>
              </a:rPr>
              <a:t>OFF</a:t>
            </a:r>
            <a:endParaRPr sz="1600">
              <a:latin typeface="Liberation Sans Narrow"/>
              <a:cs typeface="Liberation Sans Narrow"/>
            </a:endParaRPr>
          </a:p>
        </p:txBody>
      </p:sp>
      <p:grpSp>
        <p:nvGrpSpPr>
          <p:cNvPr id="52" name="object 52"/>
          <p:cNvGrpSpPr/>
          <p:nvPr/>
        </p:nvGrpSpPr>
        <p:grpSpPr>
          <a:xfrm>
            <a:off x="7886548" y="4338980"/>
            <a:ext cx="617220" cy="390525"/>
            <a:chOff x="7886548" y="4338980"/>
            <a:chExt cx="617220" cy="390525"/>
          </a:xfrm>
        </p:grpSpPr>
        <p:sp>
          <p:nvSpPr>
            <p:cNvPr id="53" name="object 53"/>
            <p:cNvSpPr/>
            <p:nvPr/>
          </p:nvSpPr>
          <p:spPr>
            <a:xfrm>
              <a:off x="7891119" y="4343555"/>
              <a:ext cx="608330" cy="381000"/>
            </a:xfrm>
            <a:custGeom>
              <a:avLst/>
              <a:gdLst/>
              <a:ahLst/>
              <a:cxnLst/>
              <a:rect l="l" t="t" r="r" b="b"/>
              <a:pathLst>
                <a:path w="608329" h="381000">
                  <a:moveTo>
                    <a:pt x="608027" y="0"/>
                  </a:moveTo>
                  <a:lnTo>
                    <a:pt x="0" y="0"/>
                  </a:lnTo>
                  <a:lnTo>
                    <a:pt x="0" y="380963"/>
                  </a:lnTo>
                  <a:lnTo>
                    <a:pt x="608027" y="380963"/>
                  </a:lnTo>
                  <a:lnTo>
                    <a:pt x="608027" y="0"/>
                  </a:lnTo>
                  <a:close/>
                </a:path>
              </a:pathLst>
            </a:custGeom>
            <a:solidFill>
              <a:srgbClr val="3265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4"/>
            <p:cNvSpPr/>
            <p:nvPr/>
          </p:nvSpPr>
          <p:spPr>
            <a:xfrm>
              <a:off x="7886548" y="4338980"/>
              <a:ext cx="617220" cy="390525"/>
            </a:xfrm>
            <a:custGeom>
              <a:avLst/>
              <a:gdLst/>
              <a:ahLst/>
              <a:cxnLst/>
              <a:rect l="l" t="t" r="r" b="b"/>
              <a:pathLst>
                <a:path w="617220" h="390525">
                  <a:moveTo>
                    <a:pt x="617189" y="0"/>
                  </a:moveTo>
                  <a:lnTo>
                    <a:pt x="0" y="0"/>
                  </a:lnTo>
                  <a:lnTo>
                    <a:pt x="0" y="390110"/>
                  </a:lnTo>
                  <a:lnTo>
                    <a:pt x="617189" y="390110"/>
                  </a:lnTo>
                  <a:lnTo>
                    <a:pt x="617189" y="385538"/>
                  </a:lnTo>
                  <a:lnTo>
                    <a:pt x="9144" y="385538"/>
                  </a:lnTo>
                  <a:lnTo>
                    <a:pt x="4572" y="380969"/>
                  </a:lnTo>
                  <a:lnTo>
                    <a:pt x="9144" y="380969"/>
                  </a:lnTo>
                  <a:lnTo>
                    <a:pt x="9144" y="9144"/>
                  </a:lnTo>
                  <a:lnTo>
                    <a:pt x="4572" y="9144"/>
                  </a:lnTo>
                  <a:lnTo>
                    <a:pt x="9144" y="4572"/>
                  </a:lnTo>
                  <a:lnTo>
                    <a:pt x="617189" y="4572"/>
                  </a:lnTo>
                  <a:lnTo>
                    <a:pt x="617189" y="0"/>
                  </a:lnTo>
                  <a:close/>
                </a:path>
                <a:path w="617220" h="390525">
                  <a:moveTo>
                    <a:pt x="9144" y="380969"/>
                  </a:moveTo>
                  <a:lnTo>
                    <a:pt x="4572" y="380969"/>
                  </a:lnTo>
                  <a:lnTo>
                    <a:pt x="9144" y="385538"/>
                  </a:lnTo>
                  <a:lnTo>
                    <a:pt x="9144" y="380969"/>
                  </a:lnTo>
                  <a:close/>
                </a:path>
                <a:path w="617220" h="390525">
                  <a:moveTo>
                    <a:pt x="608045" y="380969"/>
                  </a:moveTo>
                  <a:lnTo>
                    <a:pt x="9144" y="380969"/>
                  </a:lnTo>
                  <a:lnTo>
                    <a:pt x="9144" y="385538"/>
                  </a:lnTo>
                  <a:lnTo>
                    <a:pt x="608045" y="385538"/>
                  </a:lnTo>
                  <a:lnTo>
                    <a:pt x="608045" y="380969"/>
                  </a:lnTo>
                  <a:close/>
                </a:path>
                <a:path w="617220" h="390525">
                  <a:moveTo>
                    <a:pt x="608045" y="4572"/>
                  </a:moveTo>
                  <a:lnTo>
                    <a:pt x="608045" y="385538"/>
                  </a:lnTo>
                  <a:lnTo>
                    <a:pt x="612617" y="380969"/>
                  </a:lnTo>
                  <a:lnTo>
                    <a:pt x="617189" y="380969"/>
                  </a:lnTo>
                  <a:lnTo>
                    <a:pt x="617189" y="9144"/>
                  </a:lnTo>
                  <a:lnTo>
                    <a:pt x="612617" y="9144"/>
                  </a:lnTo>
                  <a:lnTo>
                    <a:pt x="608045" y="4572"/>
                  </a:lnTo>
                  <a:close/>
                </a:path>
                <a:path w="617220" h="390525">
                  <a:moveTo>
                    <a:pt x="617189" y="380969"/>
                  </a:moveTo>
                  <a:lnTo>
                    <a:pt x="612617" y="380969"/>
                  </a:lnTo>
                  <a:lnTo>
                    <a:pt x="608045" y="385538"/>
                  </a:lnTo>
                  <a:lnTo>
                    <a:pt x="617189" y="385538"/>
                  </a:lnTo>
                  <a:lnTo>
                    <a:pt x="617189" y="380969"/>
                  </a:lnTo>
                  <a:close/>
                </a:path>
                <a:path w="617220" h="390525">
                  <a:moveTo>
                    <a:pt x="9144" y="4572"/>
                  </a:moveTo>
                  <a:lnTo>
                    <a:pt x="4572" y="9144"/>
                  </a:lnTo>
                  <a:lnTo>
                    <a:pt x="9144" y="9144"/>
                  </a:lnTo>
                  <a:lnTo>
                    <a:pt x="9144" y="4572"/>
                  </a:lnTo>
                  <a:close/>
                </a:path>
                <a:path w="617220" h="390525">
                  <a:moveTo>
                    <a:pt x="608045" y="4572"/>
                  </a:moveTo>
                  <a:lnTo>
                    <a:pt x="9144" y="4572"/>
                  </a:lnTo>
                  <a:lnTo>
                    <a:pt x="9144" y="9144"/>
                  </a:lnTo>
                  <a:lnTo>
                    <a:pt x="608045" y="9144"/>
                  </a:lnTo>
                  <a:lnTo>
                    <a:pt x="608045" y="4572"/>
                  </a:lnTo>
                  <a:close/>
                </a:path>
                <a:path w="617220" h="390525">
                  <a:moveTo>
                    <a:pt x="617189" y="4572"/>
                  </a:moveTo>
                  <a:lnTo>
                    <a:pt x="608045" y="4572"/>
                  </a:lnTo>
                  <a:lnTo>
                    <a:pt x="612617" y="9144"/>
                  </a:lnTo>
                  <a:lnTo>
                    <a:pt x="617189" y="9144"/>
                  </a:lnTo>
                  <a:lnTo>
                    <a:pt x="617189" y="457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5" name="object 55"/>
          <p:cNvSpPr txBox="1"/>
          <p:nvPr/>
        </p:nvSpPr>
        <p:spPr>
          <a:xfrm>
            <a:off x="7891119" y="4343555"/>
            <a:ext cx="608330" cy="381000"/>
          </a:xfrm>
          <a:prstGeom prst="rect">
            <a:avLst/>
          </a:prstGeom>
        </p:spPr>
        <p:txBody>
          <a:bodyPr vert="horz" wrap="square" lIns="0" tIns="61594" rIns="0" bIns="0" rtlCol="0">
            <a:spAutoFit/>
          </a:bodyPr>
          <a:lstStyle/>
          <a:p>
            <a:pPr marL="89535">
              <a:lnSpc>
                <a:spcPct val="100000"/>
              </a:lnSpc>
              <a:spcBef>
                <a:spcPts val="484"/>
              </a:spcBef>
            </a:pPr>
            <a:r>
              <a:rPr sz="1600" spc="-30" dirty="0">
                <a:latin typeface="Liberation Sans Narrow"/>
                <a:cs typeface="Liberation Sans Narrow"/>
              </a:rPr>
              <a:t>6DAY</a:t>
            </a:r>
            <a:endParaRPr sz="1600">
              <a:latin typeface="Liberation Sans Narrow"/>
              <a:cs typeface="Liberation Sans Narrow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85377" y="941842"/>
            <a:ext cx="3699272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200" spc="-10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Weekly</a:t>
            </a:r>
            <a:r>
              <a:rPr sz="2200" spc="-80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 </a:t>
            </a:r>
            <a:r>
              <a:rPr sz="2200" spc="-5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off</a:t>
            </a:r>
            <a:endParaRPr sz="2200" dirty="0">
              <a:solidFill>
                <a:schemeClr val="accent1"/>
              </a:solidFill>
              <a:latin typeface="Liberation Sans Narrow"/>
              <a:cs typeface="Liberation Sans Narrow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923477" y="1720457"/>
            <a:ext cx="640334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For </a:t>
            </a:r>
            <a:r>
              <a:rPr sz="1800" spc="-10" dirty="0">
                <a:latin typeface="Liberation Sans Narrow"/>
                <a:cs typeface="Liberation Sans Narrow"/>
              </a:rPr>
              <a:t>Weekly </a:t>
            </a:r>
            <a:r>
              <a:rPr sz="1800" spc="-15" dirty="0">
                <a:latin typeface="Liberation Sans Narrow"/>
                <a:cs typeface="Liberation Sans Narrow"/>
              </a:rPr>
              <a:t>off </a:t>
            </a:r>
            <a:r>
              <a:rPr sz="1800" spc="-5" dirty="0">
                <a:latin typeface="Liberation Sans Narrow"/>
                <a:cs typeface="Liberation Sans Narrow"/>
              </a:rPr>
              <a:t>there should be </a:t>
            </a:r>
            <a:r>
              <a:rPr sz="1800" dirty="0">
                <a:latin typeface="Liberation Sans Narrow"/>
                <a:cs typeface="Liberation Sans Narrow"/>
              </a:rPr>
              <a:t>a </a:t>
            </a:r>
            <a:r>
              <a:rPr sz="1800" spc="-5" dirty="0">
                <a:latin typeface="Liberation Sans Narrow"/>
                <a:cs typeface="Liberation Sans Narrow"/>
              </a:rPr>
              <a:t>separate Daily </a:t>
            </a:r>
            <a:r>
              <a:rPr sz="1800" spc="-10" dirty="0">
                <a:latin typeface="Liberation Sans Narrow"/>
                <a:cs typeface="Liberation Sans Narrow"/>
              </a:rPr>
              <a:t>Work </a:t>
            </a:r>
            <a:r>
              <a:rPr sz="1800" spc="-5" dirty="0">
                <a:latin typeface="Liberation Sans Narrow"/>
                <a:cs typeface="Liberation Sans Narrow"/>
              </a:rPr>
              <a:t>Schedule in which the  option </a:t>
            </a:r>
            <a:r>
              <a:rPr sz="1800" dirty="0">
                <a:latin typeface="Liberation Sans Narrow"/>
                <a:cs typeface="Liberation Sans Narrow"/>
              </a:rPr>
              <a:t>“No </a:t>
            </a:r>
            <a:r>
              <a:rPr sz="1800" spc="-5" dirty="0">
                <a:latin typeface="Liberation Sans Narrow"/>
                <a:cs typeface="Liberation Sans Narrow"/>
              </a:rPr>
              <a:t>planned working hours is to be</a:t>
            </a:r>
            <a:r>
              <a:rPr sz="1800" spc="114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checked”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916355" y="3746207"/>
            <a:ext cx="925194" cy="390525"/>
          </a:xfrm>
          <a:custGeom>
            <a:avLst/>
            <a:gdLst/>
            <a:ahLst/>
            <a:cxnLst/>
            <a:rect l="l" t="t" r="r" b="b"/>
            <a:pathLst>
              <a:path w="925194" h="390525">
                <a:moveTo>
                  <a:pt x="925004" y="0"/>
                </a:moveTo>
                <a:lnTo>
                  <a:pt x="914336" y="0"/>
                </a:lnTo>
                <a:lnTo>
                  <a:pt x="914336" y="9144"/>
                </a:lnTo>
                <a:lnTo>
                  <a:pt x="914336" y="146278"/>
                </a:lnTo>
                <a:lnTo>
                  <a:pt x="914336" y="380936"/>
                </a:lnTo>
                <a:lnTo>
                  <a:pt x="10668" y="380936"/>
                </a:lnTo>
                <a:lnTo>
                  <a:pt x="10668" y="146278"/>
                </a:lnTo>
                <a:lnTo>
                  <a:pt x="10668" y="9144"/>
                </a:lnTo>
                <a:lnTo>
                  <a:pt x="914336" y="9144"/>
                </a:lnTo>
                <a:lnTo>
                  <a:pt x="914336" y="0"/>
                </a:lnTo>
                <a:lnTo>
                  <a:pt x="0" y="0"/>
                </a:lnTo>
                <a:lnTo>
                  <a:pt x="0" y="146278"/>
                </a:lnTo>
                <a:lnTo>
                  <a:pt x="0" y="390080"/>
                </a:lnTo>
                <a:lnTo>
                  <a:pt x="925004" y="390080"/>
                </a:lnTo>
                <a:lnTo>
                  <a:pt x="925004" y="385508"/>
                </a:lnTo>
                <a:lnTo>
                  <a:pt x="925004" y="380936"/>
                </a:lnTo>
                <a:lnTo>
                  <a:pt x="925004" y="146278"/>
                </a:lnTo>
                <a:lnTo>
                  <a:pt x="925004" y="9144"/>
                </a:lnTo>
                <a:lnTo>
                  <a:pt x="925004" y="4572"/>
                </a:lnTo>
                <a:lnTo>
                  <a:pt x="92500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2211654" y="3746207"/>
            <a:ext cx="2372995" cy="390525"/>
          </a:xfrm>
          <a:custGeom>
            <a:avLst/>
            <a:gdLst/>
            <a:ahLst/>
            <a:cxnLst/>
            <a:rect l="l" t="t" r="r" b="b"/>
            <a:pathLst>
              <a:path w="2372995" h="390525">
                <a:moveTo>
                  <a:pt x="2372652" y="0"/>
                </a:moveTo>
                <a:lnTo>
                  <a:pt x="2361984" y="0"/>
                </a:lnTo>
                <a:lnTo>
                  <a:pt x="2361984" y="9144"/>
                </a:lnTo>
                <a:lnTo>
                  <a:pt x="2361984" y="146278"/>
                </a:lnTo>
                <a:lnTo>
                  <a:pt x="2361984" y="380936"/>
                </a:lnTo>
                <a:lnTo>
                  <a:pt x="10668" y="380936"/>
                </a:lnTo>
                <a:lnTo>
                  <a:pt x="10668" y="146278"/>
                </a:lnTo>
                <a:lnTo>
                  <a:pt x="10668" y="9144"/>
                </a:lnTo>
                <a:lnTo>
                  <a:pt x="2361984" y="9144"/>
                </a:lnTo>
                <a:lnTo>
                  <a:pt x="2361984" y="0"/>
                </a:lnTo>
                <a:lnTo>
                  <a:pt x="0" y="0"/>
                </a:lnTo>
                <a:lnTo>
                  <a:pt x="0" y="146278"/>
                </a:lnTo>
                <a:lnTo>
                  <a:pt x="0" y="390080"/>
                </a:lnTo>
                <a:lnTo>
                  <a:pt x="2372652" y="390080"/>
                </a:lnTo>
                <a:lnTo>
                  <a:pt x="2372652" y="385508"/>
                </a:lnTo>
                <a:lnTo>
                  <a:pt x="2372652" y="380936"/>
                </a:lnTo>
                <a:lnTo>
                  <a:pt x="2372652" y="146278"/>
                </a:lnTo>
                <a:lnTo>
                  <a:pt x="2372652" y="9144"/>
                </a:lnTo>
                <a:lnTo>
                  <a:pt x="2372652" y="4572"/>
                </a:lnTo>
                <a:lnTo>
                  <a:pt x="237265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916365" y="2831866"/>
            <a:ext cx="620395" cy="390525"/>
          </a:xfrm>
          <a:custGeom>
            <a:avLst/>
            <a:gdLst/>
            <a:ahLst/>
            <a:cxnLst/>
            <a:rect l="l" t="t" r="r" b="b"/>
            <a:pathLst>
              <a:path w="620394" h="390525">
                <a:moveTo>
                  <a:pt x="620219" y="0"/>
                </a:moveTo>
                <a:lnTo>
                  <a:pt x="0" y="0"/>
                </a:lnTo>
                <a:lnTo>
                  <a:pt x="0" y="390113"/>
                </a:lnTo>
                <a:lnTo>
                  <a:pt x="620219" y="390113"/>
                </a:lnTo>
                <a:lnTo>
                  <a:pt x="620219" y="385541"/>
                </a:lnTo>
                <a:lnTo>
                  <a:pt x="10668" y="385541"/>
                </a:lnTo>
                <a:lnTo>
                  <a:pt x="4572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620219" y="4572"/>
                </a:lnTo>
                <a:lnTo>
                  <a:pt x="620219" y="0"/>
                </a:lnTo>
                <a:close/>
              </a:path>
              <a:path w="620394" h="390525">
                <a:moveTo>
                  <a:pt x="10668" y="380969"/>
                </a:moveTo>
                <a:lnTo>
                  <a:pt x="4572" y="380969"/>
                </a:lnTo>
                <a:lnTo>
                  <a:pt x="10668" y="385541"/>
                </a:lnTo>
                <a:lnTo>
                  <a:pt x="10668" y="380969"/>
                </a:lnTo>
                <a:close/>
              </a:path>
              <a:path w="620394" h="390525">
                <a:moveTo>
                  <a:pt x="609551" y="380969"/>
                </a:moveTo>
                <a:lnTo>
                  <a:pt x="10668" y="380969"/>
                </a:lnTo>
                <a:lnTo>
                  <a:pt x="10668" y="385541"/>
                </a:lnTo>
                <a:lnTo>
                  <a:pt x="609551" y="385541"/>
                </a:lnTo>
                <a:lnTo>
                  <a:pt x="609551" y="380969"/>
                </a:lnTo>
                <a:close/>
              </a:path>
              <a:path w="620394" h="390525">
                <a:moveTo>
                  <a:pt x="609551" y="4572"/>
                </a:moveTo>
                <a:lnTo>
                  <a:pt x="609551" y="385541"/>
                </a:lnTo>
                <a:lnTo>
                  <a:pt x="614123" y="380969"/>
                </a:lnTo>
                <a:lnTo>
                  <a:pt x="620219" y="380969"/>
                </a:lnTo>
                <a:lnTo>
                  <a:pt x="620219" y="9144"/>
                </a:lnTo>
                <a:lnTo>
                  <a:pt x="614123" y="9144"/>
                </a:lnTo>
                <a:lnTo>
                  <a:pt x="609551" y="4572"/>
                </a:lnTo>
                <a:close/>
              </a:path>
              <a:path w="620394" h="390525">
                <a:moveTo>
                  <a:pt x="620219" y="380969"/>
                </a:moveTo>
                <a:lnTo>
                  <a:pt x="614123" y="380969"/>
                </a:lnTo>
                <a:lnTo>
                  <a:pt x="609551" y="385541"/>
                </a:lnTo>
                <a:lnTo>
                  <a:pt x="620219" y="385541"/>
                </a:lnTo>
                <a:lnTo>
                  <a:pt x="620219" y="380969"/>
                </a:lnTo>
                <a:close/>
              </a:path>
              <a:path w="620394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620394" h="390525">
                <a:moveTo>
                  <a:pt x="609551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609551" y="9144"/>
                </a:lnTo>
                <a:lnTo>
                  <a:pt x="609551" y="4572"/>
                </a:lnTo>
                <a:close/>
              </a:path>
              <a:path w="620394" h="390525">
                <a:moveTo>
                  <a:pt x="620219" y="4572"/>
                </a:moveTo>
                <a:lnTo>
                  <a:pt x="609551" y="4572"/>
                </a:lnTo>
                <a:lnTo>
                  <a:pt x="614123" y="9144"/>
                </a:lnTo>
                <a:lnTo>
                  <a:pt x="620219" y="9144"/>
                </a:lnTo>
                <a:lnTo>
                  <a:pt x="620219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999664" y="2870989"/>
            <a:ext cx="40068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Liberation Sans Narrow"/>
                <a:cs typeface="Liberation Sans Narrow"/>
              </a:rPr>
              <a:t>O</a:t>
            </a:r>
            <a:r>
              <a:rPr sz="1800" spc="-5" dirty="0">
                <a:latin typeface="Liberation Sans Narrow"/>
                <a:cs typeface="Liberation Sans Narrow"/>
              </a:rPr>
              <a:t>F</a:t>
            </a:r>
            <a:r>
              <a:rPr sz="1800" dirty="0">
                <a:latin typeface="Liberation Sans Narrow"/>
                <a:cs typeface="Liberation Sans Narrow"/>
              </a:rPr>
              <a:t>F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211656" y="2831866"/>
            <a:ext cx="1229995" cy="390525"/>
          </a:xfrm>
          <a:custGeom>
            <a:avLst/>
            <a:gdLst/>
            <a:ahLst/>
            <a:cxnLst/>
            <a:rect l="l" t="t" r="r" b="b"/>
            <a:pathLst>
              <a:path w="1229995" h="390525">
                <a:moveTo>
                  <a:pt x="1229749" y="0"/>
                </a:moveTo>
                <a:lnTo>
                  <a:pt x="0" y="0"/>
                </a:lnTo>
                <a:lnTo>
                  <a:pt x="0" y="390113"/>
                </a:lnTo>
                <a:lnTo>
                  <a:pt x="1229749" y="390113"/>
                </a:lnTo>
                <a:lnTo>
                  <a:pt x="1229749" y="385541"/>
                </a:lnTo>
                <a:lnTo>
                  <a:pt x="10668" y="385541"/>
                </a:lnTo>
                <a:lnTo>
                  <a:pt x="4572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1229749" y="4572"/>
                </a:lnTo>
                <a:lnTo>
                  <a:pt x="1229749" y="0"/>
                </a:lnTo>
                <a:close/>
              </a:path>
              <a:path w="1229995" h="390525">
                <a:moveTo>
                  <a:pt x="10668" y="380969"/>
                </a:moveTo>
                <a:lnTo>
                  <a:pt x="4572" y="380969"/>
                </a:lnTo>
                <a:lnTo>
                  <a:pt x="10668" y="385541"/>
                </a:lnTo>
                <a:lnTo>
                  <a:pt x="10668" y="380969"/>
                </a:lnTo>
                <a:close/>
              </a:path>
              <a:path w="1229995" h="390525">
                <a:moveTo>
                  <a:pt x="1219081" y="380969"/>
                </a:moveTo>
                <a:lnTo>
                  <a:pt x="10668" y="380969"/>
                </a:lnTo>
                <a:lnTo>
                  <a:pt x="10668" y="385541"/>
                </a:lnTo>
                <a:lnTo>
                  <a:pt x="1219081" y="385541"/>
                </a:lnTo>
                <a:lnTo>
                  <a:pt x="1219081" y="380969"/>
                </a:lnTo>
                <a:close/>
              </a:path>
              <a:path w="1229995" h="390525">
                <a:moveTo>
                  <a:pt x="1219081" y="4572"/>
                </a:moveTo>
                <a:lnTo>
                  <a:pt x="1219081" y="385541"/>
                </a:lnTo>
                <a:lnTo>
                  <a:pt x="1223653" y="380969"/>
                </a:lnTo>
                <a:lnTo>
                  <a:pt x="1229749" y="380969"/>
                </a:lnTo>
                <a:lnTo>
                  <a:pt x="1229749" y="9144"/>
                </a:lnTo>
                <a:lnTo>
                  <a:pt x="1223653" y="9144"/>
                </a:lnTo>
                <a:lnTo>
                  <a:pt x="1219081" y="4572"/>
                </a:lnTo>
                <a:close/>
              </a:path>
              <a:path w="1229995" h="390525">
                <a:moveTo>
                  <a:pt x="1229749" y="380969"/>
                </a:moveTo>
                <a:lnTo>
                  <a:pt x="1223653" y="380969"/>
                </a:lnTo>
                <a:lnTo>
                  <a:pt x="1219081" y="385541"/>
                </a:lnTo>
                <a:lnTo>
                  <a:pt x="1229749" y="385541"/>
                </a:lnTo>
                <a:lnTo>
                  <a:pt x="1229749" y="380969"/>
                </a:lnTo>
                <a:close/>
              </a:path>
              <a:path w="12299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1229995" h="390525">
                <a:moveTo>
                  <a:pt x="1219081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1219081" y="9144"/>
                </a:lnTo>
                <a:lnTo>
                  <a:pt x="1219081" y="4572"/>
                </a:lnTo>
                <a:close/>
              </a:path>
              <a:path w="1229995" h="390525">
                <a:moveTo>
                  <a:pt x="1229749" y="4572"/>
                </a:moveTo>
                <a:lnTo>
                  <a:pt x="1219081" y="4572"/>
                </a:lnTo>
                <a:lnTo>
                  <a:pt x="1223653" y="9144"/>
                </a:lnTo>
                <a:lnTo>
                  <a:pt x="1229749" y="9144"/>
                </a:lnTo>
                <a:lnTo>
                  <a:pt x="1229749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2294955" y="2870989"/>
            <a:ext cx="93408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10" dirty="0">
                <a:latin typeface="Liberation Sans Narrow"/>
                <a:cs typeface="Liberation Sans Narrow"/>
              </a:rPr>
              <a:t>Weekly</a:t>
            </a:r>
            <a:r>
              <a:rPr sz="1800" spc="-70" dirty="0">
                <a:latin typeface="Liberation Sans Narrow"/>
                <a:cs typeface="Liberation Sans Narrow"/>
              </a:rPr>
              <a:t> </a:t>
            </a:r>
            <a:r>
              <a:rPr sz="1800" spc="-10" dirty="0">
                <a:latin typeface="Liberation Sans Narrow"/>
                <a:cs typeface="Liberation Sans Narrow"/>
              </a:rPr>
              <a:t>Off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999664" y="3785301"/>
            <a:ext cx="858519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Checkbox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294955" y="3785301"/>
            <a:ext cx="229425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Liberation Sans Narrow"/>
                <a:cs typeface="Liberation Sans Narrow"/>
              </a:rPr>
              <a:t>No </a:t>
            </a:r>
            <a:r>
              <a:rPr sz="1800" spc="-5" dirty="0">
                <a:latin typeface="Liberation Sans Narrow"/>
                <a:cs typeface="Liberation Sans Narrow"/>
              </a:rPr>
              <a:t>Planned Working</a:t>
            </a:r>
            <a:r>
              <a:rPr sz="1800" spc="-40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Hours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916365" y="4584313"/>
            <a:ext cx="7172959" cy="771525"/>
          </a:xfrm>
          <a:custGeom>
            <a:avLst/>
            <a:gdLst/>
            <a:ahLst/>
            <a:cxnLst/>
            <a:rect l="l" t="t" r="r" b="b"/>
            <a:pathLst>
              <a:path w="7172959" h="771525">
                <a:moveTo>
                  <a:pt x="7172873" y="0"/>
                </a:moveTo>
                <a:lnTo>
                  <a:pt x="0" y="0"/>
                </a:lnTo>
                <a:lnTo>
                  <a:pt x="0" y="771092"/>
                </a:lnTo>
                <a:lnTo>
                  <a:pt x="7172873" y="771092"/>
                </a:lnTo>
                <a:lnTo>
                  <a:pt x="7172873" y="766520"/>
                </a:lnTo>
                <a:lnTo>
                  <a:pt x="10668" y="766520"/>
                </a:lnTo>
                <a:lnTo>
                  <a:pt x="4572" y="761948"/>
                </a:lnTo>
                <a:lnTo>
                  <a:pt x="10668" y="761948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7172873" y="4572"/>
                </a:lnTo>
                <a:lnTo>
                  <a:pt x="7172873" y="0"/>
                </a:lnTo>
                <a:close/>
              </a:path>
              <a:path w="7172959" h="771525">
                <a:moveTo>
                  <a:pt x="10668" y="761948"/>
                </a:moveTo>
                <a:lnTo>
                  <a:pt x="4572" y="761948"/>
                </a:lnTo>
                <a:lnTo>
                  <a:pt x="10668" y="766520"/>
                </a:lnTo>
                <a:lnTo>
                  <a:pt x="10668" y="761948"/>
                </a:lnTo>
                <a:close/>
              </a:path>
              <a:path w="7172959" h="771525">
                <a:moveTo>
                  <a:pt x="7162205" y="761948"/>
                </a:moveTo>
                <a:lnTo>
                  <a:pt x="10668" y="761948"/>
                </a:lnTo>
                <a:lnTo>
                  <a:pt x="10668" y="766520"/>
                </a:lnTo>
                <a:lnTo>
                  <a:pt x="7162205" y="766520"/>
                </a:lnTo>
                <a:lnTo>
                  <a:pt x="7162205" y="761948"/>
                </a:lnTo>
                <a:close/>
              </a:path>
              <a:path w="7172959" h="771525">
                <a:moveTo>
                  <a:pt x="7162205" y="4572"/>
                </a:moveTo>
                <a:lnTo>
                  <a:pt x="7162205" y="766520"/>
                </a:lnTo>
                <a:lnTo>
                  <a:pt x="7166777" y="761948"/>
                </a:lnTo>
                <a:lnTo>
                  <a:pt x="7172873" y="761948"/>
                </a:lnTo>
                <a:lnTo>
                  <a:pt x="7172873" y="9144"/>
                </a:lnTo>
                <a:lnTo>
                  <a:pt x="7166777" y="9144"/>
                </a:lnTo>
                <a:lnTo>
                  <a:pt x="7162205" y="4572"/>
                </a:lnTo>
                <a:close/>
              </a:path>
              <a:path w="7172959" h="771525">
                <a:moveTo>
                  <a:pt x="7172873" y="761948"/>
                </a:moveTo>
                <a:lnTo>
                  <a:pt x="7166777" y="761948"/>
                </a:lnTo>
                <a:lnTo>
                  <a:pt x="7162205" y="766520"/>
                </a:lnTo>
                <a:lnTo>
                  <a:pt x="7172873" y="766520"/>
                </a:lnTo>
                <a:lnTo>
                  <a:pt x="7172873" y="761948"/>
                </a:lnTo>
                <a:close/>
              </a:path>
              <a:path w="7172959" h="771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7172959" h="771525">
                <a:moveTo>
                  <a:pt x="7162205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7162205" y="9144"/>
                </a:lnTo>
                <a:lnTo>
                  <a:pt x="7162205" y="4572"/>
                </a:lnTo>
                <a:close/>
              </a:path>
              <a:path w="7172959" h="771525">
                <a:moveTo>
                  <a:pt x="7172873" y="4572"/>
                </a:moveTo>
                <a:lnTo>
                  <a:pt x="7162205" y="4572"/>
                </a:lnTo>
                <a:lnTo>
                  <a:pt x="7166777" y="9144"/>
                </a:lnTo>
                <a:lnTo>
                  <a:pt x="7172873" y="9144"/>
                </a:lnTo>
                <a:lnTo>
                  <a:pt x="717287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999664" y="4829163"/>
            <a:ext cx="6497955" cy="2686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Liberation Sans Narrow"/>
                <a:cs typeface="Liberation Sans Narrow"/>
              </a:rPr>
              <a:t>No timings need to be entered in this Daily </a:t>
            </a:r>
            <a:r>
              <a:rPr sz="1600" spc="-10" dirty="0">
                <a:latin typeface="Liberation Sans Narrow"/>
                <a:cs typeface="Liberation Sans Narrow"/>
              </a:rPr>
              <a:t>Work </a:t>
            </a:r>
            <a:r>
              <a:rPr sz="1600" spc="-5" dirty="0">
                <a:latin typeface="Liberation Sans Narrow"/>
                <a:cs typeface="Liberation Sans Narrow"/>
              </a:rPr>
              <a:t>Schedule as it is meant for an OFF</a:t>
            </a:r>
            <a:r>
              <a:rPr sz="1600" spc="-75" dirty="0">
                <a:latin typeface="Liberation Sans Narrow"/>
                <a:cs typeface="Liberation Sans Narrow"/>
              </a:rPr>
              <a:t> </a:t>
            </a:r>
            <a:r>
              <a:rPr sz="1600" spc="-5" dirty="0">
                <a:latin typeface="Liberation Sans Narrow"/>
                <a:cs typeface="Liberation Sans Narrow"/>
              </a:rPr>
              <a:t>day</a:t>
            </a:r>
            <a:endParaRPr sz="1600">
              <a:latin typeface="Liberation Sans Narrow"/>
              <a:cs typeface="Liberation Sans Narrow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54897" y="888376"/>
            <a:ext cx="4203065" cy="68929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200" spc="-10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Period </a:t>
            </a:r>
            <a:r>
              <a:rPr sz="2200" spc="-5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Work Schedule – Rotating</a:t>
            </a:r>
            <a:r>
              <a:rPr sz="2200" spc="-70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 </a:t>
            </a:r>
            <a:r>
              <a:rPr sz="2200" spc="-5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Shift</a:t>
            </a:r>
            <a:endParaRPr sz="2200" dirty="0">
              <a:solidFill>
                <a:schemeClr val="accent1"/>
              </a:solidFill>
              <a:latin typeface="Liberation Sans Narrow"/>
              <a:cs typeface="Liberation Sans Narrow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892997" y="1533018"/>
            <a:ext cx="631063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The Employee </a:t>
            </a:r>
            <a:r>
              <a:rPr sz="1800" dirty="0">
                <a:latin typeface="Liberation Sans Narrow"/>
                <a:cs typeface="Liberation Sans Narrow"/>
              </a:rPr>
              <a:t>works </a:t>
            </a:r>
            <a:r>
              <a:rPr sz="1800" spc="-5" dirty="0">
                <a:latin typeface="Liberation Sans Narrow"/>
                <a:cs typeface="Liberation Sans Narrow"/>
              </a:rPr>
              <a:t>in three shifts namely EARL, MIDD and NIGH </a:t>
            </a:r>
            <a:r>
              <a:rPr sz="1800" dirty="0">
                <a:latin typeface="Liberation Sans Narrow"/>
                <a:cs typeface="Liberation Sans Narrow"/>
              </a:rPr>
              <a:t>– </a:t>
            </a:r>
            <a:r>
              <a:rPr sz="1800" spc="-5" dirty="0">
                <a:latin typeface="Liberation Sans Narrow"/>
                <a:cs typeface="Liberation Sans Narrow"/>
              </a:rPr>
              <a:t>There  would be </a:t>
            </a:r>
            <a:r>
              <a:rPr sz="1800" dirty="0">
                <a:latin typeface="Liberation Sans Narrow"/>
                <a:cs typeface="Liberation Sans Narrow"/>
              </a:rPr>
              <a:t>a </a:t>
            </a:r>
            <a:r>
              <a:rPr sz="1800" spc="-5" dirty="0">
                <a:latin typeface="Liberation Sans Narrow"/>
                <a:cs typeface="Liberation Sans Narrow"/>
              </a:rPr>
              <a:t>rotating</a:t>
            </a:r>
            <a:r>
              <a:rPr sz="1800" spc="60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pattern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887409" y="3023890"/>
            <a:ext cx="542925" cy="390525"/>
          </a:xfrm>
          <a:custGeom>
            <a:avLst/>
            <a:gdLst/>
            <a:ahLst/>
            <a:cxnLst/>
            <a:rect l="l" t="t" r="r" b="b"/>
            <a:pathLst>
              <a:path w="542925" h="390525">
                <a:moveTo>
                  <a:pt x="542495" y="0"/>
                </a:moveTo>
                <a:lnTo>
                  <a:pt x="0" y="0"/>
                </a:lnTo>
                <a:lnTo>
                  <a:pt x="0" y="390083"/>
                </a:lnTo>
                <a:lnTo>
                  <a:pt x="542495" y="390083"/>
                </a:lnTo>
                <a:lnTo>
                  <a:pt x="542495" y="385541"/>
                </a:lnTo>
                <a:lnTo>
                  <a:pt x="9144" y="385541"/>
                </a:lnTo>
                <a:lnTo>
                  <a:pt x="4572" y="380969"/>
                </a:lnTo>
                <a:lnTo>
                  <a:pt x="9144" y="380969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542495" y="4572"/>
                </a:lnTo>
                <a:lnTo>
                  <a:pt x="542495" y="0"/>
                </a:lnTo>
                <a:close/>
              </a:path>
              <a:path w="542925" h="390525">
                <a:moveTo>
                  <a:pt x="9144" y="380969"/>
                </a:moveTo>
                <a:lnTo>
                  <a:pt x="4572" y="380969"/>
                </a:lnTo>
                <a:lnTo>
                  <a:pt x="9144" y="385541"/>
                </a:lnTo>
                <a:lnTo>
                  <a:pt x="9144" y="380969"/>
                </a:lnTo>
                <a:close/>
              </a:path>
              <a:path w="542925" h="390525">
                <a:moveTo>
                  <a:pt x="533351" y="380969"/>
                </a:moveTo>
                <a:lnTo>
                  <a:pt x="9144" y="380969"/>
                </a:lnTo>
                <a:lnTo>
                  <a:pt x="9144" y="385541"/>
                </a:lnTo>
                <a:lnTo>
                  <a:pt x="533351" y="385541"/>
                </a:lnTo>
                <a:lnTo>
                  <a:pt x="533351" y="380969"/>
                </a:lnTo>
                <a:close/>
              </a:path>
              <a:path w="542925" h="390525">
                <a:moveTo>
                  <a:pt x="533351" y="4572"/>
                </a:moveTo>
                <a:lnTo>
                  <a:pt x="533351" y="385541"/>
                </a:lnTo>
                <a:lnTo>
                  <a:pt x="537923" y="380969"/>
                </a:lnTo>
                <a:lnTo>
                  <a:pt x="542495" y="380969"/>
                </a:lnTo>
                <a:lnTo>
                  <a:pt x="542495" y="9144"/>
                </a:lnTo>
                <a:lnTo>
                  <a:pt x="537923" y="9144"/>
                </a:lnTo>
                <a:lnTo>
                  <a:pt x="533351" y="4572"/>
                </a:lnTo>
                <a:close/>
              </a:path>
              <a:path w="542925" h="390525">
                <a:moveTo>
                  <a:pt x="542495" y="380969"/>
                </a:moveTo>
                <a:lnTo>
                  <a:pt x="537923" y="380969"/>
                </a:lnTo>
                <a:lnTo>
                  <a:pt x="533351" y="385541"/>
                </a:lnTo>
                <a:lnTo>
                  <a:pt x="542495" y="385541"/>
                </a:lnTo>
                <a:lnTo>
                  <a:pt x="542495" y="380969"/>
                </a:lnTo>
                <a:close/>
              </a:path>
              <a:path w="542925" h="3905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542925" h="390525">
                <a:moveTo>
                  <a:pt x="533351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533351" y="9144"/>
                </a:lnTo>
                <a:lnTo>
                  <a:pt x="533351" y="4572"/>
                </a:lnTo>
                <a:close/>
              </a:path>
              <a:path w="542925" h="390525">
                <a:moveTo>
                  <a:pt x="542495" y="4572"/>
                </a:moveTo>
                <a:lnTo>
                  <a:pt x="533351" y="4572"/>
                </a:lnTo>
                <a:lnTo>
                  <a:pt x="537923" y="9144"/>
                </a:lnTo>
                <a:lnTo>
                  <a:pt x="542495" y="9144"/>
                </a:lnTo>
                <a:lnTo>
                  <a:pt x="542495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801736" y="3023890"/>
            <a:ext cx="771525" cy="390525"/>
          </a:xfrm>
          <a:custGeom>
            <a:avLst/>
            <a:gdLst/>
            <a:ahLst/>
            <a:cxnLst/>
            <a:rect l="l" t="t" r="r" b="b"/>
            <a:pathLst>
              <a:path w="771525" h="390525">
                <a:moveTo>
                  <a:pt x="771073" y="0"/>
                </a:moveTo>
                <a:lnTo>
                  <a:pt x="0" y="0"/>
                </a:lnTo>
                <a:lnTo>
                  <a:pt x="0" y="390083"/>
                </a:lnTo>
                <a:lnTo>
                  <a:pt x="771073" y="390083"/>
                </a:lnTo>
                <a:lnTo>
                  <a:pt x="771073" y="385541"/>
                </a:lnTo>
                <a:lnTo>
                  <a:pt x="9144" y="385541"/>
                </a:lnTo>
                <a:lnTo>
                  <a:pt x="4572" y="380969"/>
                </a:lnTo>
                <a:lnTo>
                  <a:pt x="9144" y="380969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771073" y="4572"/>
                </a:lnTo>
                <a:lnTo>
                  <a:pt x="771073" y="0"/>
                </a:lnTo>
                <a:close/>
              </a:path>
              <a:path w="771525" h="390525">
                <a:moveTo>
                  <a:pt x="9144" y="380969"/>
                </a:moveTo>
                <a:lnTo>
                  <a:pt x="4572" y="380969"/>
                </a:lnTo>
                <a:lnTo>
                  <a:pt x="9144" y="385541"/>
                </a:lnTo>
                <a:lnTo>
                  <a:pt x="9144" y="380969"/>
                </a:lnTo>
                <a:close/>
              </a:path>
              <a:path w="771525" h="390525">
                <a:moveTo>
                  <a:pt x="761929" y="380969"/>
                </a:moveTo>
                <a:lnTo>
                  <a:pt x="9144" y="380969"/>
                </a:lnTo>
                <a:lnTo>
                  <a:pt x="9144" y="385541"/>
                </a:lnTo>
                <a:lnTo>
                  <a:pt x="761929" y="385541"/>
                </a:lnTo>
                <a:lnTo>
                  <a:pt x="761929" y="380969"/>
                </a:lnTo>
                <a:close/>
              </a:path>
              <a:path w="771525" h="390525">
                <a:moveTo>
                  <a:pt x="761929" y="4572"/>
                </a:moveTo>
                <a:lnTo>
                  <a:pt x="761929" y="385541"/>
                </a:lnTo>
                <a:lnTo>
                  <a:pt x="766501" y="380969"/>
                </a:lnTo>
                <a:lnTo>
                  <a:pt x="771073" y="380969"/>
                </a:lnTo>
                <a:lnTo>
                  <a:pt x="771073" y="9144"/>
                </a:lnTo>
                <a:lnTo>
                  <a:pt x="766501" y="9144"/>
                </a:lnTo>
                <a:lnTo>
                  <a:pt x="761929" y="4572"/>
                </a:lnTo>
                <a:close/>
              </a:path>
              <a:path w="771525" h="390525">
                <a:moveTo>
                  <a:pt x="771073" y="380969"/>
                </a:moveTo>
                <a:lnTo>
                  <a:pt x="766501" y="380969"/>
                </a:lnTo>
                <a:lnTo>
                  <a:pt x="761929" y="385541"/>
                </a:lnTo>
                <a:lnTo>
                  <a:pt x="771073" y="385541"/>
                </a:lnTo>
                <a:lnTo>
                  <a:pt x="771073" y="380969"/>
                </a:lnTo>
                <a:close/>
              </a:path>
              <a:path w="771525" h="3905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771525" h="390525">
                <a:moveTo>
                  <a:pt x="761929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761929" y="9144"/>
                </a:lnTo>
                <a:lnTo>
                  <a:pt x="761929" y="4572"/>
                </a:lnTo>
                <a:close/>
              </a:path>
              <a:path w="771525" h="390525">
                <a:moveTo>
                  <a:pt x="771073" y="4572"/>
                </a:moveTo>
                <a:lnTo>
                  <a:pt x="761929" y="4572"/>
                </a:lnTo>
                <a:lnTo>
                  <a:pt x="766501" y="9144"/>
                </a:lnTo>
                <a:lnTo>
                  <a:pt x="771073" y="9144"/>
                </a:lnTo>
                <a:lnTo>
                  <a:pt x="77107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2792254" y="3023890"/>
            <a:ext cx="847725" cy="390525"/>
          </a:xfrm>
          <a:custGeom>
            <a:avLst/>
            <a:gdLst/>
            <a:ahLst/>
            <a:cxnLst/>
            <a:rect l="l" t="t" r="r" b="b"/>
            <a:pathLst>
              <a:path w="847725" h="390525">
                <a:moveTo>
                  <a:pt x="847270" y="0"/>
                </a:moveTo>
                <a:lnTo>
                  <a:pt x="0" y="0"/>
                </a:lnTo>
                <a:lnTo>
                  <a:pt x="0" y="390083"/>
                </a:lnTo>
                <a:lnTo>
                  <a:pt x="847270" y="390083"/>
                </a:lnTo>
                <a:lnTo>
                  <a:pt x="847270" y="385541"/>
                </a:lnTo>
                <a:lnTo>
                  <a:pt x="9144" y="385541"/>
                </a:lnTo>
                <a:lnTo>
                  <a:pt x="4572" y="380969"/>
                </a:lnTo>
                <a:lnTo>
                  <a:pt x="9144" y="380969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847270" y="4572"/>
                </a:lnTo>
                <a:lnTo>
                  <a:pt x="847270" y="0"/>
                </a:lnTo>
                <a:close/>
              </a:path>
              <a:path w="847725" h="390525">
                <a:moveTo>
                  <a:pt x="9144" y="380969"/>
                </a:moveTo>
                <a:lnTo>
                  <a:pt x="4572" y="380969"/>
                </a:lnTo>
                <a:lnTo>
                  <a:pt x="9144" y="385541"/>
                </a:lnTo>
                <a:lnTo>
                  <a:pt x="9144" y="380969"/>
                </a:lnTo>
                <a:close/>
              </a:path>
              <a:path w="847725" h="390525">
                <a:moveTo>
                  <a:pt x="838126" y="380969"/>
                </a:moveTo>
                <a:lnTo>
                  <a:pt x="9144" y="380969"/>
                </a:lnTo>
                <a:lnTo>
                  <a:pt x="9144" y="385541"/>
                </a:lnTo>
                <a:lnTo>
                  <a:pt x="838126" y="385541"/>
                </a:lnTo>
                <a:lnTo>
                  <a:pt x="838126" y="380969"/>
                </a:lnTo>
                <a:close/>
              </a:path>
              <a:path w="847725" h="390525">
                <a:moveTo>
                  <a:pt x="838126" y="4572"/>
                </a:moveTo>
                <a:lnTo>
                  <a:pt x="838126" y="385541"/>
                </a:lnTo>
                <a:lnTo>
                  <a:pt x="842698" y="380969"/>
                </a:lnTo>
                <a:lnTo>
                  <a:pt x="847270" y="380969"/>
                </a:lnTo>
                <a:lnTo>
                  <a:pt x="847270" y="9144"/>
                </a:lnTo>
                <a:lnTo>
                  <a:pt x="842698" y="9144"/>
                </a:lnTo>
                <a:lnTo>
                  <a:pt x="838126" y="4572"/>
                </a:lnTo>
                <a:close/>
              </a:path>
              <a:path w="847725" h="390525">
                <a:moveTo>
                  <a:pt x="847270" y="380969"/>
                </a:moveTo>
                <a:lnTo>
                  <a:pt x="842698" y="380969"/>
                </a:lnTo>
                <a:lnTo>
                  <a:pt x="838126" y="385541"/>
                </a:lnTo>
                <a:lnTo>
                  <a:pt x="847270" y="385541"/>
                </a:lnTo>
                <a:lnTo>
                  <a:pt x="847270" y="380969"/>
                </a:lnTo>
                <a:close/>
              </a:path>
              <a:path w="847725" h="3905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847725" h="390525">
                <a:moveTo>
                  <a:pt x="838126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838126" y="9144"/>
                </a:lnTo>
                <a:lnTo>
                  <a:pt x="838126" y="4572"/>
                </a:lnTo>
                <a:close/>
              </a:path>
              <a:path w="847725" h="390525">
                <a:moveTo>
                  <a:pt x="847270" y="4572"/>
                </a:moveTo>
                <a:lnTo>
                  <a:pt x="838126" y="4572"/>
                </a:lnTo>
                <a:lnTo>
                  <a:pt x="842698" y="9144"/>
                </a:lnTo>
                <a:lnTo>
                  <a:pt x="847270" y="9144"/>
                </a:lnTo>
                <a:lnTo>
                  <a:pt x="847270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8582955" y="2261951"/>
            <a:ext cx="542925" cy="390525"/>
          </a:xfrm>
          <a:custGeom>
            <a:avLst/>
            <a:gdLst/>
            <a:ahLst/>
            <a:cxnLst/>
            <a:rect l="l" t="t" r="r" b="b"/>
            <a:pathLst>
              <a:path w="542925" h="390525">
                <a:moveTo>
                  <a:pt x="542513" y="0"/>
                </a:moveTo>
                <a:lnTo>
                  <a:pt x="0" y="0"/>
                </a:lnTo>
                <a:lnTo>
                  <a:pt x="0" y="390113"/>
                </a:lnTo>
                <a:lnTo>
                  <a:pt x="542513" y="390113"/>
                </a:lnTo>
                <a:lnTo>
                  <a:pt x="542513" y="385541"/>
                </a:lnTo>
                <a:lnTo>
                  <a:pt x="9144" y="385541"/>
                </a:lnTo>
                <a:lnTo>
                  <a:pt x="4572" y="380969"/>
                </a:lnTo>
                <a:lnTo>
                  <a:pt x="9144" y="380969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542513" y="4572"/>
                </a:lnTo>
                <a:lnTo>
                  <a:pt x="542513" y="0"/>
                </a:lnTo>
                <a:close/>
              </a:path>
              <a:path w="542925" h="390525">
                <a:moveTo>
                  <a:pt x="9144" y="380969"/>
                </a:moveTo>
                <a:lnTo>
                  <a:pt x="4572" y="380969"/>
                </a:lnTo>
                <a:lnTo>
                  <a:pt x="9144" y="385541"/>
                </a:lnTo>
                <a:lnTo>
                  <a:pt x="9144" y="380969"/>
                </a:lnTo>
                <a:close/>
              </a:path>
              <a:path w="542925" h="390525">
                <a:moveTo>
                  <a:pt x="533369" y="380969"/>
                </a:moveTo>
                <a:lnTo>
                  <a:pt x="9144" y="380969"/>
                </a:lnTo>
                <a:lnTo>
                  <a:pt x="9144" y="385541"/>
                </a:lnTo>
                <a:lnTo>
                  <a:pt x="533369" y="385541"/>
                </a:lnTo>
                <a:lnTo>
                  <a:pt x="533369" y="380969"/>
                </a:lnTo>
                <a:close/>
              </a:path>
              <a:path w="542925" h="390525">
                <a:moveTo>
                  <a:pt x="533369" y="4572"/>
                </a:moveTo>
                <a:lnTo>
                  <a:pt x="533369" y="385541"/>
                </a:lnTo>
                <a:lnTo>
                  <a:pt x="537941" y="380969"/>
                </a:lnTo>
                <a:lnTo>
                  <a:pt x="542513" y="380969"/>
                </a:lnTo>
                <a:lnTo>
                  <a:pt x="542513" y="9144"/>
                </a:lnTo>
                <a:lnTo>
                  <a:pt x="537941" y="9144"/>
                </a:lnTo>
                <a:lnTo>
                  <a:pt x="533369" y="4572"/>
                </a:lnTo>
                <a:close/>
              </a:path>
              <a:path w="542925" h="390525">
                <a:moveTo>
                  <a:pt x="542513" y="380969"/>
                </a:moveTo>
                <a:lnTo>
                  <a:pt x="537941" y="380969"/>
                </a:lnTo>
                <a:lnTo>
                  <a:pt x="533369" y="385541"/>
                </a:lnTo>
                <a:lnTo>
                  <a:pt x="542513" y="385541"/>
                </a:lnTo>
                <a:lnTo>
                  <a:pt x="542513" y="380969"/>
                </a:lnTo>
                <a:close/>
              </a:path>
              <a:path w="542925" h="3905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542925" h="390525">
                <a:moveTo>
                  <a:pt x="533369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533369" y="9144"/>
                </a:lnTo>
                <a:lnTo>
                  <a:pt x="533369" y="4572"/>
                </a:lnTo>
                <a:close/>
              </a:path>
              <a:path w="542925" h="390525">
                <a:moveTo>
                  <a:pt x="542513" y="4572"/>
                </a:moveTo>
                <a:lnTo>
                  <a:pt x="533369" y="4572"/>
                </a:lnTo>
                <a:lnTo>
                  <a:pt x="537941" y="9144"/>
                </a:lnTo>
                <a:lnTo>
                  <a:pt x="542513" y="9144"/>
                </a:lnTo>
                <a:lnTo>
                  <a:pt x="54251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7821046" y="2261951"/>
            <a:ext cx="542925" cy="390525"/>
          </a:xfrm>
          <a:custGeom>
            <a:avLst/>
            <a:gdLst/>
            <a:ahLst/>
            <a:cxnLst/>
            <a:rect l="l" t="t" r="r" b="b"/>
            <a:pathLst>
              <a:path w="542925" h="390525">
                <a:moveTo>
                  <a:pt x="542483" y="0"/>
                </a:moveTo>
                <a:lnTo>
                  <a:pt x="0" y="0"/>
                </a:lnTo>
                <a:lnTo>
                  <a:pt x="0" y="390113"/>
                </a:lnTo>
                <a:lnTo>
                  <a:pt x="542483" y="390113"/>
                </a:lnTo>
                <a:lnTo>
                  <a:pt x="542483" y="385541"/>
                </a:lnTo>
                <a:lnTo>
                  <a:pt x="9144" y="385541"/>
                </a:lnTo>
                <a:lnTo>
                  <a:pt x="4572" y="380969"/>
                </a:lnTo>
                <a:lnTo>
                  <a:pt x="9144" y="380969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542483" y="4572"/>
                </a:lnTo>
                <a:lnTo>
                  <a:pt x="542483" y="0"/>
                </a:lnTo>
                <a:close/>
              </a:path>
              <a:path w="542925" h="390525">
                <a:moveTo>
                  <a:pt x="9144" y="380969"/>
                </a:moveTo>
                <a:lnTo>
                  <a:pt x="4572" y="380969"/>
                </a:lnTo>
                <a:lnTo>
                  <a:pt x="9144" y="385541"/>
                </a:lnTo>
                <a:lnTo>
                  <a:pt x="9144" y="380969"/>
                </a:lnTo>
                <a:close/>
              </a:path>
              <a:path w="542925" h="390525">
                <a:moveTo>
                  <a:pt x="533339" y="380969"/>
                </a:moveTo>
                <a:lnTo>
                  <a:pt x="9144" y="380969"/>
                </a:lnTo>
                <a:lnTo>
                  <a:pt x="9144" y="385541"/>
                </a:lnTo>
                <a:lnTo>
                  <a:pt x="533339" y="385541"/>
                </a:lnTo>
                <a:lnTo>
                  <a:pt x="533339" y="380969"/>
                </a:lnTo>
                <a:close/>
              </a:path>
              <a:path w="542925" h="390525">
                <a:moveTo>
                  <a:pt x="533339" y="4572"/>
                </a:moveTo>
                <a:lnTo>
                  <a:pt x="533339" y="385541"/>
                </a:lnTo>
                <a:lnTo>
                  <a:pt x="537911" y="380969"/>
                </a:lnTo>
                <a:lnTo>
                  <a:pt x="542483" y="380969"/>
                </a:lnTo>
                <a:lnTo>
                  <a:pt x="542483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2925" h="390525">
                <a:moveTo>
                  <a:pt x="542483" y="380969"/>
                </a:moveTo>
                <a:lnTo>
                  <a:pt x="537911" y="380969"/>
                </a:lnTo>
                <a:lnTo>
                  <a:pt x="533339" y="385541"/>
                </a:lnTo>
                <a:lnTo>
                  <a:pt x="542483" y="385541"/>
                </a:lnTo>
                <a:lnTo>
                  <a:pt x="542483" y="380969"/>
                </a:lnTo>
                <a:close/>
              </a:path>
              <a:path w="542925" h="3905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542925" h="390525">
                <a:moveTo>
                  <a:pt x="533339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2925" h="390525">
                <a:moveTo>
                  <a:pt x="542483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2483" y="9144"/>
                </a:lnTo>
                <a:lnTo>
                  <a:pt x="54248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7059107" y="2261951"/>
            <a:ext cx="542925" cy="390525"/>
          </a:xfrm>
          <a:custGeom>
            <a:avLst/>
            <a:gdLst/>
            <a:ahLst/>
            <a:cxnLst/>
            <a:rect l="l" t="t" r="r" b="b"/>
            <a:pathLst>
              <a:path w="542925" h="390525">
                <a:moveTo>
                  <a:pt x="542483" y="0"/>
                </a:moveTo>
                <a:lnTo>
                  <a:pt x="0" y="0"/>
                </a:lnTo>
                <a:lnTo>
                  <a:pt x="0" y="390113"/>
                </a:lnTo>
                <a:lnTo>
                  <a:pt x="542483" y="390113"/>
                </a:lnTo>
                <a:lnTo>
                  <a:pt x="542483" y="385541"/>
                </a:lnTo>
                <a:lnTo>
                  <a:pt x="9144" y="385541"/>
                </a:lnTo>
                <a:lnTo>
                  <a:pt x="4572" y="380969"/>
                </a:lnTo>
                <a:lnTo>
                  <a:pt x="9144" y="380969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542483" y="4572"/>
                </a:lnTo>
                <a:lnTo>
                  <a:pt x="542483" y="0"/>
                </a:lnTo>
                <a:close/>
              </a:path>
              <a:path w="542925" h="390525">
                <a:moveTo>
                  <a:pt x="9144" y="380969"/>
                </a:moveTo>
                <a:lnTo>
                  <a:pt x="4572" y="380969"/>
                </a:lnTo>
                <a:lnTo>
                  <a:pt x="9144" y="385541"/>
                </a:lnTo>
                <a:lnTo>
                  <a:pt x="9144" y="380969"/>
                </a:lnTo>
                <a:close/>
              </a:path>
              <a:path w="542925" h="390525">
                <a:moveTo>
                  <a:pt x="533339" y="380969"/>
                </a:moveTo>
                <a:lnTo>
                  <a:pt x="9144" y="380969"/>
                </a:lnTo>
                <a:lnTo>
                  <a:pt x="9144" y="385541"/>
                </a:lnTo>
                <a:lnTo>
                  <a:pt x="533339" y="385541"/>
                </a:lnTo>
                <a:lnTo>
                  <a:pt x="533339" y="380969"/>
                </a:lnTo>
                <a:close/>
              </a:path>
              <a:path w="542925" h="390525">
                <a:moveTo>
                  <a:pt x="533339" y="4572"/>
                </a:moveTo>
                <a:lnTo>
                  <a:pt x="533339" y="385541"/>
                </a:lnTo>
                <a:lnTo>
                  <a:pt x="537911" y="380969"/>
                </a:lnTo>
                <a:lnTo>
                  <a:pt x="542483" y="380969"/>
                </a:lnTo>
                <a:lnTo>
                  <a:pt x="542483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2925" h="390525">
                <a:moveTo>
                  <a:pt x="542483" y="380969"/>
                </a:moveTo>
                <a:lnTo>
                  <a:pt x="537911" y="380969"/>
                </a:lnTo>
                <a:lnTo>
                  <a:pt x="533339" y="385541"/>
                </a:lnTo>
                <a:lnTo>
                  <a:pt x="542483" y="385541"/>
                </a:lnTo>
                <a:lnTo>
                  <a:pt x="542483" y="380969"/>
                </a:lnTo>
                <a:close/>
              </a:path>
              <a:path w="542925" h="3905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542925" h="390525">
                <a:moveTo>
                  <a:pt x="533339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2925" h="390525">
                <a:moveTo>
                  <a:pt x="542483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2483" y="9144"/>
                </a:lnTo>
                <a:lnTo>
                  <a:pt x="54248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6297168" y="2261951"/>
            <a:ext cx="542925" cy="390525"/>
          </a:xfrm>
          <a:custGeom>
            <a:avLst/>
            <a:gdLst/>
            <a:ahLst/>
            <a:cxnLst/>
            <a:rect l="l" t="t" r="r" b="b"/>
            <a:pathLst>
              <a:path w="542925" h="390525">
                <a:moveTo>
                  <a:pt x="542483" y="0"/>
                </a:moveTo>
                <a:lnTo>
                  <a:pt x="0" y="0"/>
                </a:lnTo>
                <a:lnTo>
                  <a:pt x="0" y="390113"/>
                </a:lnTo>
                <a:lnTo>
                  <a:pt x="542483" y="390113"/>
                </a:lnTo>
                <a:lnTo>
                  <a:pt x="542483" y="385541"/>
                </a:lnTo>
                <a:lnTo>
                  <a:pt x="9144" y="385541"/>
                </a:lnTo>
                <a:lnTo>
                  <a:pt x="4572" y="380969"/>
                </a:lnTo>
                <a:lnTo>
                  <a:pt x="9144" y="380969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542483" y="4572"/>
                </a:lnTo>
                <a:lnTo>
                  <a:pt x="542483" y="0"/>
                </a:lnTo>
                <a:close/>
              </a:path>
              <a:path w="542925" h="390525">
                <a:moveTo>
                  <a:pt x="9144" y="380969"/>
                </a:moveTo>
                <a:lnTo>
                  <a:pt x="4572" y="380969"/>
                </a:lnTo>
                <a:lnTo>
                  <a:pt x="9144" y="385541"/>
                </a:lnTo>
                <a:lnTo>
                  <a:pt x="9144" y="380969"/>
                </a:lnTo>
                <a:close/>
              </a:path>
              <a:path w="542925" h="390525">
                <a:moveTo>
                  <a:pt x="533339" y="380969"/>
                </a:moveTo>
                <a:lnTo>
                  <a:pt x="9144" y="380969"/>
                </a:lnTo>
                <a:lnTo>
                  <a:pt x="9144" y="385541"/>
                </a:lnTo>
                <a:lnTo>
                  <a:pt x="533339" y="385541"/>
                </a:lnTo>
                <a:lnTo>
                  <a:pt x="533339" y="380969"/>
                </a:lnTo>
                <a:close/>
              </a:path>
              <a:path w="542925" h="390525">
                <a:moveTo>
                  <a:pt x="533339" y="4572"/>
                </a:moveTo>
                <a:lnTo>
                  <a:pt x="533339" y="385541"/>
                </a:lnTo>
                <a:lnTo>
                  <a:pt x="537911" y="380969"/>
                </a:lnTo>
                <a:lnTo>
                  <a:pt x="542483" y="380969"/>
                </a:lnTo>
                <a:lnTo>
                  <a:pt x="542483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2925" h="390525">
                <a:moveTo>
                  <a:pt x="542483" y="380969"/>
                </a:moveTo>
                <a:lnTo>
                  <a:pt x="537911" y="380969"/>
                </a:lnTo>
                <a:lnTo>
                  <a:pt x="533339" y="385541"/>
                </a:lnTo>
                <a:lnTo>
                  <a:pt x="542483" y="385541"/>
                </a:lnTo>
                <a:lnTo>
                  <a:pt x="542483" y="380969"/>
                </a:lnTo>
                <a:close/>
              </a:path>
              <a:path w="542925" h="3905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542925" h="390525">
                <a:moveTo>
                  <a:pt x="533339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2925" h="390525">
                <a:moveTo>
                  <a:pt x="542483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2483" y="9144"/>
                </a:lnTo>
                <a:lnTo>
                  <a:pt x="54248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5535229" y="2261951"/>
            <a:ext cx="542925" cy="390525"/>
          </a:xfrm>
          <a:custGeom>
            <a:avLst/>
            <a:gdLst/>
            <a:ahLst/>
            <a:cxnLst/>
            <a:rect l="l" t="t" r="r" b="b"/>
            <a:pathLst>
              <a:path w="542925" h="390525">
                <a:moveTo>
                  <a:pt x="542483" y="0"/>
                </a:moveTo>
                <a:lnTo>
                  <a:pt x="0" y="0"/>
                </a:lnTo>
                <a:lnTo>
                  <a:pt x="0" y="390113"/>
                </a:lnTo>
                <a:lnTo>
                  <a:pt x="542483" y="390113"/>
                </a:lnTo>
                <a:lnTo>
                  <a:pt x="542483" y="385541"/>
                </a:lnTo>
                <a:lnTo>
                  <a:pt x="9144" y="385541"/>
                </a:lnTo>
                <a:lnTo>
                  <a:pt x="4572" y="380969"/>
                </a:lnTo>
                <a:lnTo>
                  <a:pt x="9144" y="380969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542483" y="4572"/>
                </a:lnTo>
                <a:lnTo>
                  <a:pt x="542483" y="0"/>
                </a:lnTo>
                <a:close/>
              </a:path>
              <a:path w="542925" h="390525">
                <a:moveTo>
                  <a:pt x="9144" y="380969"/>
                </a:moveTo>
                <a:lnTo>
                  <a:pt x="4572" y="380969"/>
                </a:lnTo>
                <a:lnTo>
                  <a:pt x="9144" y="385541"/>
                </a:lnTo>
                <a:lnTo>
                  <a:pt x="9144" y="380969"/>
                </a:lnTo>
                <a:close/>
              </a:path>
              <a:path w="542925" h="390525">
                <a:moveTo>
                  <a:pt x="533339" y="380969"/>
                </a:moveTo>
                <a:lnTo>
                  <a:pt x="9144" y="380969"/>
                </a:lnTo>
                <a:lnTo>
                  <a:pt x="9144" y="385541"/>
                </a:lnTo>
                <a:lnTo>
                  <a:pt x="533339" y="385541"/>
                </a:lnTo>
                <a:lnTo>
                  <a:pt x="533339" y="380969"/>
                </a:lnTo>
                <a:close/>
              </a:path>
              <a:path w="542925" h="390525">
                <a:moveTo>
                  <a:pt x="533339" y="4572"/>
                </a:moveTo>
                <a:lnTo>
                  <a:pt x="533339" y="385541"/>
                </a:lnTo>
                <a:lnTo>
                  <a:pt x="537911" y="380969"/>
                </a:lnTo>
                <a:lnTo>
                  <a:pt x="542483" y="380969"/>
                </a:lnTo>
                <a:lnTo>
                  <a:pt x="542483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2925" h="390525">
                <a:moveTo>
                  <a:pt x="542483" y="380969"/>
                </a:moveTo>
                <a:lnTo>
                  <a:pt x="537911" y="380969"/>
                </a:lnTo>
                <a:lnTo>
                  <a:pt x="533339" y="385541"/>
                </a:lnTo>
                <a:lnTo>
                  <a:pt x="542483" y="385541"/>
                </a:lnTo>
                <a:lnTo>
                  <a:pt x="542483" y="380969"/>
                </a:lnTo>
                <a:close/>
              </a:path>
              <a:path w="542925" h="3905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542925" h="390525">
                <a:moveTo>
                  <a:pt x="533339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2925" h="390525">
                <a:moveTo>
                  <a:pt x="542483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2483" y="9144"/>
                </a:lnTo>
                <a:lnTo>
                  <a:pt x="54248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4697090" y="2261951"/>
            <a:ext cx="542925" cy="390525"/>
          </a:xfrm>
          <a:custGeom>
            <a:avLst/>
            <a:gdLst/>
            <a:ahLst/>
            <a:cxnLst/>
            <a:rect l="l" t="t" r="r" b="b"/>
            <a:pathLst>
              <a:path w="542925" h="390525">
                <a:moveTo>
                  <a:pt x="542513" y="0"/>
                </a:moveTo>
                <a:lnTo>
                  <a:pt x="0" y="0"/>
                </a:lnTo>
                <a:lnTo>
                  <a:pt x="0" y="390113"/>
                </a:lnTo>
                <a:lnTo>
                  <a:pt x="542513" y="390113"/>
                </a:lnTo>
                <a:lnTo>
                  <a:pt x="542513" y="385541"/>
                </a:lnTo>
                <a:lnTo>
                  <a:pt x="9144" y="385541"/>
                </a:lnTo>
                <a:lnTo>
                  <a:pt x="4572" y="380969"/>
                </a:lnTo>
                <a:lnTo>
                  <a:pt x="9144" y="380969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542513" y="4572"/>
                </a:lnTo>
                <a:lnTo>
                  <a:pt x="542513" y="0"/>
                </a:lnTo>
                <a:close/>
              </a:path>
              <a:path w="542925" h="390525">
                <a:moveTo>
                  <a:pt x="9144" y="380969"/>
                </a:moveTo>
                <a:lnTo>
                  <a:pt x="4572" y="380969"/>
                </a:lnTo>
                <a:lnTo>
                  <a:pt x="9144" y="385541"/>
                </a:lnTo>
                <a:lnTo>
                  <a:pt x="9144" y="380969"/>
                </a:lnTo>
                <a:close/>
              </a:path>
              <a:path w="542925" h="390525">
                <a:moveTo>
                  <a:pt x="533369" y="380969"/>
                </a:moveTo>
                <a:lnTo>
                  <a:pt x="9144" y="380969"/>
                </a:lnTo>
                <a:lnTo>
                  <a:pt x="9144" y="385541"/>
                </a:lnTo>
                <a:lnTo>
                  <a:pt x="533369" y="385541"/>
                </a:lnTo>
                <a:lnTo>
                  <a:pt x="533369" y="380969"/>
                </a:lnTo>
                <a:close/>
              </a:path>
              <a:path w="542925" h="390525">
                <a:moveTo>
                  <a:pt x="533369" y="4572"/>
                </a:moveTo>
                <a:lnTo>
                  <a:pt x="533369" y="385541"/>
                </a:lnTo>
                <a:lnTo>
                  <a:pt x="537941" y="380969"/>
                </a:lnTo>
                <a:lnTo>
                  <a:pt x="542513" y="380969"/>
                </a:lnTo>
                <a:lnTo>
                  <a:pt x="542513" y="9144"/>
                </a:lnTo>
                <a:lnTo>
                  <a:pt x="537941" y="9144"/>
                </a:lnTo>
                <a:lnTo>
                  <a:pt x="533369" y="4572"/>
                </a:lnTo>
                <a:close/>
              </a:path>
              <a:path w="542925" h="390525">
                <a:moveTo>
                  <a:pt x="542513" y="380969"/>
                </a:moveTo>
                <a:lnTo>
                  <a:pt x="537941" y="380969"/>
                </a:lnTo>
                <a:lnTo>
                  <a:pt x="533369" y="385541"/>
                </a:lnTo>
                <a:lnTo>
                  <a:pt x="542513" y="385541"/>
                </a:lnTo>
                <a:lnTo>
                  <a:pt x="542513" y="380969"/>
                </a:lnTo>
                <a:close/>
              </a:path>
              <a:path w="542925" h="3905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542925" h="390525">
                <a:moveTo>
                  <a:pt x="533369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533369" y="9144"/>
                </a:lnTo>
                <a:lnTo>
                  <a:pt x="533369" y="4572"/>
                </a:lnTo>
                <a:close/>
              </a:path>
              <a:path w="542925" h="390525">
                <a:moveTo>
                  <a:pt x="542513" y="4572"/>
                </a:moveTo>
                <a:lnTo>
                  <a:pt x="533369" y="4572"/>
                </a:lnTo>
                <a:lnTo>
                  <a:pt x="537941" y="9144"/>
                </a:lnTo>
                <a:lnTo>
                  <a:pt x="542513" y="9144"/>
                </a:lnTo>
                <a:lnTo>
                  <a:pt x="54251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3935150" y="2261951"/>
            <a:ext cx="542925" cy="390525"/>
          </a:xfrm>
          <a:custGeom>
            <a:avLst/>
            <a:gdLst/>
            <a:ahLst/>
            <a:cxnLst/>
            <a:rect l="l" t="t" r="r" b="b"/>
            <a:pathLst>
              <a:path w="542925" h="390525">
                <a:moveTo>
                  <a:pt x="542513" y="0"/>
                </a:moveTo>
                <a:lnTo>
                  <a:pt x="0" y="0"/>
                </a:lnTo>
                <a:lnTo>
                  <a:pt x="0" y="390113"/>
                </a:lnTo>
                <a:lnTo>
                  <a:pt x="542513" y="390113"/>
                </a:lnTo>
                <a:lnTo>
                  <a:pt x="542513" y="385541"/>
                </a:lnTo>
                <a:lnTo>
                  <a:pt x="9144" y="385541"/>
                </a:lnTo>
                <a:lnTo>
                  <a:pt x="4572" y="380969"/>
                </a:lnTo>
                <a:lnTo>
                  <a:pt x="9144" y="380969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542513" y="4572"/>
                </a:lnTo>
                <a:lnTo>
                  <a:pt x="542513" y="0"/>
                </a:lnTo>
                <a:close/>
              </a:path>
              <a:path w="542925" h="390525">
                <a:moveTo>
                  <a:pt x="9144" y="380969"/>
                </a:moveTo>
                <a:lnTo>
                  <a:pt x="4572" y="380969"/>
                </a:lnTo>
                <a:lnTo>
                  <a:pt x="9144" y="385541"/>
                </a:lnTo>
                <a:lnTo>
                  <a:pt x="9144" y="380969"/>
                </a:lnTo>
                <a:close/>
              </a:path>
              <a:path w="542925" h="390525">
                <a:moveTo>
                  <a:pt x="533369" y="380969"/>
                </a:moveTo>
                <a:lnTo>
                  <a:pt x="9144" y="380969"/>
                </a:lnTo>
                <a:lnTo>
                  <a:pt x="9144" y="385541"/>
                </a:lnTo>
                <a:lnTo>
                  <a:pt x="533369" y="385541"/>
                </a:lnTo>
                <a:lnTo>
                  <a:pt x="533369" y="380969"/>
                </a:lnTo>
                <a:close/>
              </a:path>
              <a:path w="542925" h="390525">
                <a:moveTo>
                  <a:pt x="533369" y="4572"/>
                </a:moveTo>
                <a:lnTo>
                  <a:pt x="533369" y="385541"/>
                </a:lnTo>
                <a:lnTo>
                  <a:pt x="537941" y="380969"/>
                </a:lnTo>
                <a:lnTo>
                  <a:pt x="542513" y="380969"/>
                </a:lnTo>
                <a:lnTo>
                  <a:pt x="542513" y="9144"/>
                </a:lnTo>
                <a:lnTo>
                  <a:pt x="537941" y="9144"/>
                </a:lnTo>
                <a:lnTo>
                  <a:pt x="533369" y="4572"/>
                </a:lnTo>
                <a:close/>
              </a:path>
              <a:path w="542925" h="390525">
                <a:moveTo>
                  <a:pt x="542513" y="380969"/>
                </a:moveTo>
                <a:lnTo>
                  <a:pt x="537941" y="380969"/>
                </a:lnTo>
                <a:lnTo>
                  <a:pt x="533369" y="385541"/>
                </a:lnTo>
                <a:lnTo>
                  <a:pt x="542513" y="385541"/>
                </a:lnTo>
                <a:lnTo>
                  <a:pt x="542513" y="380969"/>
                </a:lnTo>
                <a:close/>
              </a:path>
              <a:path w="542925" h="3905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542925" h="390525">
                <a:moveTo>
                  <a:pt x="533369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533369" y="9144"/>
                </a:lnTo>
                <a:lnTo>
                  <a:pt x="533369" y="4572"/>
                </a:lnTo>
                <a:close/>
              </a:path>
              <a:path w="542925" h="390525">
                <a:moveTo>
                  <a:pt x="542513" y="4572"/>
                </a:moveTo>
                <a:lnTo>
                  <a:pt x="533369" y="4572"/>
                </a:lnTo>
                <a:lnTo>
                  <a:pt x="537941" y="9144"/>
                </a:lnTo>
                <a:lnTo>
                  <a:pt x="542513" y="9144"/>
                </a:lnTo>
                <a:lnTo>
                  <a:pt x="54251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935150" y="3023890"/>
            <a:ext cx="542925" cy="390525"/>
          </a:xfrm>
          <a:custGeom>
            <a:avLst/>
            <a:gdLst/>
            <a:ahLst/>
            <a:cxnLst/>
            <a:rect l="l" t="t" r="r" b="b"/>
            <a:pathLst>
              <a:path w="542925" h="390525">
                <a:moveTo>
                  <a:pt x="542513" y="0"/>
                </a:moveTo>
                <a:lnTo>
                  <a:pt x="0" y="0"/>
                </a:lnTo>
                <a:lnTo>
                  <a:pt x="0" y="390083"/>
                </a:lnTo>
                <a:lnTo>
                  <a:pt x="542513" y="390083"/>
                </a:lnTo>
                <a:lnTo>
                  <a:pt x="542513" y="385541"/>
                </a:lnTo>
                <a:lnTo>
                  <a:pt x="9144" y="385541"/>
                </a:lnTo>
                <a:lnTo>
                  <a:pt x="4572" y="380969"/>
                </a:lnTo>
                <a:lnTo>
                  <a:pt x="9144" y="380969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542513" y="4572"/>
                </a:lnTo>
                <a:lnTo>
                  <a:pt x="542513" y="0"/>
                </a:lnTo>
                <a:close/>
              </a:path>
              <a:path w="542925" h="390525">
                <a:moveTo>
                  <a:pt x="9144" y="380969"/>
                </a:moveTo>
                <a:lnTo>
                  <a:pt x="4572" y="380969"/>
                </a:lnTo>
                <a:lnTo>
                  <a:pt x="9144" y="385541"/>
                </a:lnTo>
                <a:lnTo>
                  <a:pt x="9144" y="380969"/>
                </a:lnTo>
                <a:close/>
              </a:path>
              <a:path w="542925" h="390525">
                <a:moveTo>
                  <a:pt x="533369" y="380969"/>
                </a:moveTo>
                <a:lnTo>
                  <a:pt x="9144" y="380969"/>
                </a:lnTo>
                <a:lnTo>
                  <a:pt x="9144" y="385541"/>
                </a:lnTo>
                <a:lnTo>
                  <a:pt x="533369" y="385541"/>
                </a:lnTo>
                <a:lnTo>
                  <a:pt x="533369" y="380969"/>
                </a:lnTo>
                <a:close/>
              </a:path>
              <a:path w="542925" h="390525">
                <a:moveTo>
                  <a:pt x="533369" y="4572"/>
                </a:moveTo>
                <a:lnTo>
                  <a:pt x="533369" y="385541"/>
                </a:lnTo>
                <a:lnTo>
                  <a:pt x="537941" y="380969"/>
                </a:lnTo>
                <a:lnTo>
                  <a:pt x="542513" y="380969"/>
                </a:lnTo>
                <a:lnTo>
                  <a:pt x="542513" y="9144"/>
                </a:lnTo>
                <a:lnTo>
                  <a:pt x="537941" y="9144"/>
                </a:lnTo>
                <a:lnTo>
                  <a:pt x="533369" y="4572"/>
                </a:lnTo>
                <a:close/>
              </a:path>
              <a:path w="542925" h="390525">
                <a:moveTo>
                  <a:pt x="542513" y="380969"/>
                </a:moveTo>
                <a:lnTo>
                  <a:pt x="537941" y="380969"/>
                </a:lnTo>
                <a:lnTo>
                  <a:pt x="533369" y="385541"/>
                </a:lnTo>
                <a:lnTo>
                  <a:pt x="542513" y="385541"/>
                </a:lnTo>
                <a:lnTo>
                  <a:pt x="542513" y="380969"/>
                </a:lnTo>
                <a:close/>
              </a:path>
              <a:path w="542925" h="3905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542925" h="390525">
                <a:moveTo>
                  <a:pt x="533369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533369" y="9144"/>
                </a:lnTo>
                <a:lnTo>
                  <a:pt x="533369" y="4572"/>
                </a:lnTo>
                <a:close/>
              </a:path>
              <a:path w="542925" h="390525">
                <a:moveTo>
                  <a:pt x="542513" y="4572"/>
                </a:moveTo>
                <a:lnTo>
                  <a:pt x="533369" y="4572"/>
                </a:lnTo>
                <a:lnTo>
                  <a:pt x="537941" y="9144"/>
                </a:lnTo>
                <a:lnTo>
                  <a:pt x="542513" y="9144"/>
                </a:lnTo>
                <a:lnTo>
                  <a:pt x="54251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5535229" y="3023890"/>
            <a:ext cx="542925" cy="390525"/>
          </a:xfrm>
          <a:custGeom>
            <a:avLst/>
            <a:gdLst/>
            <a:ahLst/>
            <a:cxnLst/>
            <a:rect l="l" t="t" r="r" b="b"/>
            <a:pathLst>
              <a:path w="542925" h="390525">
                <a:moveTo>
                  <a:pt x="542483" y="0"/>
                </a:moveTo>
                <a:lnTo>
                  <a:pt x="0" y="0"/>
                </a:lnTo>
                <a:lnTo>
                  <a:pt x="0" y="390083"/>
                </a:lnTo>
                <a:lnTo>
                  <a:pt x="542483" y="390083"/>
                </a:lnTo>
                <a:lnTo>
                  <a:pt x="542483" y="385541"/>
                </a:lnTo>
                <a:lnTo>
                  <a:pt x="9144" y="385541"/>
                </a:lnTo>
                <a:lnTo>
                  <a:pt x="4572" y="380969"/>
                </a:lnTo>
                <a:lnTo>
                  <a:pt x="9144" y="380969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542483" y="4572"/>
                </a:lnTo>
                <a:lnTo>
                  <a:pt x="542483" y="0"/>
                </a:lnTo>
                <a:close/>
              </a:path>
              <a:path w="542925" h="390525">
                <a:moveTo>
                  <a:pt x="9144" y="380969"/>
                </a:moveTo>
                <a:lnTo>
                  <a:pt x="4572" y="380969"/>
                </a:lnTo>
                <a:lnTo>
                  <a:pt x="9144" y="385541"/>
                </a:lnTo>
                <a:lnTo>
                  <a:pt x="9144" y="380969"/>
                </a:lnTo>
                <a:close/>
              </a:path>
              <a:path w="542925" h="390525">
                <a:moveTo>
                  <a:pt x="533339" y="380969"/>
                </a:moveTo>
                <a:lnTo>
                  <a:pt x="9144" y="380969"/>
                </a:lnTo>
                <a:lnTo>
                  <a:pt x="9144" y="385541"/>
                </a:lnTo>
                <a:lnTo>
                  <a:pt x="533339" y="385541"/>
                </a:lnTo>
                <a:lnTo>
                  <a:pt x="533339" y="380969"/>
                </a:lnTo>
                <a:close/>
              </a:path>
              <a:path w="542925" h="390525">
                <a:moveTo>
                  <a:pt x="533339" y="4572"/>
                </a:moveTo>
                <a:lnTo>
                  <a:pt x="533339" y="385541"/>
                </a:lnTo>
                <a:lnTo>
                  <a:pt x="537911" y="380969"/>
                </a:lnTo>
                <a:lnTo>
                  <a:pt x="542483" y="380969"/>
                </a:lnTo>
                <a:lnTo>
                  <a:pt x="542483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2925" h="390525">
                <a:moveTo>
                  <a:pt x="542483" y="380969"/>
                </a:moveTo>
                <a:lnTo>
                  <a:pt x="537911" y="380969"/>
                </a:lnTo>
                <a:lnTo>
                  <a:pt x="533339" y="385541"/>
                </a:lnTo>
                <a:lnTo>
                  <a:pt x="542483" y="385541"/>
                </a:lnTo>
                <a:lnTo>
                  <a:pt x="542483" y="380969"/>
                </a:lnTo>
                <a:close/>
              </a:path>
              <a:path w="542925" h="3905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542925" h="390525">
                <a:moveTo>
                  <a:pt x="533339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2925" h="390525">
                <a:moveTo>
                  <a:pt x="542483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2483" y="9144"/>
                </a:lnTo>
                <a:lnTo>
                  <a:pt x="54248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4697090" y="3023890"/>
            <a:ext cx="542925" cy="390525"/>
          </a:xfrm>
          <a:custGeom>
            <a:avLst/>
            <a:gdLst/>
            <a:ahLst/>
            <a:cxnLst/>
            <a:rect l="l" t="t" r="r" b="b"/>
            <a:pathLst>
              <a:path w="542925" h="390525">
                <a:moveTo>
                  <a:pt x="542513" y="0"/>
                </a:moveTo>
                <a:lnTo>
                  <a:pt x="0" y="0"/>
                </a:lnTo>
                <a:lnTo>
                  <a:pt x="0" y="390083"/>
                </a:lnTo>
                <a:lnTo>
                  <a:pt x="542513" y="390083"/>
                </a:lnTo>
                <a:lnTo>
                  <a:pt x="542513" y="385541"/>
                </a:lnTo>
                <a:lnTo>
                  <a:pt x="9144" y="385541"/>
                </a:lnTo>
                <a:lnTo>
                  <a:pt x="4572" y="380969"/>
                </a:lnTo>
                <a:lnTo>
                  <a:pt x="9144" y="380969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542513" y="4572"/>
                </a:lnTo>
                <a:lnTo>
                  <a:pt x="542513" y="0"/>
                </a:lnTo>
                <a:close/>
              </a:path>
              <a:path w="542925" h="390525">
                <a:moveTo>
                  <a:pt x="9144" y="380969"/>
                </a:moveTo>
                <a:lnTo>
                  <a:pt x="4572" y="380969"/>
                </a:lnTo>
                <a:lnTo>
                  <a:pt x="9144" y="385541"/>
                </a:lnTo>
                <a:lnTo>
                  <a:pt x="9144" y="380969"/>
                </a:lnTo>
                <a:close/>
              </a:path>
              <a:path w="542925" h="390525">
                <a:moveTo>
                  <a:pt x="533369" y="380969"/>
                </a:moveTo>
                <a:lnTo>
                  <a:pt x="9144" y="380969"/>
                </a:lnTo>
                <a:lnTo>
                  <a:pt x="9144" y="385541"/>
                </a:lnTo>
                <a:lnTo>
                  <a:pt x="533369" y="385541"/>
                </a:lnTo>
                <a:lnTo>
                  <a:pt x="533369" y="380969"/>
                </a:lnTo>
                <a:close/>
              </a:path>
              <a:path w="542925" h="390525">
                <a:moveTo>
                  <a:pt x="533369" y="4572"/>
                </a:moveTo>
                <a:lnTo>
                  <a:pt x="533369" y="385541"/>
                </a:lnTo>
                <a:lnTo>
                  <a:pt x="537941" y="380969"/>
                </a:lnTo>
                <a:lnTo>
                  <a:pt x="542513" y="380969"/>
                </a:lnTo>
                <a:lnTo>
                  <a:pt x="542513" y="9144"/>
                </a:lnTo>
                <a:lnTo>
                  <a:pt x="537941" y="9144"/>
                </a:lnTo>
                <a:lnTo>
                  <a:pt x="533369" y="4572"/>
                </a:lnTo>
                <a:close/>
              </a:path>
              <a:path w="542925" h="390525">
                <a:moveTo>
                  <a:pt x="542513" y="380969"/>
                </a:moveTo>
                <a:lnTo>
                  <a:pt x="537941" y="380969"/>
                </a:lnTo>
                <a:lnTo>
                  <a:pt x="533369" y="385541"/>
                </a:lnTo>
                <a:lnTo>
                  <a:pt x="542513" y="385541"/>
                </a:lnTo>
                <a:lnTo>
                  <a:pt x="542513" y="380969"/>
                </a:lnTo>
                <a:close/>
              </a:path>
              <a:path w="542925" h="3905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542925" h="390525">
                <a:moveTo>
                  <a:pt x="533369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533369" y="9144"/>
                </a:lnTo>
                <a:lnTo>
                  <a:pt x="533369" y="4572"/>
                </a:lnTo>
                <a:close/>
              </a:path>
              <a:path w="542925" h="390525">
                <a:moveTo>
                  <a:pt x="542513" y="4572"/>
                </a:moveTo>
                <a:lnTo>
                  <a:pt x="533369" y="4572"/>
                </a:lnTo>
                <a:lnTo>
                  <a:pt x="537941" y="9144"/>
                </a:lnTo>
                <a:lnTo>
                  <a:pt x="542513" y="9144"/>
                </a:lnTo>
                <a:lnTo>
                  <a:pt x="54251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6297168" y="3023890"/>
            <a:ext cx="542925" cy="390525"/>
          </a:xfrm>
          <a:custGeom>
            <a:avLst/>
            <a:gdLst/>
            <a:ahLst/>
            <a:cxnLst/>
            <a:rect l="l" t="t" r="r" b="b"/>
            <a:pathLst>
              <a:path w="542925" h="390525">
                <a:moveTo>
                  <a:pt x="542483" y="0"/>
                </a:moveTo>
                <a:lnTo>
                  <a:pt x="0" y="0"/>
                </a:lnTo>
                <a:lnTo>
                  <a:pt x="0" y="390083"/>
                </a:lnTo>
                <a:lnTo>
                  <a:pt x="542483" y="390083"/>
                </a:lnTo>
                <a:lnTo>
                  <a:pt x="542483" y="385541"/>
                </a:lnTo>
                <a:lnTo>
                  <a:pt x="9144" y="385541"/>
                </a:lnTo>
                <a:lnTo>
                  <a:pt x="4572" y="380969"/>
                </a:lnTo>
                <a:lnTo>
                  <a:pt x="9144" y="380969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542483" y="4572"/>
                </a:lnTo>
                <a:lnTo>
                  <a:pt x="542483" y="0"/>
                </a:lnTo>
                <a:close/>
              </a:path>
              <a:path w="542925" h="390525">
                <a:moveTo>
                  <a:pt x="9144" y="380969"/>
                </a:moveTo>
                <a:lnTo>
                  <a:pt x="4572" y="380969"/>
                </a:lnTo>
                <a:lnTo>
                  <a:pt x="9144" y="385541"/>
                </a:lnTo>
                <a:lnTo>
                  <a:pt x="9144" y="380969"/>
                </a:lnTo>
                <a:close/>
              </a:path>
              <a:path w="542925" h="390525">
                <a:moveTo>
                  <a:pt x="533339" y="380969"/>
                </a:moveTo>
                <a:lnTo>
                  <a:pt x="9144" y="380969"/>
                </a:lnTo>
                <a:lnTo>
                  <a:pt x="9144" y="385541"/>
                </a:lnTo>
                <a:lnTo>
                  <a:pt x="533339" y="385541"/>
                </a:lnTo>
                <a:lnTo>
                  <a:pt x="533339" y="380969"/>
                </a:lnTo>
                <a:close/>
              </a:path>
              <a:path w="542925" h="390525">
                <a:moveTo>
                  <a:pt x="533339" y="4572"/>
                </a:moveTo>
                <a:lnTo>
                  <a:pt x="533339" y="385541"/>
                </a:lnTo>
                <a:lnTo>
                  <a:pt x="537911" y="380969"/>
                </a:lnTo>
                <a:lnTo>
                  <a:pt x="542483" y="380969"/>
                </a:lnTo>
                <a:lnTo>
                  <a:pt x="542483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2925" h="390525">
                <a:moveTo>
                  <a:pt x="542483" y="380969"/>
                </a:moveTo>
                <a:lnTo>
                  <a:pt x="537911" y="380969"/>
                </a:lnTo>
                <a:lnTo>
                  <a:pt x="533339" y="385541"/>
                </a:lnTo>
                <a:lnTo>
                  <a:pt x="542483" y="385541"/>
                </a:lnTo>
                <a:lnTo>
                  <a:pt x="542483" y="380969"/>
                </a:lnTo>
                <a:close/>
              </a:path>
              <a:path w="542925" h="3905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542925" h="390525">
                <a:moveTo>
                  <a:pt x="533339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2925" h="390525">
                <a:moveTo>
                  <a:pt x="542483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2483" y="9144"/>
                </a:lnTo>
                <a:lnTo>
                  <a:pt x="54248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7059107" y="3023890"/>
            <a:ext cx="542925" cy="390525"/>
          </a:xfrm>
          <a:custGeom>
            <a:avLst/>
            <a:gdLst/>
            <a:ahLst/>
            <a:cxnLst/>
            <a:rect l="l" t="t" r="r" b="b"/>
            <a:pathLst>
              <a:path w="542925" h="390525">
                <a:moveTo>
                  <a:pt x="542483" y="0"/>
                </a:moveTo>
                <a:lnTo>
                  <a:pt x="0" y="0"/>
                </a:lnTo>
                <a:lnTo>
                  <a:pt x="0" y="390083"/>
                </a:lnTo>
                <a:lnTo>
                  <a:pt x="542483" y="390083"/>
                </a:lnTo>
                <a:lnTo>
                  <a:pt x="542483" y="385541"/>
                </a:lnTo>
                <a:lnTo>
                  <a:pt x="9144" y="385541"/>
                </a:lnTo>
                <a:lnTo>
                  <a:pt x="4572" y="380969"/>
                </a:lnTo>
                <a:lnTo>
                  <a:pt x="9144" y="380969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542483" y="4572"/>
                </a:lnTo>
                <a:lnTo>
                  <a:pt x="542483" y="0"/>
                </a:lnTo>
                <a:close/>
              </a:path>
              <a:path w="542925" h="390525">
                <a:moveTo>
                  <a:pt x="9144" y="380969"/>
                </a:moveTo>
                <a:lnTo>
                  <a:pt x="4572" y="380969"/>
                </a:lnTo>
                <a:lnTo>
                  <a:pt x="9144" y="385541"/>
                </a:lnTo>
                <a:lnTo>
                  <a:pt x="9144" y="380969"/>
                </a:lnTo>
                <a:close/>
              </a:path>
              <a:path w="542925" h="390525">
                <a:moveTo>
                  <a:pt x="533339" y="380969"/>
                </a:moveTo>
                <a:lnTo>
                  <a:pt x="9144" y="380969"/>
                </a:lnTo>
                <a:lnTo>
                  <a:pt x="9144" y="385541"/>
                </a:lnTo>
                <a:lnTo>
                  <a:pt x="533339" y="385541"/>
                </a:lnTo>
                <a:lnTo>
                  <a:pt x="533339" y="380969"/>
                </a:lnTo>
                <a:close/>
              </a:path>
              <a:path w="542925" h="390525">
                <a:moveTo>
                  <a:pt x="533339" y="4572"/>
                </a:moveTo>
                <a:lnTo>
                  <a:pt x="533339" y="385541"/>
                </a:lnTo>
                <a:lnTo>
                  <a:pt x="537911" y="380969"/>
                </a:lnTo>
                <a:lnTo>
                  <a:pt x="542483" y="380969"/>
                </a:lnTo>
                <a:lnTo>
                  <a:pt x="542483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2925" h="390525">
                <a:moveTo>
                  <a:pt x="542483" y="380969"/>
                </a:moveTo>
                <a:lnTo>
                  <a:pt x="537911" y="380969"/>
                </a:lnTo>
                <a:lnTo>
                  <a:pt x="533339" y="385541"/>
                </a:lnTo>
                <a:lnTo>
                  <a:pt x="542483" y="385541"/>
                </a:lnTo>
                <a:lnTo>
                  <a:pt x="542483" y="380969"/>
                </a:lnTo>
                <a:close/>
              </a:path>
              <a:path w="542925" h="3905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542925" h="390525">
                <a:moveTo>
                  <a:pt x="533339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2925" h="390525">
                <a:moveTo>
                  <a:pt x="542483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2483" y="9144"/>
                </a:lnTo>
                <a:lnTo>
                  <a:pt x="54248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821046" y="3023890"/>
            <a:ext cx="542925" cy="390525"/>
          </a:xfrm>
          <a:custGeom>
            <a:avLst/>
            <a:gdLst/>
            <a:ahLst/>
            <a:cxnLst/>
            <a:rect l="l" t="t" r="r" b="b"/>
            <a:pathLst>
              <a:path w="542925" h="390525">
                <a:moveTo>
                  <a:pt x="542483" y="0"/>
                </a:moveTo>
                <a:lnTo>
                  <a:pt x="0" y="0"/>
                </a:lnTo>
                <a:lnTo>
                  <a:pt x="0" y="390083"/>
                </a:lnTo>
                <a:lnTo>
                  <a:pt x="542483" y="390083"/>
                </a:lnTo>
                <a:lnTo>
                  <a:pt x="542483" y="385541"/>
                </a:lnTo>
                <a:lnTo>
                  <a:pt x="9144" y="385541"/>
                </a:lnTo>
                <a:lnTo>
                  <a:pt x="4572" y="380969"/>
                </a:lnTo>
                <a:lnTo>
                  <a:pt x="9144" y="380969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542483" y="4572"/>
                </a:lnTo>
                <a:lnTo>
                  <a:pt x="542483" y="0"/>
                </a:lnTo>
                <a:close/>
              </a:path>
              <a:path w="542925" h="390525">
                <a:moveTo>
                  <a:pt x="9144" y="380969"/>
                </a:moveTo>
                <a:lnTo>
                  <a:pt x="4572" y="380969"/>
                </a:lnTo>
                <a:lnTo>
                  <a:pt x="9144" y="385541"/>
                </a:lnTo>
                <a:lnTo>
                  <a:pt x="9144" y="380969"/>
                </a:lnTo>
                <a:close/>
              </a:path>
              <a:path w="542925" h="390525">
                <a:moveTo>
                  <a:pt x="533339" y="380969"/>
                </a:moveTo>
                <a:lnTo>
                  <a:pt x="9144" y="380969"/>
                </a:lnTo>
                <a:lnTo>
                  <a:pt x="9144" y="385541"/>
                </a:lnTo>
                <a:lnTo>
                  <a:pt x="533339" y="385541"/>
                </a:lnTo>
                <a:lnTo>
                  <a:pt x="533339" y="380969"/>
                </a:lnTo>
                <a:close/>
              </a:path>
              <a:path w="542925" h="390525">
                <a:moveTo>
                  <a:pt x="533339" y="4572"/>
                </a:moveTo>
                <a:lnTo>
                  <a:pt x="533339" y="385541"/>
                </a:lnTo>
                <a:lnTo>
                  <a:pt x="537911" y="380969"/>
                </a:lnTo>
                <a:lnTo>
                  <a:pt x="542483" y="380969"/>
                </a:lnTo>
                <a:lnTo>
                  <a:pt x="542483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2925" h="390525">
                <a:moveTo>
                  <a:pt x="542483" y="380969"/>
                </a:moveTo>
                <a:lnTo>
                  <a:pt x="537911" y="380969"/>
                </a:lnTo>
                <a:lnTo>
                  <a:pt x="533339" y="385541"/>
                </a:lnTo>
                <a:lnTo>
                  <a:pt x="542483" y="385541"/>
                </a:lnTo>
                <a:lnTo>
                  <a:pt x="542483" y="380969"/>
                </a:lnTo>
                <a:close/>
              </a:path>
              <a:path w="542925" h="3905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542925" h="390525">
                <a:moveTo>
                  <a:pt x="533339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2925" h="390525">
                <a:moveTo>
                  <a:pt x="542483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2483" y="9144"/>
                </a:lnTo>
                <a:lnTo>
                  <a:pt x="54248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8582955" y="3023890"/>
            <a:ext cx="542925" cy="390525"/>
          </a:xfrm>
          <a:custGeom>
            <a:avLst/>
            <a:gdLst/>
            <a:ahLst/>
            <a:cxnLst/>
            <a:rect l="l" t="t" r="r" b="b"/>
            <a:pathLst>
              <a:path w="542925" h="390525">
                <a:moveTo>
                  <a:pt x="542513" y="0"/>
                </a:moveTo>
                <a:lnTo>
                  <a:pt x="0" y="0"/>
                </a:lnTo>
                <a:lnTo>
                  <a:pt x="0" y="390083"/>
                </a:lnTo>
                <a:lnTo>
                  <a:pt x="542513" y="390083"/>
                </a:lnTo>
                <a:lnTo>
                  <a:pt x="542513" y="385541"/>
                </a:lnTo>
                <a:lnTo>
                  <a:pt x="9144" y="385541"/>
                </a:lnTo>
                <a:lnTo>
                  <a:pt x="4572" y="380969"/>
                </a:lnTo>
                <a:lnTo>
                  <a:pt x="9144" y="380969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542513" y="4572"/>
                </a:lnTo>
                <a:lnTo>
                  <a:pt x="542513" y="0"/>
                </a:lnTo>
                <a:close/>
              </a:path>
              <a:path w="542925" h="390525">
                <a:moveTo>
                  <a:pt x="9144" y="380969"/>
                </a:moveTo>
                <a:lnTo>
                  <a:pt x="4572" y="380969"/>
                </a:lnTo>
                <a:lnTo>
                  <a:pt x="9144" y="385541"/>
                </a:lnTo>
                <a:lnTo>
                  <a:pt x="9144" y="380969"/>
                </a:lnTo>
                <a:close/>
              </a:path>
              <a:path w="542925" h="390525">
                <a:moveTo>
                  <a:pt x="533369" y="380969"/>
                </a:moveTo>
                <a:lnTo>
                  <a:pt x="9144" y="380969"/>
                </a:lnTo>
                <a:lnTo>
                  <a:pt x="9144" y="385541"/>
                </a:lnTo>
                <a:lnTo>
                  <a:pt x="533369" y="385541"/>
                </a:lnTo>
                <a:lnTo>
                  <a:pt x="533369" y="380969"/>
                </a:lnTo>
                <a:close/>
              </a:path>
              <a:path w="542925" h="390525">
                <a:moveTo>
                  <a:pt x="533369" y="4572"/>
                </a:moveTo>
                <a:lnTo>
                  <a:pt x="533369" y="385541"/>
                </a:lnTo>
                <a:lnTo>
                  <a:pt x="537941" y="380969"/>
                </a:lnTo>
                <a:lnTo>
                  <a:pt x="542513" y="380969"/>
                </a:lnTo>
                <a:lnTo>
                  <a:pt x="542513" y="9144"/>
                </a:lnTo>
                <a:lnTo>
                  <a:pt x="537941" y="9144"/>
                </a:lnTo>
                <a:lnTo>
                  <a:pt x="533369" y="4572"/>
                </a:lnTo>
                <a:close/>
              </a:path>
              <a:path w="542925" h="390525">
                <a:moveTo>
                  <a:pt x="542513" y="380969"/>
                </a:moveTo>
                <a:lnTo>
                  <a:pt x="537941" y="380969"/>
                </a:lnTo>
                <a:lnTo>
                  <a:pt x="533369" y="385541"/>
                </a:lnTo>
                <a:lnTo>
                  <a:pt x="542513" y="385541"/>
                </a:lnTo>
                <a:lnTo>
                  <a:pt x="542513" y="380969"/>
                </a:lnTo>
                <a:close/>
              </a:path>
              <a:path w="542925" h="3905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542925" h="390525">
                <a:moveTo>
                  <a:pt x="533369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533369" y="9144"/>
                </a:lnTo>
                <a:lnTo>
                  <a:pt x="533369" y="4572"/>
                </a:lnTo>
                <a:close/>
              </a:path>
              <a:path w="542925" h="390525">
                <a:moveTo>
                  <a:pt x="542513" y="4572"/>
                </a:moveTo>
                <a:lnTo>
                  <a:pt x="533369" y="4572"/>
                </a:lnTo>
                <a:lnTo>
                  <a:pt x="537941" y="9144"/>
                </a:lnTo>
                <a:lnTo>
                  <a:pt x="542513" y="9144"/>
                </a:lnTo>
                <a:lnTo>
                  <a:pt x="54251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887399" y="3557231"/>
            <a:ext cx="542925" cy="390525"/>
          </a:xfrm>
          <a:custGeom>
            <a:avLst/>
            <a:gdLst/>
            <a:ahLst/>
            <a:cxnLst/>
            <a:rect l="l" t="t" r="r" b="b"/>
            <a:pathLst>
              <a:path w="542925" h="390525">
                <a:moveTo>
                  <a:pt x="542493" y="0"/>
                </a:moveTo>
                <a:lnTo>
                  <a:pt x="533349" y="0"/>
                </a:lnTo>
                <a:lnTo>
                  <a:pt x="533349" y="9144"/>
                </a:lnTo>
                <a:lnTo>
                  <a:pt x="533349" y="335254"/>
                </a:lnTo>
                <a:lnTo>
                  <a:pt x="533349" y="380974"/>
                </a:lnTo>
                <a:lnTo>
                  <a:pt x="9144" y="380974"/>
                </a:lnTo>
                <a:lnTo>
                  <a:pt x="9144" y="335254"/>
                </a:lnTo>
                <a:lnTo>
                  <a:pt x="9144" y="9144"/>
                </a:lnTo>
                <a:lnTo>
                  <a:pt x="533349" y="9144"/>
                </a:lnTo>
                <a:lnTo>
                  <a:pt x="533349" y="0"/>
                </a:lnTo>
                <a:lnTo>
                  <a:pt x="0" y="0"/>
                </a:lnTo>
                <a:lnTo>
                  <a:pt x="0" y="335254"/>
                </a:lnTo>
                <a:lnTo>
                  <a:pt x="0" y="390118"/>
                </a:lnTo>
                <a:lnTo>
                  <a:pt x="542493" y="390118"/>
                </a:lnTo>
                <a:lnTo>
                  <a:pt x="542493" y="385546"/>
                </a:lnTo>
                <a:lnTo>
                  <a:pt x="542493" y="380974"/>
                </a:lnTo>
                <a:lnTo>
                  <a:pt x="542493" y="335254"/>
                </a:lnTo>
                <a:lnTo>
                  <a:pt x="542493" y="9144"/>
                </a:lnTo>
                <a:lnTo>
                  <a:pt x="542493" y="4572"/>
                </a:lnTo>
                <a:lnTo>
                  <a:pt x="54249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1801736" y="3557231"/>
            <a:ext cx="771525" cy="390525"/>
          </a:xfrm>
          <a:custGeom>
            <a:avLst/>
            <a:gdLst/>
            <a:ahLst/>
            <a:cxnLst/>
            <a:rect l="l" t="t" r="r" b="b"/>
            <a:pathLst>
              <a:path w="771525" h="390525">
                <a:moveTo>
                  <a:pt x="771067" y="0"/>
                </a:moveTo>
                <a:lnTo>
                  <a:pt x="761923" y="0"/>
                </a:lnTo>
                <a:lnTo>
                  <a:pt x="761923" y="9144"/>
                </a:lnTo>
                <a:lnTo>
                  <a:pt x="761923" y="335254"/>
                </a:lnTo>
                <a:lnTo>
                  <a:pt x="761923" y="380974"/>
                </a:lnTo>
                <a:lnTo>
                  <a:pt x="9144" y="380974"/>
                </a:lnTo>
                <a:lnTo>
                  <a:pt x="9144" y="335254"/>
                </a:lnTo>
                <a:lnTo>
                  <a:pt x="9144" y="9144"/>
                </a:lnTo>
                <a:lnTo>
                  <a:pt x="761923" y="9144"/>
                </a:lnTo>
                <a:lnTo>
                  <a:pt x="761923" y="0"/>
                </a:lnTo>
                <a:lnTo>
                  <a:pt x="0" y="0"/>
                </a:lnTo>
                <a:lnTo>
                  <a:pt x="0" y="335254"/>
                </a:lnTo>
                <a:lnTo>
                  <a:pt x="0" y="390118"/>
                </a:lnTo>
                <a:lnTo>
                  <a:pt x="771067" y="390118"/>
                </a:lnTo>
                <a:lnTo>
                  <a:pt x="771067" y="385546"/>
                </a:lnTo>
                <a:lnTo>
                  <a:pt x="771067" y="380974"/>
                </a:lnTo>
                <a:lnTo>
                  <a:pt x="771067" y="335254"/>
                </a:lnTo>
                <a:lnTo>
                  <a:pt x="771067" y="9144"/>
                </a:lnTo>
                <a:lnTo>
                  <a:pt x="771067" y="4572"/>
                </a:lnTo>
                <a:lnTo>
                  <a:pt x="77106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792247" y="3557231"/>
            <a:ext cx="847725" cy="390525"/>
          </a:xfrm>
          <a:custGeom>
            <a:avLst/>
            <a:gdLst/>
            <a:ahLst/>
            <a:cxnLst/>
            <a:rect l="l" t="t" r="r" b="b"/>
            <a:pathLst>
              <a:path w="847725" h="390525">
                <a:moveTo>
                  <a:pt x="847267" y="0"/>
                </a:moveTo>
                <a:lnTo>
                  <a:pt x="838123" y="0"/>
                </a:lnTo>
                <a:lnTo>
                  <a:pt x="838123" y="9144"/>
                </a:lnTo>
                <a:lnTo>
                  <a:pt x="838123" y="335254"/>
                </a:lnTo>
                <a:lnTo>
                  <a:pt x="838123" y="380974"/>
                </a:lnTo>
                <a:lnTo>
                  <a:pt x="9144" y="380974"/>
                </a:lnTo>
                <a:lnTo>
                  <a:pt x="9144" y="335254"/>
                </a:lnTo>
                <a:lnTo>
                  <a:pt x="9144" y="9144"/>
                </a:lnTo>
                <a:lnTo>
                  <a:pt x="838123" y="9144"/>
                </a:lnTo>
                <a:lnTo>
                  <a:pt x="838123" y="0"/>
                </a:lnTo>
                <a:lnTo>
                  <a:pt x="0" y="0"/>
                </a:lnTo>
                <a:lnTo>
                  <a:pt x="0" y="335254"/>
                </a:lnTo>
                <a:lnTo>
                  <a:pt x="0" y="390118"/>
                </a:lnTo>
                <a:lnTo>
                  <a:pt x="847267" y="390118"/>
                </a:lnTo>
                <a:lnTo>
                  <a:pt x="847267" y="385546"/>
                </a:lnTo>
                <a:lnTo>
                  <a:pt x="847267" y="380974"/>
                </a:lnTo>
                <a:lnTo>
                  <a:pt x="847267" y="335254"/>
                </a:lnTo>
                <a:lnTo>
                  <a:pt x="847267" y="9144"/>
                </a:lnTo>
                <a:lnTo>
                  <a:pt x="847267" y="4572"/>
                </a:lnTo>
                <a:lnTo>
                  <a:pt x="84726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3935145" y="3557231"/>
            <a:ext cx="542925" cy="390525"/>
          </a:xfrm>
          <a:custGeom>
            <a:avLst/>
            <a:gdLst/>
            <a:ahLst/>
            <a:cxnLst/>
            <a:rect l="l" t="t" r="r" b="b"/>
            <a:pathLst>
              <a:path w="542925" h="390525">
                <a:moveTo>
                  <a:pt x="542518" y="0"/>
                </a:moveTo>
                <a:lnTo>
                  <a:pt x="533374" y="0"/>
                </a:lnTo>
                <a:lnTo>
                  <a:pt x="533374" y="9144"/>
                </a:lnTo>
                <a:lnTo>
                  <a:pt x="533374" y="335254"/>
                </a:lnTo>
                <a:lnTo>
                  <a:pt x="533374" y="380974"/>
                </a:lnTo>
                <a:lnTo>
                  <a:pt x="9144" y="380974"/>
                </a:lnTo>
                <a:lnTo>
                  <a:pt x="9144" y="335254"/>
                </a:lnTo>
                <a:lnTo>
                  <a:pt x="9144" y="9144"/>
                </a:lnTo>
                <a:lnTo>
                  <a:pt x="533374" y="9144"/>
                </a:lnTo>
                <a:lnTo>
                  <a:pt x="533374" y="0"/>
                </a:lnTo>
                <a:lnTo>
                  <a:pt x="0" y="0"/>
                </a:lnTo>
                <a:lnTo>
                  <a:pt x="0" y="335254"/>
                </a:lnTo>
                <a:lnTo>
                  <a:pt x="0" y="390118"/>
                </a:lnTo>
                <a:lnTo>
                  <a:pt x="542518" y="390118"/>
                </a:lnTo>
                <a:lnTo>
                  <a:pt x="542518" y="385546"/>
                </a:lnTo>
                <a:lnTo>
                  <a:pt x="542518" y="380974"/>
                </a:lnTo>
                <a:lnTo>
                  <a:pt x="542518" y="335254"/>
                </a:lnTo>
                <a:lnTo>
                  <a:pt x="542518" y="9144"/>
                </a:lnTo>
                <a:lnTo>
                  <a:pt x="542518" y="4572"/>
                </a:lnTo>
                <a:lnTo>
                  <a:pt x="54251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5535219" y="3557231"/>
            <a:ext cx="542925" cy="390525"/>
          </a:xfrm>
          <a:custGeom>
            <a:avLst/>
            <a:gdLst/>
            <a:ahLst/>
            <a:cxnLst/>
            <a:rect l="l" t="t" r="r" b="b"/>
            <a:pathLst>
              <a:path w="542925" h="390525">
                <a:moveTo>
                  <a:pt x="542493" y="0"/>
                </a:moveTo>
                <a:lnTo>
                  <a:pt x="533349" y="0"/>
                </a:lnTo>
                <a:lnTo>
                  <a:pt x="533349" y="9144"/>
                </a:lnTo>
                <a:lnTo>
                  <a:pt x="533349" y="335254"/>
                </a:lnTo>
                <a:lnTo>
                  <a:pt x="533349" y="380974"/>
                </a:lnTo>
                <a:lnTo>
                  <a:pt x="9144" y="380974"/>
                </a:lnTo>
                <a:lnTo>
                  <a:pt x="9144" y="335254"/>
                </a:lnTo>
                <a:lnTo>
                  <a:pt x="9144" y="9144"/>
                </a:lnTo>
                <a:lnTo>
                  <a:pt x="533349" y="9144"/>
                </a:lnTo>
                <a:lnTo>
                  <a:pt x="533349" y="0"/>
                </a:lnTo>
                <a:lnTo>
                  <a:pt x="0" y="0"/>
                </a:lnTo>
                <a:lnTo>
                  <a:pt x="0" y="335254"/>
                </a:lnTo>
                <a:lnTo>
                  <a:pt x="0" y="390118"/>
                </a:lnTo>
                <a:lnTo>
                  <a:pt x="542493" y="390118"/>
                </a:lnTo>
                <a:lnTo>
                  <a:pt x="542493" y="385546"/>
                </a:lnTo>
                <a:lnTo>
                  <a:pt x="542493" y="380974"/>
                </a:lnTo>
                <a:lnTo>
                  <a:pt x="542493" y="335254"/>
                </a:lnTo>
                <a:lnTo>
                  <a:pt x="542493" y="9144"/>
                </a:lnTo>
                <a:lnTo>
                  <a:pt x="542493" y="4572"/>
                </a:lnTo>
                <a:lnTo>
                  <a:pt x="54249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697082" y="3557231"/>
            <a:ext cx="542925" cy="390525"/>
          </a:xfrm>
          <a:custGeom>
            <a:avLst/>
            <a:gdLst/>
            <a:ahLst/>
            <a:cxnLst/>
            <a:rect l="l" t="t" r="r" b="b"/>
            <a:pathLst>
              <a:path w="542925" h="390525">
                <a:moveTo>
                  <a:pt x="542518" y="0"/>
                </a:moveTo>
                <a:lnTo>
                  <a:pt x="533374" y="0"/>
                </a:lnTo>
                <a:lnTo>
                  <a:pt x="533374" y="9144"/>
                </a:lnTo>
                <a:lnTo>
                  <a:pt x="533374" y="335254"/>
                </a:lnTo>
                <a:lnTo>
                  <a:pt x="533374" y="380974"/>
                </a:lnTo>
                <a:lnTo>
                  <a:pt x="9144" y="380974"/>
                </a:lnTo>
                <a:lnTo>
                  <a:pt x="9144" y="335254"/>
                </a:lnTo>
                <a:lnTo>
                  <a:pt x="9144" y="9144"/>
                </a:lnTo>
                <a:lnTo>
                  <a:pt x="533374" y="9144"/>
                </a:lnTo>
                <a:lnTo>
                  <a:pt x="533374" y="0"/>
                </a:lnTo>
                <a:lnTo>
                  <a:pt x="0" y="0"/>
                </a:lnTo>
                <a:lnTo>
                  <a:pt x="0" y="335254"/>
                </a:lnTo>
                <a:lnTo>
                  <a:pt x="0" y="390118"/>
                </a:lnTo>
                <a:lnTo>
                  <a:pt x="542518" y="390118"/>
                </a:lnTo>
                <a:lnTo>
                  <a:pt x="542518" y="385546"/>
                </a:lnTo>
                <a:lnTo>
                  <a:pt x="542518" y="380974"/>
                </a:lnTo>
                <a:lnTo>
                  <a:pt x="542518" y="335254"/>
                </a:lnTo>
                <a:lnTo>
                  <a:pt x="542518" y="9144"/>
                </a:lnTo>
                <a:lnTo>
                  <a:pt x="542518" y="4572"/>
                </a:lnTo>
                <a:lnTo>
                  <a:pt x="54251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6297168" y="3557231"/>
            <a:ext cx="542925" cy="390525"/>
          </a:xfrm>
          <a:custGeom>
            <a:avLst/>
            <a:gdLst/>
            <a:ahLst/>
            <a:cxnLst/>
            <a:rect l="l" t="t" r="r" b="b"/>
            <a:pathLst>
              <a:path w="542925" h="390525">
                <a:moveTo>
                  <a:pt x="542480" y="0"/>
                </a:moveTo>
                <a:lnTo>
                  <a:pt x="533336" y="0"/>
                </a:lnTo>
                <a:lnTo>
                  <a:pt x="533336" y="9144"/>
                </a:lnTo>
                <a:lnTo>
                  <a:pt x="533336" y="335254"/>
                </a:lnTo>
                <a:lnTo>
                  <a:pt x="533336" y="380974"/>
                </a:lnTo>
                <a:lnTo>
                  <a:pt x="9144" y="380974"/>
                </a:lnTo>
                <a:lnTo>
                  <a:pt x="9144" y="335254"/>
                </a:lnTo>
                <a:lnTo>
                  <a:pt x="9144" y="9144"/>
                </a:lnTo>
                <a:lnTo>
                  <a:pt x="533336" y="9144"/>
                </a:lnTo>
                <a:lnTo>
                  <a:pt x="533336" y="0"/>
                </a:lnTo>
                <a:lnTo>
                  <a:pt x="0" y="0"/>
                </a:lnTo>
                <a:lnTo>
                  <a:pt x="0" y="335254"/>
                </a:lnTo>
                <a:lnTo>
                  <a:pt x="0" y="390118"/>
                </a:lnTo>
                <a:lnTo>
                  <a:pt x="542480" y="390118"/>
                </a:lnTo>
                <a:lnTo>
                  <a:pt x="542480" y="385546"/>
                </a:lnTo>
                <a:lnTo>
                  <a:pt x="542480" y="380974"/>
                </a:lnTo>
                <a:lnTo>
                  <a:pt x="542480" y="335254"/>
                </a:lnTo>
                <a:lnTo>
                  <a:pt x="542480" y="9144"/>
                </a:lnTo>
                <a:lnTo>
                  <a:pt x="542480" y="4572"/>
                </a:lnTo>
                <a:lnTo>
                  <a:pt x="54248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7059104" y="3557231"/>
            <a:ext cx="542925" cy="390525"/>
          </a:xfrm>
          <a:custGeom>
            <a:avLst/>
            <a:gdLst/>
            <a:ahLst/>
            <a:cxnLst/>
            <a:rect l="l" t="t" r="r" b="b"/>
            <a:pathLst>
              <a:path w="542925" h="390525">
                <a:moveTo>
                  <a:pt x="542480" y="0"/>
                </a:moveTo>
                <a:lnTo>
                  <a:pt x="533336" y="0"/>
                </a:lnTo>
                <a:lnTo>
                  <a:pt x="533336" y="9144"/>
                </a:lnTo>
                <a:lnTo>
                  <a:pt x="533336" y="335254"/>
                </a:lnTo>
                <a:lnTo>
                  <a:pt x="533336" y="380974"/>
                </a:lnTo>
                <a:lnTo>
                  <a:pt x="9144" y="380974"/>
                </a:lnTo>
                <a:lnTo>
                  <a:pt x="9144" y="335254"/>
                </a:lnTo>
                <a:lnTo>
                  <a:pt x="9144" y="9144"/>
                </a:lnTo>
                <a:lnTo>
                  <a:pt x="533336" y="9144"/>
                </a:lnTo>
                <a:lnTo>
                  <a:pt x="533336" y="0"/>
                </a:lnTo>
                <a:lnTo>
                  <a:pt x="0" y="0"/>
                </a:lnTo>
                <a:lnTo>
                  <a:pt x="0" y="335254"/>
                </a:lnTo>
                <a:lnTo>
                  <a:pt x="0" y="390118"/>
                </a:lnTo>
                <a:lnTo>
                  <a:pt x="542480" y="390118"/>
                </a:lnTo>
                <a:lnTo>
                  <a:pt x="542480" y="385546"/>
                </a:lnTo>
                <a:lnTo>
                  <a:pt x="542480" y="380974"/>
                </a:lnTo>
                <a:lnTo>
                  <a:pt x="542480" y="335254"/>
                </a:lnTo>
                <a:lnTo>
                  <a:pt x="542480" y="9144"/>
                </a:lnTo>
                <a:lnTo>
                  <a:pt x="542480" y="4572"/>
                </a:lnTo>
                <a:lnTo>
                  <a:pt x="54248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7821041" y="3557231"/>
            <a:ext cx="542925" cy="390525"/>
          </a:xfrm>
          <a:custGeom>
            <a:avLst/>
            <a:gdLst/>
            <a:ahLst/>
            <a:cxnLst/>
            <a:rect l="l" t="t" r="r" b="b"/>
            <a:pathLst>
              <a:path w="542925" h="390525">
                <a:moveTo>
                  <a:pt x="542480" y="0"/>
                </a:moveTo>
                <a:lnTo>
                  <a:pt x="533336" y="0"/>
                </a:lnTo>
                <a:lnTo>
                  <a:pt x="533336" y="9144"/>
                </a:lnTo>
                <a:lnTo>
                  <a:pt x="533336" y="335254"/>
                </a:lnTo>
                <a:lnTo>
                  <a:pt x="533336" y="380974"/>
                </a:lnTo>
                <a:lnTo>
                  <a:pt x="9144" y="380974"/>
                </a:lnTo>
                <a:lnTo>
                  <a:pt x="9144" y="335254"/>
                </a:lnTo>
                <a:lnTo>
                  <a:pt x="9144" y="9144"/>
                </a:lnTo>
                <a:lnTo>
                  <a:pt x="533336" y="9144"/>
                </a:lnTo>
                <a:lnTo>
                  <a:pt x="533336" y="0"/>
                </a:lnTo>
                <a:lnTo>
                  <a:pt x="0" y="0"/>
                </a:lnTo>
                <a:lnTo>
                  <a:pt x="0" y="335254"/>
                </a:lnTo>
                <a:lnTo>
                  <a:pt x="0" y="390118"/>
                </a:lnTo>
                <a:lnTo>
                  <a:pt x="542480" y="390118"/>
                </a:lnTo>
                <a:lnTo>
                  <a:pt x="542480" y="385546"/>
                </a:lnTo>
                <a:lnTo>
                  <a:pt x="542480" y="380974"/>
                </a:lnTo>
                <a:lnTo>
                  <a:pt x="542480" y="335254"/>
                </a:lnTo>
                <a:lnTo>
                  <a:pt x="542480" y="9144"/>
                </a:lnTo>
                <a:lnTo>
                  <a:pt x="542480" y="4572"/>
                </a:lnTo>
                <a:lnTo>
                  <a:pt x="54248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582952" y="3557231"/>
            <a:ext cx="542925" cy="390525"/>
          </a:xfrm>
          <a:custGeom>
            <a:avLst/>
            <a:gdLst/>
            <a:ahLst/>
            <a:cxnLst/>
            <a:rect l="l" t="t" r="r" b="b"/>
            <a:pathLst>
              <a:path w="542925" h="390525">
                <a:moveTo>
                  <a:pt x="542505" y="0"/>
                </a:moveTo>
                <a:lnTo>
                  <a:pt x="533361" y="0"/>
                </a:lnTo>
                <a:lnTo>
                  <a:pt x="533361" y="9144"/>
                </a:lnTo>
                <a:lnTo>
                  <a:pt x="533361" y="335254"/>
                </a:lnTo>
                <a:lnTo>
                  <a:pt x="533361" y="380974"/>
                </a:lnTo>
                <a:lnTo>
                  <a:pt x="9144" y="380974"/>
                </a:lnTo>
                <a:lnTo>
                  <a:pt x="9144" y="335254"/>
                </a:lnTo>
                <a:lnTo>
                  <a:pt x="9144" y="9144"/>
                </a:lnTo>
                <a:lnTo>
                  <a:pt x="533361" y="9144"/>
                </a:lnTo>
                <a:lnTo>
                  <a:pt x="533361" y="0"/>
                </a:lnTo>
                <a:lnTo>
                  <a:pt x="0" y="0"/>
                </a:lnTo>
                <a:lnTo>
                  <a:pt x="0" y="335254"/>
                </a:lnTo>
                <a:lnTo>
                  <a:pt x="0" y="390118"/>
                </a:lnTo>
                <a:lnTo>
                  <a:pt x="542505" y="390118"/>
                </a:lnTo>
                <a:lnTo>
                  <a:pt x="542505" y="385546"/>
                </a:lnTo>
                <a:lnTo>
                  <a:pt x="542505" y="380974"/>
                </a:lnTo>
                <a:lnTo>
                  <a:pt x="542505" y="335254"/>
                </a:lnTo>
                <a:lnTo>
                  <a:pt x="542505" y="9144"/>
                </a:lnTo>
                <a:lnTo>
                  <a:pt x="542505" y="4572"/>
                </a:lnTo>
                <a:lnTo>
                  <a:pt x="54250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87409" y="4090598"/>
            <a:ext cx="542925" cy="390525"/>
          </a:xfrm>
          <a:custGeom>
            <a:avLst/>
            <a:gdLst/>
            <a:ahLst/>
            <a:cxnLst/>
            <a:rect l="l" t="t" r="r" b="b"/>
            <a:pathLst>
              <a:path w="542925" h="390525">
                <a:moveTo>
                  <a:pt x="542495" y="0"/>
                </a:moveTo>
                <a:lnTo>
                  <a:pt x="0" y="0"/>
                </a:lnTo>
                <a:lnTo>
                  <a:pt x="0" y="390113"/>
                </a:lnTo>
                <a:lnTo>
                  <a:pt x="542495" y="390113"/>
                </a:lnTo>
                <a:lnTo>
                  <a:pt x="542495" y="385541"/>
                </a:lnTo>
                <a:lnTo>
                  <a:pt x="9144" y="385541"/>
                </a:lnTo>
                <a:lnTo>
                  <a:pt x="4572" y="380969"/>
                </a:lnTo>
                <a:lnTo>
                  <a:pt x="9144" y="380969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542495" y="4572"/>
                </a:lnTo>
                <a:lnTo>
                  <a:pt x="542495" y="0"/>
                </a:lnTo>
                <a:close/>
              </a:path>
              <a:path w="542925" h="390525">
                <a:moveTo>
                  <a:pt x="9144" y="380969"/>
                </a:moveTo>
                <a:lnTo>
                  <a:pt x="4572" y="380969"/>
                </a:lnTo>
                <a:lnTo>
                  <a:pt x="9144" y="385541"/>
                </a:lnTo>
                <a:lnTo>
                  <a:pt x="9144" y="380969"/>
                </a:lnTo>
                <a:close/>
              </a:path>
              <a:path w="542925" h="390525">
                <a:moveTo>
                  <a:pt x="533351" y="380969"/>
                </a:moveTo>
                <a:lnTo>
                  <a:pt x="9144" y="380969"/>
                </a:lnTo>
                <a:lnTo>
                  <a:pt x="9144" y="385541"/>
                </a:lnTo>
                <a:lnTo>
                  <a:pt x="533351" y="385541"/>
                </a:lnTo>
                <a:lnTo>
                  <a:pt x="533351" y="380969"/>
                </a:lnTo>
                <a:close/>
              </a:path>
              <a:path w="542925" h="390525">
                <a:moveTo>
                  <a:pt x="533351" y="4572"/>
                </a:moveTo>
                <a:lnTo>
                  <a:pt x="533351" y="385541"/>
                </a:lnTo>
                <a:lnTo>
                  <a:pt x="537923" y="380969"/>
                </a:lnTo>
                <a:lnTo>
                  <a:pt x="542495" y="380969"/>
                </a:lnTo>
                <a:lnTo>
                  <a:pt x="542495" y="9144"/>
                </a:lnTo>
                <a:lnTo>
                  <a:pt x="537923" y="9144"/>
                </a:lnTo>
                <a:lnTo>
                  <a:pt x="533351" y="4572"/>
                </a:lnTo>
                <a:close/>
              </a:path>
              <a:path w="542925" h="390525">
                <a:moveTo>
                  <a:pt x="542495" y="380969"/>
                </a:moveTo>
                <a:lnTo>
                  <a:pt x="537923" y="380969"/>
                </a:lnTo>
                <a:lnTo>
                  <a:pt x="533351" y="385541"/>
                </a:lnTo>
                <a:lnTo>
                  <a:pt x="542495" y="385541"/>
                </a:lnTo>
                <a:lnTo>
                  <a:pt x="542495" y="380969"/>
                </a:lnTo>
                <a:close/>
              </a:path>
              <a:path w="542925" h="3905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542925" h="390525">
                <a:moveTo>
                  <a:pt x="533351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533351" y="9144"/>
                </a:lnTo>
                <a:lnTo>
                  <a:pt x="533351" y="4572"/>
                </a:lnTo>
                <a:close/>
              </a:path>
              <a:path w="542925" h="390525">
                <a:moveTo>
                  <a:pt x="542495" y="4572"/>
                </a:moveTo>
                <a:lnTo>
                  <a:pt x="533351" y="4572"/>
                </a:lnTo>
                <a:lnTo>
                  <a:pt x="537923" y="9144"/>
                </a:lnTo>
                <a:lnTo>
                  <a:pt x="542495" y="9144"/>
                </a:lnTo>
                <a:lnTo>
                  <a:pt x="542495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1801736" y="4090598"/>
            <a:ext cx="771525" cy="390525"/>
          </a:xfrm>
          <a:custGeom>
            <a:avLst/>
            <a:gdLst/>
            <a:ahLst/>
            <a:cxnLst/>
            <a:rect l="l" t="t" r="r" b="b"/>
            <a:pathLst>
              <a:path w="771525" h="390525">
                <a:moveTo>
                  <a:pt x="771073" y="0"/>
                </a:moveTo>
                <a:lnTo>
                  <a:pt x="0" y="0"/>
                </a:lnTo>
                <a:lnTo>
                  <a:pt x="0" y="390113"/>
                </a:lnTo>
                <a:lnTo>
                  <a:pt x="771073" y="390113"/>
                </a:lnTo>
                <a:lnTo>
                  <a:pt x="771073" y="385541"/>
                </a:lnTo>
                <a:lnTo>
                  <a:pt x="9144" y="385541"/>
                </a:lnTo>
                <a:lnTo>
                  <a:pt x="4572" y="380969"/>
                </a:lnTo>
                <a:lnTo>
                  <a:pt x="9144" y="380969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771073" y="4572"/>
                </a:lnTo>
                <a:lnTo>
                  <a:pt x="771073" y="0"/>
                </a:lnTo>
                <a:close/>
              </a:path>
              <a:path w="771525" h="390525">
                <a:moveTo>
                  <a:pt x="9144" y="380969"/>
                </a:moveTo>
                <a:lnTo>
                  <a:pt x="4572" y="380969"/>
                </a:lnTo>
                <a:lnTo>
                  <a:pt x="9144" y="385541"/>
                </a:lnTo>
                <a:lnTo>
                  <a:pt x="9144" y="380969"/>
                </a:lnTo>
                <a:close/>
              </a:path>
              <a:path w="771525" h="390525">
                <a:moveTo>
                  <a:pt x="761929" y="380969"/>
                </a:moveTo>
                <a:lnTo>
                  <a:pt x="9144" y="380969"/>
                </a:lnTo>
                <a:lnTo>
                  <a:pt x="9144" y="385541"/>
                </a:lnTo>
                <a:lnTo>
                  <a:pt x="761929" y="385541"/>
                </a:lnTo>
                <a:lnTo>
                  <a:pt x="761929" y="380969"/>
                </a:lnTo>
                <a:close/>
              </a:path>
              <a:path w="771525" h="390525">
                <a:moveTo>
                  <a:pt x="761929" y="4572"/>
                </a:moveTo>
                <a:lnTo>
                  <a:pt x="761929" y="385541"/>
                </a:lnTo>
                <a:lnTo>
                  <a:pt x="766501" y="380969"/>
                </a:lnTo>
                <a:lnTo>
                  <a:pt x="771073" y="380969"/>
                </a:lnTo>
                <a:lnTo>
                  <a:pt x="771073" y="9144"/>
                </a:lnTo>
                <a:lnTo>
                  <a:pt x="766501" y="9144"/>
                </a:lnTo>
                <a:lnTo>
                  <a:pt x="761929" y="4572"/>
                </a:lnTo>
                <a:close/>
              </a:path>
              <a:path w="771525" h="390525">
                <a:moveTo>
                  <a:pt x="771073" y="380969"/>
                </a:moveTo>
                <a:lnTo>
                  <a:pt x="766501" y="380969"/>
                </a:lnTo>
                <a:lnTo>
                  <a:pt x="761929" y="385541"/>
                </a:lnTo>
                <a:lnTo>
                  <a:pt x="771073" y="385541"/>
                </a:lnTo>
                <a:lnTo>
                  <a:pt x="771073" y="380969"/>
                </a:lnTo>
                <a:close/>
              </a:path>
              <a:path w="771525" h="3905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771525" h="390525">
                <a:moveTo>
                  <a:pt x="761929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761929" y="9144"/>
                </a:lnTo>
                <a:lnTo>
                  <a:pt x="761929" y="4572"/>
                </a:lnTo>
                <a:close/>
              </a:path>
              <a:path w="771525" h="390525">
                <a:moveTo>
                  <a:pt x="771073" y="4572"/>
                </a:moveTo>
                <a:lnTo>
                  <a:pt x="761929" y="4572"/>
                </a:lnTo>
                <a:lnTo>
                  <a:pt x="766501" y="9144"/>
                </a:lnTo>
                <a:lnTo>
                  <a:pt x="771073" y="9144"/>
                </a:lnTo>
                <a:lnTo>
                  <a:pt x="77107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792254" y="4090598"/>
            <a:ext cx="847725" cy="390525"/>
          </a:xfrm>
          <a:custGeom>
            <a:avLst/>
            <a:gdLst/>
            <a:ahLst/>
            <a:cxnLst/>
            <a:rect l="l" t="t" r="r" b="b"/>
            <a:pathLst>
              <a:path w="847725" h="390525">
                <a:moveTo>
                  <a:pt x="847270" y="0"/>
                </a:moveTo>
                <a:lnTo>
                  <a:pt x="0" y="0"/>
                </a:lnTo>
                <a:lnTo>
                  <a:pt x="0" y="390113"/>
                </a:lnTo>
                <a:lnTo>
                  <a:pt x="847270" y="390113"/>
                </a:lnTo>
                <a:lnTo>
                  <a:pt x="847270" y="385541"/>
                </a:lnTo>
                <a:lnTo>
                  <a:pt x="9144" y="385541"/>
                </a:lnTo>
                <a:lnTo>
                  <a:pt x="4572" y="380969"/>
                </a:lnTo>
                <a:lnTo>
                  <a:pt x="9144" y="380969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847270" y="4572"/>
                </a:lnTo>
                <a:lnTo>
                  <a:pt x="847270" y="0"/>
                </a:lnTo>
                <a:close/>
              </a:path>
              <a:path w="847725" h="390525">
                <a:moveTo>
                  <a:pt x="9144" y="380969"/>
                </a:moveTo>
                <a:lnTo>
                  <a:pt x="4572" y="380969"/>
                </a:lnTo>
                <a:lnTo>
                  <a:pt x="9144" y="385541"/>
                </a:lnTo>
                <a:lnTo>
                  <a:pt x="9144" y="380969"/>
                </a:lnTo>
                <a:close/>
              </a:path>
              <a:path w="847725" h="390525">
                <a:moveTo>
                  <a:pt x="838126" y="380969"/>
                </a:moveTo>
                <a:lnTo>
                  <a:pt x="9144" y="380969"/>
                </a:lnTo>
                <a:lnTo>
                  <a:pt x="9144" y="385541"/>
                </a:lnTo>
                <a:lnTo>
                  <a:pt x="838126" y="385541"/>
                </a:lnTo>
                <a:lnTo>
                  <a:pt x="838126" y="380969"/>
                </a:lnTo>
                <a:close/>
              </a:path>
              <a:path w="847725" h="390525">
                <a:moveTo>
                  <a:pt x="838126" y="4572"/>
                </a:moveTo>
                <a:lnTo>
                  <a:pt x="838126" y="385541"/>
                </a:lnTo>
                <a:lnTo>
                  <a:pt x="842698" y="380969"/>
                </a:lnTo>
                <a:lnTo>
                  <a:pt x="847270" y="380969"/>
                </a:lnTo>
                <a:lnTo>
                  <a:pt x="847270" y="9144"/>
                </a:lnTo>
                <a:lnTo>
                  <a:pt x="842698" y="9144"/>
                </a:lnTo>
                <a:lnTo>
                  <a:pt x="838126" y="4572"/>
                </a:lnTo>
                <a:close/>
              </a:path>
              <a:path w="847725" h="390525">
                <a:moveTo>
                  <a:pt x="847270" y="380969"/>
                </a:moveTo>
                <a:lnTo>
                  <a:pt x="842698" y="380969"/>
                </a:lnTo>
                <a:lnTo>
                  <a:pt x="838126" y="385541"/>
                </a:lnTo>
                <a:lnTo>
                  <a:pt x="847270" y="385541"/>
                </a:lnTo>
                <a:lnTo>
                  <a:pt x="847270" y="380969"/>
                </a:lnTo>
                <a:close/>
              </a:path>
              <a:path w="847725" h="3905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847725" h="390525">
                <a:moveTo>
                  <a:pt x="838126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838126" y="9144"/>
                </a:lnTo>
                <a:lnTo>
                  <a:pt x="838126" y="4572"/>
                </a:lnTo>
                <a:close/>
              </a:path>
              <a:path w="847725" h="390525">
                <a:moveTo>
                  <a:pt x="847270" y="4572"/>
                </a:moveTo>
                <a:lnTo>
                  <a:pt x="838126" y="4572"/>
                </a:lnTo>
                <a:lnTo>
                  <a:pt x="842698" y="9144"/>
                </a:lnTo>
                <a:lnTo>
                  <a:pt x="847270" y="9144"/>
                </a:lnTo>
                <a:lnTo>
                  <a:pt x="847270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3935150" y="4090598"/>
            <a:ext cx="542925" cy="390525"/>
          </a:xfrm>
          <a:custGeom>
            <a:avLst/>
            <a:gdLst/>
            <a:ahLst/>
            <a:cxnLst/>
            <a:rect l="l" t="t" r="r" b="b"/>
            <a:pathLst>
              <a:path w="542925" h="390525">
                <a:moveTo>
                  <a:pt x="542513" y="0"/>
                </a:moveTo>
                <a:lnTo>
                  <a:pt x="0" y="0"/>
                </a:lnTo>
                <a:lnTo>
                  <a:pt x="0" y="390113"/>
                </a:lnTo>
                <a:lnTo>
                  <a:pt x="542513" y="390113"/>
                </a:lnTo>
                <a:lnTo>
                  <a:pt x="542513" y="385541"/>
                </a:lnTo>
                <a:lnTo>
                  <a:pt x="9144" y="385541"/>
                </a:lnTo>
                <a:lnTo>
                  <a:pt x="4572" y="380969"/>
                </a:lnTo>
                <a:lnTo>
                  <a:pt x="9144" y="380969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542513" y="4572"/>
                </a:lnTo>
                <a:lnTo>
                  <a:pt x="542513" y="0"/>
                </a:lnTo>
                <a:close/>
              </a:path>
              <a:path w="542925" h="390525">
                <a:moveTo>
                  <a:pt x="9144" y="380969"/>
                </a:moveTo>
                <a:lnTo>
                  <a:pt x="4572" y="380969"/>
                </a:lnTo>
                <a:lnTo>
                  <a:pt x="9144" y="385541"/>
                </a:lnTo>
                <a:lnTo>
                  <a:pt x="9144" y="380969"/>
                </a:lnTo>
                <a:close/>
              </a:path>
              <a:path w="542925" h="390525">
                <a:moveTo>
                  <a:pt x="533369" y="380969"/>
                </a:moveTo>
                <a:lnTo>
                  <a:pt x="9144" y="380969"/>
                </a:lnTo>
                <a:lnTo>
                  <a:pt x="9144" y="385541"/>
                </a:lnTo>
                <a:lnTo>
                  <a:pt x="533369" y="385541"/>
                </a:lnTo>
                <a:lnTo>
                  <a:pt x="533369" y="380969"/>
                </a:lnTo>
                <a:close/>
              </a:path>
              <a:path w="542925" h="390525">
                <a:moveTo>
                  <a:pt x="533369" y="4572"/>
                </a:moveTo>
                <a:lnTo>
                  <a:pt x="533369" y="385541"/>
                </a:lnTo>
                <a:lnTo>
                  <a:pt x="537941" y="380969"/>
                </a:lnTo>
                <a:lnTo>
                  <a:pt x="542513" y="380969"/>
                </a:lnTo>
                <a:lnTo>
                  <a:pt x="542513" y="9144"/>
                </a:lnTo>
                <a:lnTo>
                  <a:pt x="537941" y="9144"/>
                </a:lnTo>
                <a:lnTo>
                  <a:pt x="533369" y="4572"/>
                </a:lnTo>
                <a:close/>
              </a:path>
              <a:path w="542925" h="390525">
                <a:moveTo>
                  <a:pt x="542513" y="380969"/>
                </a:moveTo>
                <a:lnTo>
                  <a:pt x="537941" y="380969"/>
                </a:lnTo>
                <a:lnTo>
                  <a:pt x="533369" y="385541"/>
                </a:lnTo>
                <a:lnTo>
                  <a:pt x="542513" y="385541"/>
                </a:lnTo>
                <a:lnTo>
                  <a:pt x="542513" y="380969"/>
                </a:lnTo>
                <a:close/>
              </a:path>
              <a:path w="542925" h="3905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542925" h="390525">
                <a:moveTo>
                  <a:pt x="533369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533369" y="9144"/>
                </a:lnTo>
                <a:lnTo>
                  <a:pt x="533369" y="4572"/>
                </a:lnTo>
                <a:close/>
              </a:path>
              <a:path w="542925" h="390525">
                <a:moveTo>
                  <a:pt x="542513" y="4572"/>
                </a:moveTo>
                <a:lnTo>
                  <a:pt x="533369" y="4572"/>
                </a:lnTo>
                <a:lnTo>
                  <a:pt x="537941" y="9144"/>
                </a:lnTo>
                <a:lnTo>
                  <a:pt x="542513" y="9144"/>
                </a:lnTo>
                <a:lnTo>
                  <a:pt x="54251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5535229" y="4090598"/>
            <a:ext cx="542925" cy="390525"/>
          </a:xfrm>
          <a:custGeom>
            <a:avLst/>
            <a:gdLst/>
            <a:ahLst/>
            <a:cxnLst/>
            <a:rect l="l" t="t" r="r" b="b"/>
            <a:pathLst>
              <a:path w="542925" h="390525">
                <a:moveTo>
                  <a:pt x="542483" y="0"/>
                </a:moveTo>
                <a:lnTo>
                  <a:pt x="0" y="0"/>
                </a:lnTo>
                <a:lnTo>
                  <a:pt x="0" y="390113"/>
                </a:lnTo>
                <a:lnTo>
                  <a:pt x="542483" y="390113"/>
                </a:lnTo>
                <a:lnTo>
                  <a:pt x="542483" y="385541"/>
                </a:lnTo>
                <a:lnTo>
                  <a:pt x="9144" y="385541"/>
                </a:lnTo>
                <a:lnTo>
                  <a:pt x="4572" y="380969"/>
                </a:lnTo>
                <a:lnTo>
                  <a:pt x="9144" y="380969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542483" y="4572"/>
                </a:lnTo>
                <a:lnTo>
                  <a:pt x="542483" y="0"/>
                </a:lnTo>
                <a:close/>
              </a:path>
              <a:path w="542925" h="390525">
                <a:moveTo>
                  <a:pt x="9144" y="380969"/>
                </a:moveTo>
                <a:lnTo>
                  <a:pt x="4572" y="380969"/>
                </a:lnTo>
                <a:lnTo>
                  <a:pt x="9144" y="385541"/>
                </a:lnTo>
                <a:lnTo>
                  <a:pt x="9144" y="380969"/>
                </a:lnTo>
                <a:close/>
              </a:path>
              <a:path w="542925" h="390525">
                <a:moveTo>
                  <a:pt x="533339" y="380969"/>
                </a:moveTo>
                <a:lnTo>
                  <a:pt x="9144" y="380969"/>
                </a:lnTo>
                <a:lnTo>
                  <a:pt x="9144" y="385541"/>
                </a:lnTo>
                <a:lnTo>
                  <a:pt x="533339" y="385541"/>
                </a:lnTo>
                <a:lnTo>
                  <a:pt x="533339" y="380969"/>
                </a:lnTo>
                <a:close/>
              </a:path>
              <a:path w="542925" h="390525">
                <a:moveTo>
                  <a:pt x="533339" y="4572"/>
                </a:moveTo>
                <a:lnTo>
                  <a:pt x="533339" y="385541"/>
                </a:lnTo>
                <a:lnTo>
                  <a:pt x="537911" y="380969"/>
                </a:lnTo>
                <a:lnTo>
                  <a:pt x="542483" y="380969"/>
                </a:lnTo>
                <a:lnTo>
                  <a:pt x="542483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2925" h="390525">
                <a:moveTo>
                  <a:pt x="542483" y="380969"/>
                </a:moveTo>
                <a:lnTo>
                  <a:pt x="537911" y="380969"/>
                </a:lnTo>
                <a:lnTo>
                  <a:pt x="533339" y="385541"/>
                </a:lnTo>
                <a:lnTo>
                  <a:pt x="542483" y="385541"/>
                </a:lnTo>
                <a:lnTo>
                  <a:pt x="542483" y="380969"/>
                </a:lnTo>
                <a:close/>
              </a:path>
              <a:path w="542925" h="3905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542925" h="390525">
                <a:moveTo>
                  <a:pt x="533339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2925" h="390525">
                <a:moveTo>
                  <a:pt x="542483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2483" y="9144"/>
                </a:lnTo>
                <a:lnTo>
                  <a:pt x="54248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4697090" y="4090598"/>
            <a:ext cx="542925" cy="390525"/>
          </a:xfrm>
          <a:custGeom>
            <a:avLst/>
            <a:gdLst/>
            <a:ahLst/>
            <a:cxnLst/>
            <a:rect l="l" t="t" r="r" b="b"/>
            <a:pathLst>
              <a:path w="542925" h="390525">
                <a:moveTo>
                  <a:pt x="542513" y="0"/>
                </a:moveTo>
                <a:lnTo>
                  <a:pt x="0" y="0"/>
                </a:lnTo>
                <a:lnTo>
                  <a:pt x="0" y="390113"/>
                </a:lnTo>
                <a:lnTo>
                  <a:pt x="542513" y="390113"/>
                </a:lnTo>
                <a:lnTo>
                  <a:pt x="542513" y="385541"/>
                </a:lnTo>
                <a:lnTo>
                  <a:pt x="9144" y="385541"/>
                </a:lnTo>
                <a:lnTo>
                  <a:pt x="4572" y="380969"/>
                </a:lnTo>
                <a:lnTo>
                  <a:pt x="9144" y="380969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542513" y="4572"/>
                </a:lnTo>
                <a:lnTo>
                  <a:pt x="542513" y="0"/>
                </a:lnTo>
                <a:close/>
              </a:path>
              <a:path w="542925" h="390525">
                <a:moveTo>
                  <a:pt x="9144" y="380969"/>
                </a:moveTo>
                <a:lnTo>
                  <a:pt x="4572" y="380969"/>
                </a:lnTo>
                <a:lnTo>
                  <a:pt x="9144" y="385541"/>
                </a:lnTo>
                <a:lnTo>
                  <a:pt x="9144" y="380969"/>
                </a:lnTo>
                <a:close/>
              </a:path>
              <a:path w="542925" h="390525">
                <a:moveTo>
                  <a:pt x="533369" y="380969"/>
                </a:moveTo>
                <a:lnTo>
                  <a:pt x="9144" y="380969"/>
                </a:lnTo>
                <a:lnTo>
                  <a:pt x="9144" y="385541"/>
                </a:lnTo>
                <a:lnTo>
                  <a:pt x="533369" y="385541"/>
                </a:lnTo>
                <a:lnTo>
                  <a:pt x="533369" y="380969"/>
                </a:lnTo>
                <a:close/>
              </a:path>
              <a:path w="542925" h="390525">
                <a:moveTo>
                  <a:pt x="533369" y="4572"/>
                </a:moveTo>
                <a:lnTo>
                  <a:pt x="533369" y="385541"/>
                </a:lnTo>
                <a:lnTo>
                  <a:pt x="537941" y="380969"/>
                </a:lnTo>
                <a:lnTo>
                  <a:pt x="542513" y="380969"/>
                </a:lnTo>
                <a:lnTo>
                  <a:pt x="542513" y="9144"/>
                </a:lnTo>
                <a:lnTo>
                  <a:pt x="537941" y="9144"/>
                </a:lnTo>
                <a:lnTo>
                  <a:pt x="533369" y="4572"/>
                </a:lnTo>
                <a:close/>
              </a:path>
              <a:path w="542925" h="390525">
                <a:moveTo>
                  <a:pt x="542513" y="380969"/>
                </a:moveTo>
                <a:lnTo>
                  <a:pt x="537941" y="380969"/>
                </a:lnTo>
                <a:lnTo>
                  <a:pt x="533369" y="385541"/>
                </a:lnTo>
                <a:lnTo>
                  <a:pt x="542513" y="385541"/>
                </a:lnTo>
                <a:lnTo>
                  <a:pt x="542513" y="380969"/>
                </a:lnTo>
                <a:close/>
              </a:path>
              <a:path w="542925" h="3905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542925" h="390525">
                <a:moveTo>
                  <a:pt x="533369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533369" y="9144"/>
                </a:lnTo>
                <a:lnTo>
                  <a:pt x="533369" y="4572"/>
                </a:lnTo>
                <a:close/>
              </a:path>
              <a:path w="542925" h="390525">
                <a:moveTo>
                  <a:pt x="542513" y="4572"/>
                </a:moveTo>
                <a:lnTo>
                  <a:pt x="533369" y="4572"/>
                </a:lnTo>
                <a:lnTo>
                  <a:pt x="537941" y="9144"/>
                </a:lnTo>
                <a:lnTo>
                  <a:pt x="542513" y="9144"/>
                </a:lnTo>
                <a:lnTo>
                  <a:pt x="54251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6297168" y="4090598"/>
            <a:ext cx="542925" cy="390525"/>
          </a:xfrm>
          <a:custGeom>
            <a:avLst/>
            <a:gdLst/>
            <a:ahLst/>
            <a:cxnLst/>
            <a:rect l="l" t="t" r="r" b="b"/>
            <a:pathLst>
              <a:path w="542925" h="390525">
                <a:moveTo>
                  <a:pt x="542483" y="0"/>
                </a:moveTo>
                <a:lnTo>
                  <a:pt x="0" y="0"/>
                </a:lnTo>
                <a:lnTo>
                  <a:pt x="0" y="390113"/>
                </a:lnTo>
                <a:lnTo>
                  <a:pt x="542483" y="390113"/>
                </a:lnTo>
                <a:lnTo>
                  <a:pt x="542483" y="385541"/>
                </a:lnTo>
                <a:lnTo>
                  <a:pt x="9144" y="385541"/>
                </a:lnTo>
                <a:lnTo>
                  <a:pt x="4572" y="380969"/>
                </a:lnTo>
                <a:lnTo>
                  <a:pt x="9144" y="380969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542483" y="4572"/>
                </a:lnTo>
                <a:lnTo>
                  <a:pt x="542483" y="0"/>
                </a:lnTo>
                <a:close/>
              </a:path>
              <a:path w="542925" h="390525">
                <a:moveTo>
                  <a:pt x="9144" y="380969"/>
                </a:moveTo>
                <a:lnTo>
                  <a:pt x="4572" y="380969"/>
                </a:lnTo>
                <a:lnTo>
                  <a:pt x="9144" y="385541"/>
                </a:lnTo>
                <a:lnTo>
                  <a:pt x="9144" y="380969"/>
                </a:lnTo>
                <a:close/>
              </a:path>
              <a:path w="542925" h="390525">
                <a:moveTo>
                  <a:pt x="533339" y="380969"/>
                </a:moveTo>
                <a:lnTo>
                  <a:pt x="9144" y="380969"/>
                </a:lnTo>
                <a:lnTo>
                  <a:pt x="9144" y="385541"/>
                </a:lnTo>
                <a:lnTo>
                  <a:pt x="533339" y="385541"/>
                </a:lnTo>
                <a:lnTo>
                  <a:pt x="533339" y="380969"/>
                </a:lnTo>
                <a:close/>
              </a:path>
              <a:path w="542925" h="390525">
                <a:moveTo>
                  <a:pt x="533339" y="4572"/>
                </a:moveTo>
                <a:lnTo>
                  <a:pt x="533339" y="385541"/>
                </a:lnTo>
                <a:lnTo>
                  <a:pt x="537911" y="380969"/>
                </a:lnTo>
                <a:lnTo>
                  <a:pt x="542483" y="380969"/>
                </a:lnTo>
                <a:lnTo>
                  <a:pt x="542483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2925" h="390525">
                <a:moveTo>
                  <a:pt x="542483" y="380969"/>
                </a:moveTo>
                <a:lnTo>
                  <a:pt x="537911" y="380969"/>
                </a:lnTo>
                <a:lnTo>
                  <a:pt x="533339" y="385541"/>
                </a:lnTo>
                <a:lnTo>
                  <a:pt x="542483" y="385541"/>
                </a:lnTo>
                <a:lnTo>
                  <a:pt x="542483" y="380969"/>
                </a:lnTo>
                <a:close/>
              </a:path>
              <a:path w="542925" h="3905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542925" h="390525">
                <a:moveTo>
                  <a:pt x="533339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2925" h="390525">
                <a:moveTo>
                  <a:pt x="542483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2483" y="9144"/>
                </a:lnTo>
                <a:lnTo>
                  <a:pt x="54248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7059107" y="4090598"/>
            <a:ext cx="542925" cy="390525"/>
          </a:xfrm>
          <a:custGeom>
            <a:avLst/>
            <a:gdLst/>
            <a:ahLst/>
            <a:cxnLst/>
            <a:rect l="l" t="t" r="r" b="b"/>
            <a:pathLst>
              <a:path w="542925" h="390525">
                <a:moveTo>
                  <a:pt x="542483" y="0"/>
                </a:moveTo>
                <a:lnTo>
                  <a:pt x="0" y="0"/>
                </a:lnTo>
                <a:lnTo>
                  <a:pt x="0" y="390113"/>
                </a:lnTo>
                <a:lnTo>
                  <a:pt x="542483" y="390113"/>
                </a:lnTo>
                <a:lnTo>
                  <a:pt x="542483" y="385541"/>
                </a:lnTo>
                <a:lnTo>
                  <a:pt x="9144" y="385541"/>
                </a:lnTo>
                <a:lnTo>
                  <a:pt x="4572" y="380969"/>
                </a:lnTo>
                <a:lnTo>
                  <a:pt x="9144" y="380969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542483" y="4572"/>
                </a:lnTo>
                <a:lnTo>
                  <a:pt x="542483" y="0"/>
                </a:lnTo>
                <a:close/>
              </a:path>
              <a:path w="542925" h="390525">
                <a:moveTo>
                  <a:pt x="9144" y="380969"/>
                </a:moveTo>
                <a:lnTo>
                  <a:pt x="4572" y="380969"/>
                </a:lnTo>
                <a:lnTo>
                  <a:pt x="9144" y="385541"/>
                </a:lnTo>
                <a:lnTo>
                  <a:pt x="9144" y="380969"/>
                </a:lnTo>
                <a:close/>
              </a:path>
              <a:path w="542925" h="390525">
                <a:moveTo>
                  <a:pt x="533339" y="380969"/>
                </a:moveTo>
                <a:lnTo>
                  <a:pt x="9144" y="380969"/>
                </a:lnTo>
                <a:lnTo>
                  <a:pt x="9144" y="385541"/>
                </a:lnTo>
                <a:lnTo>
                  <a:pt x="533339" y="385541"/>
                </a:lnTo>
                <a:lnTo>
                  <a:pt x="533339" y="380969"/>
                </a:lnTo>
                <a:close/>
              </a:path>
              <a:path w="542925" h="390525">
                <a:moveTo>
                  <a:pt x="533339" y="4572"/>
                </a:moveTo>
                <a:lnTo>
                  <a:pt x="533339" y="385541"/>
                </a:lnTo>
                <a:lnTo>
                  <a:pt x="537911" y="380969"/>
                </a:lnTo>
                <a:lnTo>
                  <a:pt x="542483" y="380969"/>
                </a:lnTo>
                <a:lnTo>
                  <a:pt x="542483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2925" h="390525">
                <a:moveTo>
                  <a:pt x="542483" y="380969"/>
                </a:moveTo>
                <a:lnTo>
                  <a:pt x="537911" y="380969"/>
                </a:lnTo>
                <a:lnTo>
                  <a:pt x="533339" y="385541"/>
                </a:lnTo>
                <a:lnTo>
                  <a:pt x="542483" y="385541"/>
                </a:lnTo>
                <a:lnTo>
                  <a:pt x="542483" y="380969"/>
                </a:lnTo>
                <a:close/>
              </a:path>
              <a:path w="542925" h="3905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542925" h="390525">
                <a:moveTo>
                  <a:pt x="533339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2925" h="390525">
                <a:moveTo>
                  <a:pt x="542483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2483" y="9144"/>
                </a:lnTo>
                <a:lnTo>
                  <a:pt x="54248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7821046" y="4090598"/>
            <a:ext cx="542925" cy="390525"/>
          </a:xfrm>
          <a:custGeom>
            <a:avLst/>
            <a:gdLst/>
            <a:ahLst/>
            <a:cxnLst/>
            <a:rect l="l" t="t" r="r" b="b"/>
            <a:pathLst>
              <a:path w="542925" h="390525">
                <a:moveTo>
                  <a:pt x="542483" y="0"/>
                </a:moveTo>
                <a:lnTo>
                  <a:pt x="0" y="0"/>
                </a:lnTo>
                <a:lnTo>
                  <a:pt x="0" y="390113"/>
                </a:lnTo>
                <a:lnTo>
                  <a:pt x="542483" y="390113"/>
                </a:lnTo>
                <a:lnTo>
                  <a:pt x="542483" y="385541"/>
                </a:lnTo>
                <a:lnTo>
                  <a:pt x="9144" y="385541"/>
                </a:lnTo>
                <a:lnTo>
                  <a:pt x="4572" y="380969"/>
                </a:lnTo>
                <a:lnTo>
                  <a:pt x="9144" y="380969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542483" y="4572"/>
                </a:lnTo>
                <a:lnTo>
                  <a:pt x="542483" y="0"/>
                </a:lnTo>
                <a:close/>
              </a:path>
              <a:path w="542925" h="390525">
                <a:moveTo>
                  <a:pt x="9144" y="380969"/>
                </a:moveTo>
                <a:lnTo>
                  <a:pt x="4572" y="380969"/>
                </a:lnTo>
                <a:lnTo>
                  <a:pt x="9144" y="385541"/>
                </a:lnTo>
                <a:lnTo>
                  <a:pt x="9144" y="380969"/>
                </a:lnTo>
                <a:close/>
              </a:path>
              <a:path w="542925" h="390525">
                <a:moveTo>
                  <a:pt x="533339" y="380969"/>
                </a:moveTo>
                <a:lnTo>
                  <a:pt x="9144" y="380969"/>
                </a:lnTo>
                <a:lnTo>
                  <a:pt x="9144" y="385541"/>
                </a:lnTo>
                <a:lnTo>
                  <a:pt x="533339" y="385541"/>
                </a:lnTo>
                <a:lnTo>
                  <a:pt x="533339" y="380969"/>
                </a:lnTo>
                <a:close/>
              </a:path>
              <a:path w="542925" h="390525">
                <a:moveTo>
                  <a:pt x="533339" y="4572"/>
                </a:moveTo>
                <a:lnTo>
                  <a:pt x="533339" y="385541"/>
                </a:lnTo>
                <a:lnTo>
                  <a:pt x="537911" y="380969"/>
                </a:lnTo>
                <a:lnTo>
                  <a:pt x="542483" y="380969"/>
                </a:lnTo>
                <a:lnTo>
                  <a:pt x="542483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2925" h="390525">
                <a:moveTo>
                  <a:pt x="542483" y="380969"/>
                </a:moveTo>
                <a:lnTo>
                  <a:pt x="537911" y="380969"/>
                </a:lnTo>
                <a:lnTo>
                  <a:pt x="533339" y="385541"/>
                </a:lnTo>
                <a:lnTo>
                  <a:pt x="542483" y="385541"/>
                </a:lnTo>
                <a:lnTo>
                  <a:pt x="542483" y="380969"/>
                </a:lnTo>
                <a:close/>
              </a:path>
              <a:path w="542925" h="3905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542925" h="390525">
                <a:moveTo>
                  <a:pt x="533339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2925" h="390525">
                <a:moveTo>
                  <a:pt x="542483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2483" y="9144"/>
                </a:lnTo>
                <a:lnTo>
                  <a:pt x="54248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8582955" y="4090598"/>
            <a:ext cx="542925" cy="390525"/>
          </a:xfrm>
          <a:custGeom>
            <a:avLst/>
            <a:gdLst/>
            <a:ahLst/>
            <a:cxnLst/>
            <a:rect l="l" t="t" r="r" b="b"/>
            <a:pathLst>
              <a:path w="542925" h="390525">
                <a:moveTo>
                  <a:pt x="542513" y="0"/>
                </a:moveTo>
                <a:lnTo>
                  <a:pt x="0" y="0"/>
                </a:lnTo>
                <a:lnTo>
                  <a:pt x="0" y="390113"/>
                </a:lnTo>
                <a:lnTo>
                  <a:pt x="542513" y="390113"/>
                </a:lnTo>
                <a:lnTo>
                  <a:pt x="542513" y="385541"/>
                </a:lnTo>
                <a:lnTo>
                  <a:pt x="9144" y="385541"/>
                </a:lnTo>
                <a:lnTo>
                  <a:pt x="4572" y="380969"/>
                </a:lnTo>
                <a:lnTo>
                  <a:pt x="9144" y="380969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542513" y="4572"/>
                </a:lnTo>
                <a:lnTo>
                  <a:pt x="542513" y="0"/>
                </a:lnTo>
                <a:close/>
              </a:path>
              <a:path w="542925" h="390525">
                <a:moveTo>
                  <a:pt x="9144" y="380969"/>
                </a:moveTo>
                <a:lnTo>
                  <a:pt x="4572" y="380969"/>
                </a:lnTo>
                <a:lnTo>
                  <a:pt x="9144" y="385541"/>
                </a:lnTo>
                <a:lnTo>
                  <a:pt x="9144" y="380969"/>
                </a:lnTo>
                <a:close/>
              </a:path>
              <a:path w="542925" h="390525">
                <a:moveTo>
                  <a:pt x="533369" y="380969"/>
                </a:moveTo>
                <a:lnTo>
                  <a:pt x="9144" y="380969"/>
                </a:lnTo>
                <a:lnTo>
                  <a:pt x="9144" y="385541"/>
                </a:lnTo>
                <a:lnTo>
                  <a:pt x="533369" y="385541"/>
                </a:lnTo>
                <a:lnTo>
                  <a:pt x="533369" y="380969"/>
                </a:lnTo>
                <a:close/>
              </a:path>
              <a:path w="542925" h="390525">
                <a:moveTo>
                  <a:pt x="533369" y="4572"/>
                </a:moveTo>
                <a:lnTo>
                  <a:pt x="533369" y="385541"/>
                </a:lnTo>
                <a:lnTo>
                  <a:pt x="537941" y="380969"/>
                </a:lnTo>
                <a:lnTo>
                  <a:pt x="542513" y="380969"/>
                </a:lnTo>
                <a:lnTo>
                  <a:pt x="542513" y="9144"/>
                </a:lnTo>
                <a:lnTo>
                  <a:pt x="537941" y="9144"/>
                </a:lnTo>
                <a:lnTo>
                  <a:pt x="533369" y="4572"/>
                </a:lnTo>
                <a:close/>
              </a:path>
              <a:path w="542925" h="390525">
                <a:moveTo>
                  <a:pt x="542513" y="380969"/>
                </a:moveTo>
                <a:lnTo>
                  <a:pt x="537941" y="380969"/>
                </a:lnTo>
                <a:lnTo>
                  <a:pt x="533369" y="385541"/>
                </a:lnTo>
                <a:lnTo>
                  <a:pt x="542513" y="385541"/>
                </a:lnTo>
                <a:lnTo>
                  <a:pt x="542513" y="380969"/>
                </a:lnTo>
                <a:close/>
              </a:path>
              <a:path w="542925" h="3905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542925" h="390525">
                <a:moveTo>
                  <a:pt x="533369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533369" y="9144"/>
                </a:lnTo>
                <a:lnTo>
                  <a:pt x="533369" y="4572"/>
                </a:lnTo>
                <a:close/>
              </a:path>
              <a:path w="542925" h="390525">
                <a:moveTo>
                  <a:pt x="542513" y="4572"/>
                </a:moveTo>
                <a:lnTo>
                  <a:pt x="533369" y="4572"/>
                </a:lnTo>
                <a:lnTo>
                  <a:pt x="537941" y="9144"/>
                </a:lnTo>
                <a:lnTo>
                  <a:pt x="542513" y="9144"/>
                </a:lnTo>
                <a:lnTo>
                  <a:pt x="54251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42" name="object 42"/>
          <p:cNvGraphicFramePr>
            <a:graphicFrameLocks noGrp="1"/>
          </p:cNvGraphicFramePr>
          <p:nvPr/>
        </p:nvGraphicFramePr>
        <p:xfrm>
          <a:off x="950147" y="2330008"/>
          <a:ext cx="8171814" cy="265675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930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023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947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33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86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33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048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334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286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334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2860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3340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2860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533400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28600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533400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</a:tblGrid>
              <a:tr h="698448">
                <a:tc grid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ts val="2045"/>
                        </a:lnSpc>
                      </a:pPr>
                      <a:r>
                        <a:rPr sz="1800" dirty="0">
                          <a:latin typeface="Liberation Sans Narrow"/>
                          <a:cs typeface="Liberation Sans Narrow"/>
                        </a:rPr>
                        <a:t>1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ts val="2045"/>
                        </a:lnSpc>
                      </a:pPr>
                      <a:r>
                        <a:rPr sz="1800" dirty="0">
                          <a:latin typeface="Liberation Sans Narrow"/>
                          <a:cs typeface="Liberation Sans Narrow"/>
                        </a:rPr>
                        <a:t>2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ts val="2045"/>
                        </a:lnSpc>
                      </a:pPr>
                      <a:r>
                        <a:rPr sz="1800" dirty="0">
                          <a:latin typeface="Liberation Sans Narrow"/>
                          <a:cs typeface="Liberation Sans Narrow"/>
                        </a:rPr>
                        <a:t>3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ts val="2045"/>
                        </a:lnSpc>
                      </a:pPr>
                      <a:r>
                        <a:rPr sz="1800" dirty="0">
                          <a:latin typeface="Liberation Sans Narrow"/>
                          <a:cs typeface="Liberation Sans Narrow"/>
                        </a:rPr>
                        <a:t>4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ts val="2045"/>
                        </a:lnSpc>
                      </a:pPr>
                      <a:r>
                        <a:rPr sz="1800" dirty="0">
                          <a:latin typeface="Liberation Sans Narrow"/>
                          <a:cs typeface="Liberation Sans Narrow"/>
                        </a:rPr>
                        <a:t>5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ts val="2045"/>
                        </a:lnSpc>
                      </a:pPr>
                      <a:r>
                        <a:rPr sz="1800" dirty="0">
                          <a:latin typeface="Liberation Sans Narrow"/>
                          <a:cs typeface="Liberation Sans Narrow"/>
                        </a:rPr>
                        <a:t>6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ts val="2045"/>
                        </a:lnSpc>
                      </a:pPr>
                      <a:r>
                        <a:rPr sz="1800" dirty="0">
                          <a:latin typeface="Liberation Sans Narrow"/>
                          <a:cs typeface="Liberation Sans Narrow"/>
                        </a:rPr>
                        <a:t>7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0975">
                <a:tc>
                  <a:txBody>
                    <a:bodyPr/>
                    <a:lstStyle/>
                    <a:p>
                      <a:pPr marL="31750">
                        <a:lnSpc>
                          <a:spcPct val="100000"/>
                        </a:lnSpc>
                        <a:spcBef>
                          <a:spcPts val="380"/>
                        </a:spcBef>
                      </a:pPr>
                      <a:r>
                        <a:rPr sz="1800" spc="-5" dirty="0">
                          <a:latin typeface="Liberation Sans Narrow"/>
                          <a:cs typeface="Liberation Sans Narrow"/>
                        </a:rPr>
                        <a:t>01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48260" marB="0"/>
                </a:tc>
                <a:tc>
                  <a:txBody>
                    <a:bodyPr/>
                    <a:lstStyle/>
                    <a:p>
                      <a:pPr marR="233679" algn="r">
                        <a:lnSpc>
                          <a:spcPct val="100000"/>
                        </a:lnSpc>
                        <a:spcBef>
                          <a:spcPts val="380"/>
                        </a:spcBef>
                      </a:pPr>
                      <a:r>
                        <a:rPr sz="1800" dirty="0">
                          <a:latin typeface="Liberation Sans Narrow"/>
                          <a:cs typeface="Liberation Sans Narrow"/>
                        </a:rPr>
                        <a:t>RO</a:t>
                      </a:r>
                      <a:r>
                        <a:rPr sz="1800" spc="-114" dirty="0">
                          <a:latin typeface="Liberation Sans Narrow"/>
                          <a:cs typeface="Liberation Sans Narrow"/>
                        </a:rPr>
                        <a:t>T</a:t>
                      </a:r>
                      <a:r>
                        <a:rPr sz="1800" dirty="0">
                          <a:latin typeface="Liberation Sans Narrow"/>
                          <a:cs typeface="Liberation Sans Narrow"/>
                        </a:rPr>
                        <a:t>A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48260" marB="0"/>
                </a:tc>
                <a:tc>
                  <a:txBody>
                    <a:bodyPr/>
                    <a:lstStyle/>
                    <a:p>
                      <a:pPr marL="241300">
                        <a:lnSpc>
                          <a:spcPct val="100000"/>
                        </a:lnSpc>
                        <a:spcBef>
                          <a:spcPts val="380"/>
                        </a:spcBef>
                      </a:pPr>
                      <a:r>
                        <a:rPr sz="1800" spc="-5" dirty="0">
                          <a:latin typeface="Liberation Sans Narrow"/>
                          <a:cs typeface="Liberation Sans Narrow"/>
                        </a:rPr>
                        <a:t>001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4826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500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EARL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3500" marB="0"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500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EARL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3500" marB="0"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500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EARL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3500" marB="0"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500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EARL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3500" marB="0"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500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EARL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3500" marB="0"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500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OFF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3500" marB="0">
                    <a:solidFill>
                      <a:srgbClr val="F4A60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500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OFF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3500" marB="0">
                    <a:solidFill>
                      <a:srgbClr val="F4A60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236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0975">
                <a:tc>
                  <a:txBody>
                    <a:bodyPr/>
                    <a:lstStyle/>
                    <a:p>
                      <a:pPr marL="31750">
                        <a:lnSpc>
                          <a:spcPct val="100000"/>
                        </a:lnSpc>
                        <a:spcBef>
                          <a:spcPts val="380"/>
                        </a:spcBef>
                      </a:pPr>
                      <a:r>
                        <a:rPr sz="1800" spc="-5" dirty="0">
                          <a:latin typeface="Liberation Sans Narrow"/>
                          <a:cs typeface="Liberation Sans Narrow"/>
                        </a:rPr>
                        <a:t>01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48260" marB="0"/>
                </a:tc>
                <a:tc>
                  <a:txBody>
                    <a:bodyPr/>
                    <a:lstStyle/>
                    <a:p>
                      <a:pPr marR="233679" algn="r">
                        <a:lnSpc>
                          <a:spcPct val="100000"/>
                        </a:lnSpc>
                        <a:spcBef>
                          <a:spcPts val="380"/>
                        </a:spcBef>
                      </a:pPr>
                      <a:r>
                        <a:rPr sz="1800" dirty="0">
                          <a:latin typeface="Liberation Sans Narrow"/>
                          <a:cs typeface="Liberation Sans Narrow"/>
                        </a:rPr>
                        <a:t>RO</a:t>
                      </a:r>
                      <a:r>
                        <a:rPr sz="1800" spc="-114" dirty="0">
                          <a:latin typeface="Liberation Sans Narrow"/>
                          <a:cs typeface="Liberation Sans Narrow"/>
                        </a:rPr>
                        <a:t>T</a:t>
                      </a:r>
                      <a:r>
                        <a:rPr sz="1800" dirty="0">
                          <a:latin typeface="Liberation Sans Narrow"/>
                          <a:cs typeface="Liberation Sans Narrow"/>
                        </a:rPr>
                        <a:t>A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48260" marB="0"/>
                </a:tc>
                <a:tc>
                  <a:txBody>
                    <a:bodyPr/>
                    <a:lstStyle/>
                    <a:p>
                      <a:pPr marL="241300">
                        <a:lnSpc>
                          <a:spcPct val="100000"/>
                        </a:lnSpc>
                        <a:spcBef>
                          <a:spcPts val="380"/>
                        </a:spcBef>
                      </a:pPr>
                      <a:r>
                        <a:rPr sz="1800" spc="-5" dirty="0">
                          <a:latin typeface="Liberation Sans Narrow"/>
                          <a:cs typeface="Liberation Sans Narrow"/>
                        </a:rPr>
                        <a:t>002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4826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500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MIDD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3500" marB="0">
                    <a:solidFill>
                      <a:srgbClr val="7F007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500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MIDD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3500" marB="0">
                    <a:solidFill>
                      <a:srgbClr val="7F007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500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MIDD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3500" marB="0">
                    <a:solidFill>
                      <a:srgbClr val="7F007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500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MIDD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3500" marB="0">
                    <a:solidFill>
                      <a:srgbClr val="7F007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500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MIDD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3500" marB="0">
                    <a:solidFill>
                      <a:srgbClr val="7F007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500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OFF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3500" marB="0">
                    <a:solidFill>
                      <a:srgbClr val="F4A60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500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OFF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3500" marB="0">
                    <a:solidFill>
                      <a:srgbClr val="F4A60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240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0963">
                <a:tc>
                  <a:txBody>
                    <a:bodyPr/>
                    <a:lstStyle/>
                    <a:p>
                      <a:pPr marL="31750">
                        <a:lnSpc>
                          <a:spcPct val="100000"/>
                        </a:lnSpc>
                        <a:spcBef>
                          <a:spcPts val="380"/>
                        </a:spcBef>
                      </a:pPr>
                      <a:r>
                        <a:rPr sz="1800" spc="-5" dirty="0">
                          <a:latin typeface="Liberation Sans Narrow"/>
                          <a:cs typeface="Liberation Sans Narrow"/>
                        </a:rPr>
                        <a:t>01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48260" marB="0"/>
                </a:tc>
                <a:tc>
                  <a:txBody>
                    <a:bodyPr/>
                    <a:lstStyle/>
                    <a:p>
                      <a:pPr marR="233679" algn="r">
                        <a:lnSpc>
                          <a:spcPct val="100000"/>
                        </a:lnSpc>
                        <a:spcBef>
                          <a:spcPts val="380"/>
                        </a:spcBef>
                      </a:pPr>
                      <a:r>
                        <a:rPr sz="1800" dirty="0">
                          <a:latin typeface="Liberation Sans Narrow"/>
                          <a:cs typeface="Liberation Sans Narrow"/>
                        </a:rPr>
                        <a:t>RO</a:t>
                      </a:r>
                      <a:r>
                        <a:rPr sz="1800" spc="-114" dirty="0">
                          <a:latin typeface="Liberation Sans Narrow"/>
                          <a:cs typeface="Liberation Sans Narrow"/>
                        </a:rPr>
                        <a:t>T</a:t>
                      </a:r>
                      <a:r>
                        <a:rPr sz="1800" dirty="0">
                          <a:latin typeface="Liberation Sans Narrow"/>
                          <a:cs typeface="Liberation Sans Narrow"/>
                        </a:rPr>
                        <a:t>A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48260" marB="0"/>
                </a:tc>
                <a:tc>
                  <a:txBody>
                    <a:bodyPr/>
                    <a:lstStyle/>
                    <a:p>
                      <a:pPr marL="241300">
                        <a:lnSpc>
                          <a:spcPct val="100000"/>
                        </a:lnSpc>
                        <a:spcBef>
                          <a:spcPts val="380"/>
                        </a:spcBef>
                      </a:pPr>
                      <a:r>
                        <a:rPr sz="1800" spc="-5" dirty="0">
                          <a:latin typeface="Liberation Sans Narrow"/>
                          <a:cs typeface="Liberation Sans Narrow"/>
                        </a:rPr>
                        <a:t>003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4826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500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NIGH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3500" marB="0">
                    <a:solidFill>
                      <a:srgbClr val="BAE0E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500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NIGH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3500" marB="0">
                    <a:solidFill>
                      <a:srgbClr val="BAE0E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500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NIGH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3500" marB="0">
                    <a:solidFill>
                      <a:srgbClr val="BAE0E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500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NIGH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3500" marB="0">
                    <a:solidFill>
                      <a:srgbClr val="BAE0E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500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NIGH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3500" marB="0">
                    <a:solidFill>
                      <a:srgbClr val="BAE0E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500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OFF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3500" marB="0">
                    <a:solidFill>
                      <a:srgbClr val="F4A60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500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OFF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3500" marB="0">
                    <a:solidFill>
                      <a:srgbClr val="F4A60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3" name="object 43"/>
          <p:cNvSpPr/>
          <p:nvPr/>
        </p:nvSpPr>
        <p:spPr>
          <a:xfrm>
            <a:off x="963609" y="4928722"/>
            <a:ext cx="8162290" cy="847725"/>
          </a:xfrm>
          <a:custGeom>
            <a:avLst/>
            <a:gdLst/>
            <a:ahLst/>
            <a:cxnLst/>
            <a:rect l="l" t="t" r="r" b="b"/>
            <a:pathLst>
              <a:path w="8162290" h="847725">
                <a:moveTo>
                  <a:pt x="8161858" y="0"/>
                </a:moveTo>
                <a:lnTo>
                  <a:pt x="0" y="0"/>
                </a:lnTo>
                <a:lnTo>
                  <a:pt x="0" y="847273"/>
                </a:lnTo>
                <a:lnTo>
                  <a:pt x="8161858" y="847273"/>
                </a:lnTo>
                <a:lnTo>
                  <a:pt x="8161858" y="842701"/>
                </a:lnTo>
                <a:lnTo>
                  <a:pt x="9144" y="842701"/>
                </a:lnTo>
                <a:lnTo>
                  <a:pt x="4572" y="838129"/>
                </a:lnTo>
                <a:lnTo>
                  <a:pt x="9144" y="838129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8161858" y="4572"/>
                </a:lnTo>
                <a:lnTo>
                  <a:pt x="8161858" y="0"/>
                </a:lnTo>
                <a:close/>
              </a:path>
              <a:path w="8162290" h="847725">
                <a:moveTo>
                  <a:pt x="9144" y="838129"/>
                </a:moveTo>
                <a:lnTo>
                  <a:pt x="4572" y="838129"/>
                </a:lnTo>
                <a:lnTo>
                  <a:pt x="9144" y="842701"/>
                </a:lnTo>
                <a:lnTo>
                  <a:pt x="9144" y="838129"/>
                </a:lnTo>
                <a:close/>
              </a:path>
              <a:path w="8162290" h="847725">
                <a:moveTo>
                  <a:pt x="8152714" y="838129"/>
                </a:moveTo>
                <a:lnTo>
                  <a:pt x="9144" y="838129"/>
                </a:lnTo>
                <a:lnTo>
                  <a:pt x="9144" y="842701"/>
                </a:lnTo>
                <a:lnTo>
                  <a:pt x="8152714" y="842701"/>
                </a:lnTo>
                <a:lnTo>
                  <a:pt x="8152714" y="838129"/>
                </a:lnTo>
                <a:close/>
              </a:path>
              <a:path w="8162290" h="847725">
                <a:moveTo>
                  <a:pt x="8152714" y="4572"/>
                </a:moveTo>
                <a:lnTo>
                  <a:pt x="8152714" y="842701"/>
                </a:lnTo>
                <a:lnTo>
                  <a:pt x="8157286" y="838129"/>
                </a:lnTo>
                <a:lnTo>
                  <a:pt x="8161858" y="838129"/>
                </a:lnTo>
                <a:lnTo>
                  <a:pt x="8161858" y="9144"/>
                </a:lnTo>
                <a:lnTo>
                  <a:pt x="8157286" y="9144"/>
                </a:lnTo>
                <a:lnTo>
                  <a:pt x="8152714" y="4572"/>
                </a:lnTo>
                <a:close/>
              </a:path>
              <a:path w="8162290" h="847725">
                <a:moveTo>
                  <a:pt x="8161858" y="838129"/>
                </a:moveTo>
                <a:lnTo>
                  <a:pt x="8157286" y="838129"/>
                </a:lnTo>
                <a:lnTo>
                  <a:pt x="8152714" y="842701"/>
                </a:lnTo>
                <a:lnTo>
                  <a:pt x="8161858" y="842701"/>
                </a:lnTo>
                <a:lnTo>
                  <a:pt x="8161858" y="838129"/>
                </a:lnTo>
                <a:close/>
              </a:path>
              <a:path w="8162290" h="8477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8162290" h="847725">
                <a:moveTo>
                  <a:pt x="8152714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8152714" y="9144"/>
                </a:lnTo>
                <a:lnTo>
                  <a:pt x="8152714" y="4572"/>
                </a:lnTo>
                <a:close/>
              </a:path>
              <a:path w="8162290" h="847725">
                <a:moveTo>
                  <a:pt x="8161858" y="4572"/>
                </a:moveTo>
                <a:lnTo>
                  <a:pt x="8152714" y="4572"/>
                </a:lnTo>
                <a:lnTo>
                  <a:pt x="8157286" y="9144"/>
                </a:lnTo>
                <a:lnTo>
                  <a:pt x="8161858" y="9144"/>
                </a:lnTo>
                <a:lnTo>
                  <a:pt x="8161858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 txBox="1"/>
          <p:nvPr/>
        </p:nvSpPr>
        <p:spPr>
          <a:xfrm>
            <a:off x="1045384" y="5197936"/>
            <a:ext cx="776097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When the </a:t>
            </a:r>
            <a:r>
              <a:rPr sz="1800" spc="-10" dirty="0">
                <a:latin typeface="Liberation Sans Narrow"/>
                <a:cs typeface="Liberation Sans Narrow"/>
              </a:rPr>
              <a:t>Work </a:t>
            </a:r>
            <a:r>
              <a:rPr sz="1800" spc="-5" dirty="0">
                <a:latin typeface="Liberation Sans Narrow"/>
                <a:cs typeface="Liberation Sans Narrow"/>
              </a:rPr>
              <a:t>Schedule is generated this pattern would be repeated over </a:t>
            </a:r>
            <a:r>
              <a:rPr sz="1800" dirty="0">
                <a:latin typeface="Liberation Sans Narrow"/>
                <a:cs typeface="Liberation Sans Narrow"/>
              </a:rPr>
              <a:t>a </a:t>
            </a:r>
            <a:r>
              <a:rPr sz="1800" spc="-5" dirty="0">
                <a:latin typeface="Liberation Sans Narrow"/>
                <a:cs typeface="Liberation Sans Narrow"/>
              </a:rPr>
              <a:t>period</a:t>
            </a:r>
            <a:r>
              <a:rPr sz="1800" spc="380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specified</a:t>
            </a:r>
            <a:endParaRPr sz="1800">
              <a:latin typeface="Liberation Sans Narrow"/>
              <a:cs typeface="Liberation Sans Narrow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05189" y="891425"/>
            <a:ext cx="7846695" cy="68929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200" spc="-10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Period </a:t>
            </a:r>
            <a:r>
              <a:rPr sz="2200" spc="-5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Work Schedule – Rotating Shift – Change of Shift </a:t>
            </a:r>
            <a:r>
              <a:rPr sz="2200" spc="-10" dirty="0">
                <a:latin typeface="Liberation Sans Narrow"/>
                <a:cs typeface="Liberation Sans Narrow"/>
              </a:rPr>
              <a:t>every </a:t>
            </a:r>
            <a:r>
              <a:rPr sz="2200" spc="-5" dirty="0">
                <a:latin typeface="Liberation Sans Narrow"/>
                <a:cs typeface="Liberation Sans Narrow"/>
              </a:rPr>
              <a:t>two</a:t>
            </a:r>
            <a:r>
              <a:rPr sz="2200" spc="-15" dirty="0">
                <a:latin typeface="Liberation Sans Narrow"/>
                <a:cs typeface="Liberation Sans Narrow"/>
              </a:rPr>
              <a:t> </a:t>
            </a:r>
            <a:r>
              <a:rPr sz="2200" spc="-10" dirty="0">
                <a:latin typeface="Liberation Sans Narrow"/>
                <a:cs typeface="Liberation Sans Narrow"/>
              </a:rPr>
              <a:t>days</a:t>
            </a:r>
            <a:endParaRPr sz="2200" dirty="0">
              <a:latin typeface="Liberation Sans Narrow"/>
              <a:cs typeface="Liberation Sans Narrow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943289" y="1686927"/>
            <a:ext cx="6503034" cy="51244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Arial"/>
                <a:cs typeface="Arial"/>
              </a:rPr>
              <a:t>Here the Daily Working times </a:t>
            </a:r>
            <a:r>
              <a:rPr sz="1600" dirty="0">
                <a:latin typeface="Arial"/>
                <a:cs typeface="Arial"/>
              </a:rPr>
              <a:t>is </a:t>
            </a:r>
            <a:r>
              <a:rPr sz="1600" spc="-5" dirty="0">
                <a:latin typeface="Arial"/>
                <a:cs typeface="Arial"/>
              </a:rPr>
              <a:t>changing every </a:t>
            </a:r>
            <a:r>
              <a:rPr sz="1600" spc="-10" dirty="0">
                <a:latin typeface="Arial"/>
                <a:cs typeface="Arial"/>
              </a:rPr>
              <a:t>two </a:t>
            </a:r>
            <a:r>
              <a:rPr sz="1600" spc="-5" dirty="0">
                <a:latin typeface="Arial"/>
                <a:cs typeface="Arial"/>
              </a:rPr>
              <a:t>days. Hence the full  cycle ending with Night Shift has to be </a:t>
            </a:r>
            <a:r>
              <a:rPr sz="1600" dirty="0">
                <a:latin typeface="Arial"/>
                <a:cs typeface="Arial"/>
              </a:rPr>
              <a:t>specified. </a:t>
            </a:r>
            <a:r>
              <a:rPr sz="1600" spc="-5" dirty="0">
                <a:latin typeface="Arial"/>
                <a:cs typeface="Arial"/>
              </a:rPr>
              <a:t>001 to 006 denote</a:t>
            </a:r>
            <a:r>
              <a:rPr sz="1600" spc="10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the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943289" y="2173037"/>
            <a:ext cx="140716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00" spc="-10" dirty="0">
                <a:latin typeface="Arial"/>
                <a:cs typeface="Arial"/>
              </a:rPr>
              <a:t>week</a:t>
            </a:r>
            <a:r>
              <a:rPr sz="1600" spc="-4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numbers</a:t>
            </a:r>
            <a:r>
              <a:rPr sz="1800" spc="-5" dirty="0">
                <a:latin typeface="Arial"/>
                <a:cs typeface="Arial"/>
              </a:rPr>
              <a:t>.</a:t>
            </a:r>
            <a:endParaRPr sz="1800"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936178" y="3026938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4" h="390525">
                <a:moveTo>
                  <a:pt x="544019" y="0"/>
                </a:moveTo>
                <a:lnTo>
                  <a:pt x="0" y="0"/>
                </a:lnTo>
                <a:lnTo>
                  <a:pt x="0" y="390083"/>
                </a:lnTo>
                <a:lnTo>
                  <a:pt x="544019" y="390083"/>
                </a:lnTo>
                <a:lnTo>
                  <a:pt x="544019" y="385511"/>
                </a:lnTo>
                <a:lnTo>
                  <a:pt x="10668" y="385511"/>
                </a:lnTo>
                <a:lnTo>
                  <a:pt x="6096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6096" y="9144"/>
                </a:lnTo>
                <a:lnTo>
                  <a:pt x="10668" y="4572"/>
                </a:lnTo>
                <a:lnTo>
                  <a:pt x="544019" y="4572"/>
                </a:lnTo>
                <a:lnTo>
                  <a:pt x="544019" y="0"/>
                </a:lnTo>
                <a:close/>
              </a:path>
              <a:path w="544194" h="390525">
                <a:moveTo>
                  <a:pt x="10668" y="380969"/>
                </a:moveTo>
                <a:lnTo>
                  <a:pt x="6096" y="380969"/>
                </a:lnTo>
                <a:lnTo>
                  <a:pt x="10668" y="385511"/>
                </a:lnTo>
                <a:lnTo>
                  <a:pt x="10668" y="380969"/>
                </a:lnTo>
                <a:close/>
              </a:path>
              <a:path w="544194" h="390525">
                <a:moveTo>
                  <a:pt x="533351" y="380969"/>
                </a:moveTo>
                <a:lnTo>
                  <a:pt x="10668" y="380969"/>
                </a:lnTo>
                <a:lnTo>
                  <a:pt x="10668" y="385511"/>
                </a:lnTo>
                <a:lnTo>
                  <a:pt x="533351" y="385511"/>
                </a:lnTo>
                <a:lnTo>
                  <a:pt x="533351" y="380969"/>
                </a:lnTo>
                <a:close/>
              </a:path>
              <a:path w="544194" h="390525">
                <a:moveTo>
                  <a:pt x="533351" y="4572"/>
                </a:moveTo>
                <a:lnTo>
                  <a:pt x="533351" y="385511"/>
                </a:lnTo>
                <a:lnTo>
                  <a:pt x="539447" y="380969"/>
                </a:lnTo>
                <a:lnTo>
                  <a:pt x="544019" y="380969"/>
                </a:lnTo>
                <a:lnTo>
                  <a:pt x="544019" y="9144"/>
                </a:lnTo>
                <a:lnTo>
                  <a:pt x="539447" y="9144"/>
                </a:lnTo>
                <a:lnTo>
                  <a:pt x="533351" y="4572"/>
                </a:lnTo>
                <a:close/>
              </a:path>
              <a:path w="544194" h="390525">
                <a:moveTo>
                  <a:pt x="544019" y="380969"/>
                </a:moveTo>
                <a:lnTo>
                  <a:pt x="539447" y="380969"/>
                </a:lnTo>
                <a:lnTo>
                  <a:pt x="533351" y="385511"/>
                </a:lnTo>
                <a:lnTo>
                  <a:pt x="544019" y="385511"/>
                </a:lnTo>
                <a:lnTo>
                  <a:pt x="544019" y="380969"/>
                </a:lnTo>
                <a:close/>
              </a:path>
              <a:path w="544194" h="390525">
                <a:moveTo>
                  <a:pt x="10668" y="4572"/>
                </a:moveTo>
                <a:lnTo>
                  <a:pt x="6096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4" h="390525">
                <a:moveTo>
                  <a:pt x="533351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51" y="9144"/>
                </a:lnTo>
                <a:lnTo>
                  <a:pt x="533351" y="4572"/>
                </a:lnTo>
                <a:close/>
              </a:path>
              <a:path w="544194" h="390525">
                <a:moveTo>
                  <a:pt x="544019" y="4572"/>
                </a:moveTo>
                <a:lnTo>
                  <a:pt x="533351" y="4572"/>
                </a:lnTo>
                <a:lnTo>
                  <a:pt x="539447" y="9144"/>
                </a:lnTo>
                <a:lnTo>
                  <a:pt x="544019" y="9144"/>
                </a:lnTo>
                <a:lnTo>
                  <a:pt x="544019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850492" y="3026938"/>
            <a:ext cx="772795" cy="390525"/>
          </a:xfrm>
          <a:custGeom>
            <a:avLst/>
            <a:gdLst/>
            <a:ahLst/>
            <a:cxnLst/>
            <a:rect l="l" t="t" r="r" b="b"/>
            <a:pathLst>
              <a:path w="772794" h="390525">
                <a:moveTo>
                  <a:pt x="772610" y="0"/>
                </a:moveTo>
                <a:lnTo>
                  <a:pt x="0" y="0"/>
                </a:lnTo>
                <a:lnTo>
                  <a:pt x="0" y="390083"/>
                </a:lnTo>
                <a:lnTo>
                  <a:pt x="772610" y="390083"/>
                </a:lnTo>
                <a:lnTo>
                  <a:pt x="772610" y="385511"/>
                </a:lnTo>
                <a:lnTo>
                  <a:pt x="10668" y="385511"/>
                </a:lnTo>
                <a:lnTo>
                  <a:pt x="4572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772610" y="4572"/>
                </a:lnTo>
                <a:lnTo>
                  <a:pt x="772610" y="0"/>
                </a:lnTo>
                <a:close/>
              </a:path>
              <a:path w="772794" h="390525">
                <a:moveTo>
                  <a:pt x="10668" y="380969"/>
                </a:moveTo>
                <a:lnTo>
                  <a:pt x="4572" y="380969"/>
                </a:lnTo>
                <a:lnTo>
                  <a:pt x="10668" y="385511"/>
                </a:lnTo>
                <a:lnTo>
                  <a:pt x="10668" y="380969"/>
                </a:lnTo>
                <a:close/>
              </a:path>
              <a:path w="772794" h="390525">
                <a:moveTo>
                  <a:pt x="761942" y="380969"/>
                </a:moveTo>
                <a:lnTo>
                  <a:pt x="10668" y="380969"/>
                </a:lnTo>
                <a:lnTo>
                  <a:pt x="10668" y="385511"/>
                </a:lnTo>
                <a:lnTo>
                  <a:pt x="761942" y="385511"/>
                </a:lnTo>
                <a:lnTo>
                  <a:pt x="761942" y="380969"/>
                </a:lnTo>
                <a:close/>
              </a:path>
              <a:path w="772794" h="390525">
                <a:moveTo>
                  <a:pt x="761942" y="4572"/>
                </a:moveTo>
                <a:lnTo>
                  <a:pt x="761942" y="385511"/>
                </a:lnTo>
                <a:lnTo>
                  <a:pt x="766514" y="380969"/>
                </a:lnTo>
                <a:lnTo>
                  <a:pt x="772610" y="380969"/>
                </a:lnTo>
                <a:lnTo>
                  <a:pt x="772610" y="9144"/>
                </a:lnTo>
                <a:lnTo>
                  <a:pt x="766514" y="9144"/>
                </a:lnTo>
                <a:lnTo>
                  <a:pt x="761942" y="4572"/>
                </a:lnTo>
                <a:close/>
              </a:path>
              <a:path w="772794" h="390525">
                <a:moveTo>
                  <a:pt x="772610" y="380969"/>
                </a:moveTo>
                <a:lnTo>
                  <a:pt x="766514" y="380969"/>
                </a:lnTo>
                <a:lnTo>
                  <a:pt x="761942" y="385511"/>
                </a:lnTo>
                <a:lnTo>
                  <a:pt x="772610" y="385511"/>
                </a:lnTo>
                <a:lnTo>
                  <a:pt x="772610" y="380969"/>
                </a:lnTo>
                <a:close/>
              </a:path>
              <a:path w="772794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772794" h="390525">
                <a:moveTo>
                  <a:pt x="761942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761942" y="9144"/>
                </a:lnTo>
                <a:lnTo>
                  <a:pt x="761942" y="4572"/>
                </a:lnTo>
                <a:close/>
              </a:path>
              <a:path w="772794" h="390525">
                <a:moveTo>
                  <a:pt x="772610" y="4572"/>
                </a:moveTo>
                <a:lnTo>
                  <a:pt x="761942" y="4572"/>
                </a:lnTo>
                <a:lnTo>
                  <a:pt x="766514" y="9144"/>
                </a:lnTo>
                <a:lnTo>
                  <a:pt x="772610" y="9144"/>
                </a:lnTo>
                <a:lnTo>
                  <a:pt x="772610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2841022" y="3026938"/>
            <a:ext cx="848994" cy="390525"/>
          </a:xfrm>
          <a:custGeom>
            <a:avLst/>
            <a:gdLst/>
            <a:ahLst/>
            <a:cxnLst/>
            <a:rect l="l" t="t" r="r" b="b"/>
            <a:pathLst>
              <a:path w="848995" h="390525">
                <a:moveTo>
                  <a:pt x="848794" y="0"/>
                </a:moveTo>
                <a:lnTo>
                  <a:pt x="0" y="0"/>
                </a:lnTo>
                <a:lnTo>
                  <a:pt x="0" y="390083"/>
                </a:lnTo>
                <a:lnTo>
                  <a:pt x="848794" y="390083"/>
                </a:lnTo>
                <a:lnTo>
                  <a:pt x="848794" y="385511"/>
                </a:lnTo>
                <a:lnTo>
                  <a:pt x="10655" y="385511"/>
                </a:lnTo>
                <a:lnTo>
                  <a:pt x="4559" y="380969"/>
                </a:lnTo>
                <a:lnTo>
                  <a:pt x="10655" y="380969"/>
                </a:lnTo>
                <a:lnTo>
                  <a:pt x="10655" y="9144"/>
                </a:lnTo>
                <a:lnTo>
                  <a:pt x="4559" y="9144"/>
                </a:lnTo>
                <a:lnTo>
                  <a:pt x="10655" y="4572"/>
                </a:lnTo>
                <a:lnTo>
                  <a:pt x="848794" y="4572"/>
                </a:lnTo>
                <a:lnTo>
                  <a:pt x="848794" y="0"/>
                </a:lnTo>
                <a:close/>
              </a:path>
              <a:path w="848995" h="390525">
                <a:moveTo>
                  <a:pt x="10655" y="380969"/>
                </a:moveTo>
                <a:lnTo>
                  <a:pt x="4559" y="380969"/>
                </a:lnTo>
                <a:lnTo>
                  <a:pt x="10655" y="385511"/>
                </a:lnTo>
                <a:lnTo>
                  <a:pt x="10655" y="380969"/>
                </a:lnTo>
                <a:close/>
              </a:path>
              <a:path w="848995" h="390525">
                <a:moveTo>
                  <a:pt x="838126" y="380969"/>
                </a:moveTo>
                <a:lnTo>
                  <a:pt x="10655" y="380969"/>
                </a:lnTo>
                <a:lnTo>
                  <a:pt x="10655" y="385511"/>
                </a:lnTo>
                <a:lnTo>
                  <a:pt x="838126" y="385511"/>
                </a:lnTo>
                <a:lnTo>
                  <a:pt x="838126" y="380969"/>
                </a:lnTo>
                <a:close/>
              </a:path>
              <a:path w="848995" h="390525">
                <a:moveTo>
                  <a:pt x="838126" y="4572"/>
                </a:moveTo>
                <a:lnTo>
                  <a:pt x="838126" y="385511"/>
                </a:lnTo>
                <a:lnTo>
                  <a:pt x="842698" y="380969"/>
                </a:lnTo>
                <a:lnTo>
                  <a:pt x="848794" y="380969"/>
                </a:lnTo>
                <a:lnTo>
                  <a:pt x="848794" y="9144"/>
                </a:lnTo>
                <a:lnTo>
                  <a:pt x="842698" y="9144"/>
                </a:lnTo>
                <a:lnTo>
                  <a:pt x="838126" y="4572"/>
                </a:lnTo>
                <a:close/>
              </a:path>
              <a:path w="848995" h="390525">
                <a:moveTo>
                  <a:pt x="848794" y="380969"/>
                </a:moveTo>
                <a:lnTo>
                  <a:pt x="842698" y="380969"/>
                </a:lnTo>
                <a:lnTo>
                  <a:pt x="838126" y="385511"/>
                </a:lnTo>
                <a:lnTo>
                  <a:pt x="848794" y="385511"/>
                </a:lnTo>
                <a:lnTo>
                  <a:pt x="848794" y="380969"/>
                </a:lnTo>
                <a:close/>
              </a:path>
              <a:path w="848995" h="390525">
                <a:moveTo>
                  <a:pt x="10655" y="4572"/>
                </a:moveTo>
                <a:lnTo>
                  <a:pt x="4559" y="9144"/>
                </a:lnTo>
                <a:lnTo>
                  <a:pt x="10655" y="9144"/>
                </a:lnTo>
                <a:lnTo>
                  <a:pt x="10655" y="4572"/>
                </a:lnTo>
                <a:close/>
              </a:path>
              <a:path w="848995" h="390525">
                <a:moveTo>
                  <a:pt x="838126" y="4572"/>
                </a:moveTo>
                <a:lnTo>
                  <a:pt x="10655" y="4572"/>
                </a:lnTo>
                <a:lnTo>
                  <a:pt x="10655" y="9144"/>
                </a:lnTo>
                <a:lnTo>
                  <a:pt x="838126" y="9144"/>
                </a:lnTo>
                <a:lnTo>
                  <a:pt x="838126" y="4572"/>
                </a:lnTo>
                <a:close/>
              </a:path>
              <a:path w="848995" h="390525">
                <a:moveTo>
                  <a:pt x="848794" y="4572"/>
                </a:moveTo>
                <a:lnTo>
                  <a:pt x="838126" y="4572"/>
                </a:lnTo>
                <a:lnTo>
                  <a:pt x="842698" y="9144"/>
                </a:lnTo>
                <a:lnTo>
                  <a:pt x="848794" y="9144"/>
                </a:lnTo>
                <a:lnTo>
                  <a:pt x="848794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8631722" y="2264999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37" y="0"/>
                </a:moveTo>
                <a:lnTo>
                  <a:pt x="0" y="0"/>
                </a:lnTo>
                <a:lnTo>
                  <a:pt x="0" y="390113"/>
                </a:lnTo>
                <a:lnTo>
                  <a:pt x="544037" y="390113"/>
                </a:lnTo>
                <a:lnTo>
                  <a:pt x="544037" y="385541"/>
                </a:lnTo>
                <a:lnTo>
                  <a:pt x="10668" y="385541"/>
                </a:lnTo>
                <a:lnTo>
                  <a:pt x="4572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37" y="4572"/>
                </a:lnTo>
                <a:lnTo>
                  <a:pt x="544037" y="0"/>
                </a:lnTo>
                <a:close/>
              </a:path>
              <a:path w="544195" h="390525">
                <a:moveTo>
                  <a:pt x="10668" y="380969"/>
                </a:moveTo>
                <a:lnTo>
                  <a:pt x="4572" y="380969"/>
                </a:lnTo>
                <a:lnTo>
                  <a:pt x="10668" y="385541"/>
                </a:lnTo>
                <a:lnTo>
                  <a:pt x="10668" y="380969"/>
                </a:lnTo>
                <a:close/>
              </a:path>
              <a:path w="544195" h="390525">
                <a:moveTo>
                  <a:pt x="533369" y="380969"/>
                </a:moveTo>
                <a:lnTo>
                  <a:pt x="10668" y="380969"/>
                </a:lnTo>
                <a:lnTo>
                  <a:pt x="10668" y="385541"/>
                </a:lnTo>
                <a:lnTo>
                  <a:pt x="533369" y="385541"/>
                </a:lnTo>
                <a:lnTo>
                  <a:pt x="533369" y="380969"/>
                </a:lnTo>
                <a:close/>
              </a:path>
              <a:path w="544195" h="390525">
                <a:moveTo>
                  <a:pt x="533369" y="4572"/>
                </a:moveTo>
                <a:lnTo>
                  <a:pt x="533369" y="385541"/>
                </a:lnTo>
                <a:lnTo>
                  <a:pt x="537941" y="380969"/>
                </a:lnTo>
                <a:lnTo>
                  <a:pt x="544037" y="380969"/>
                </a:lnTo>
                <a:lnTo>
                  <a:pt x="544037" y="9144"/>
                </a:lnTo>
                <a:lnTo>
                  <a:pt x="537941" y="9144"/>
                </a:lnTo>
                <a:lnTo>
                  <a:pt x="533369" y="4572"/>
                </a:lnTo>
                <a:close/>
              </a:path>
              <a:path w="544195" h="390525">
                <a:moveTo>
                  <a:pt x="544037" y="380969"/>
                </a:moveTo>
                <a:lnTo>
                  <a:pt x="537941" y="380969"/>
                </a:lnTo>
                <a:lnTo>
                  <a:pt x="533369" y="385541"/>
                </a:lnTo>
                <a:lnTo>
                  <a:pt x="544037" y="385541"/>
                </a:lnTo>
                <a:lnTo>
                  <a:pt x="544037" y="380969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6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69" y="9144"/>
                </a:lnTo>
                <a:lnTo>
                  <a:pt x="533369" y="4572"/>
                </a:lnTo>
                <a:close/>
              </a:path>
              <a:path w="544195" h="390525">
                <a:moveTo>
                  <a:pt x="544037" y="4572"/>
                </a:moveTo>
                <a:lnTo>
                  <a:pt x="533369" y="4572"/>
                </a:lnTo>
                <a:lnTo>
                  <a:pt x="537941" y="9144"/>
                </a:lnTo>
                <a:lnTo>
                  <a:pt x="544037" y="9144"/>
                </a:lnTo>
                <a:lnTo>
                  <a:pt x="54403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8715039" y="2319337"/>
            <a:ext cx="118110" cy="2686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Liberation Sans Narrow"/>
                <a:cs typeface="Liberation Sans Narrow"/>
              </a:rPr>
              <a:t>7</a:t>
            </a:r>
            <a:endParaRPr sz="1600">
              <a:latin typeface="Liberation Sans Narrow"/>
              <a:cs typeface="Liberation Sans Narrow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7869783" y="2264999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37" y="0"/>
                </a:moveTo>
                <a:lnTo>
                  <a:pt x="0" y="0"/>
                </a:lnTo>
                <a:lnTo>
                  <a:pt x="0" y="390113"/>
                </a:lnTo>
                <a:lnTo>
                  <a:pt x="544037" y="390113"/>
                </a:lnTo>
                <a:lnTo>
                  <a:pt x="544037" y="385541"/>
                </a:lnTo>
                <a:lnTo>
                  <a:pt x="10668" y="385541"/>
                </a:lnTo>
                <a:lnTo>
                  <a:pt x="4572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37" y="4572"/>
                </a:lnTo>
                <a:lnTo>
                  <a:pt x="544037" y="0"/>
                </a:lnTo>
                <a:close/>
              </a:path>
              <a:path w="544195" h="390525">
                <a:moveTo>
                  <a:pt x="10668" y="380969"/>
                </a:moveTo>
                <a:lnTo>
                  <a:pt x="4572" y="380969"/>
                </a:lnTo>
                <a:lnTo>
                  <a:pt x="10668" y="385541"/>
                </a:lnTo>
                <a:lnTo>
                  <a:pt x="10668" y="380969"/>
                </a:lnTo>
                <a:close/>
              </a:path>
              <a:path w="544195" h="390525">
                <a:moveTo>
                  <a:pt x="533369" y="380969"/>
                </a:moveTo>
                <a:lnTo>
                  <a:pt x="10668" y="380969"/>
                </a:lnTo>
                <a:lnTo>
                  <a:pt x="10668" y="385541"/>
                </a:lnTo>
                <a:lnTo>
                  <a:pt x="533369" y="385541"/>
                </a:lnTo>
                <a:lnTo>
                  <a:pt x="533369" y="380969"/>
                </a:lnTo>
                <a:close/>
              </a:path>
              <a:path w="544195" h="390525">
                <a:moveTo>
                  <a:pt x="533369" y="4572"/>
                </a:moveTo>
                <a:lnTo>
                  <a:pt x="533369" y="385541"/>
                </a:lnTo>
                <a:lnTo>
                  <a:pt x="537941" y="380969"/>
                </a:lnTo>
                <a:lnTo>
                  <a:pt x="544037" y="380969"/>
                </a:lnTo>
                <a:lnTo>
                  <a:pt x="544037" y="9144"/>
                </a:lnTo>
                <a:lnTo>
                  <a:pt x="537941" y="9144"/>
                </a:lnTo>
                <a:lnTo>
                  <a:pt x="533369" y="4572"/>
                </a:lnTo>
                <a:close/>
              </a:path>
              <a:path w="544195" h="390525">
                <a:moveTo>
                  <a:pt x="544037" y="380969"/>
                </a:moveTo>
                <a:lnTo>
                  <a:pt x="537941" y="380969"/>
                </a:lnTo>
                <a:lnTo>
                  <a:pt x="533369" y="385541"/>
                </a:lnTo>
                <a:lnTo>
                  <a:pt x="544037" y="385541"/>
                </a:lnTo>
                <a:lnTo>
                  <a:pt x="544037" y="380969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6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69" y="9144"/>
                </a:lnTo>
                <a:lnTo>
                  <a:pt x="533369" y="4572"/>
                </a:lnTo>
                <a:close/>
              </a:path>
              <a:path w="544195" h="390525">
                <a:moveTo>
                  <a:pt x="544037" y="4572"/>
                </a:moveTo>
                <a:lnTo>
                  <a:pt x="533369" y="4572"/>
                </a:lnTo>
                <a:lnTo>
                  <a:pt x="537941" y="9144"/>
                </a:lnTo>
                <a:lnTo>
                  <a:pt x="544037" y="9144"/>
                </a:lnTo>
                <a:lnTo>
                  <a:pt x="54403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7953114" y="2319337"/>
            <a:ext cx="118110" cy="2686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Liberation Sans Narrow"/>
                <a:cs typeface="Liberation Sans Narrow"/>
              </a:rPr>
              <a:t>6</a:t>
            </a:r>
            <a:endParaRPr sz="1600">
              <a:latin typeface="Liberation Sans Narrow"/>
              <a:cs typeface="Liberation Sans Narrow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7107875" y="2264999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07" y="0"/>
                </a:moveTo>
                <a:lnTo>
                  <a:pt x="0" y="0"/>
                </a:lnTo>
                <a:lnTo>
                  <a:pt x="0" y="390113"/>
                </a:lnTo>
                <a:lnTo>
                  <a:pt x="544007" y="390113"/>
                </a:lnTo>
                <a:lnTo>
                  <a:pt x="544007" y="385541"/>
                </a:lnTo>
                <a:lnTo>
                  <a:pt x="10668" y="385541"/>
                </a:lnTo>
                <a:lnTo>
                  <a:pt x="4572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07" y="4572"/>
                </a:lnTo>
                <a:lnTo>
                  <a:pt x="544007" y="0"/>
                </a:lnTo>
                <a:close/>
              </a:path>
              <a:path w="544195" h="390525">
                <a:moveTo>
                  <a:pt x="10668" y="380969"/>
                </a:moveTo>
                <a:lnTo>
                  <a:pt x="4572" y="380969"/>
                </a:lnTo>
                <a:lnTo>
                  <a:pt x="10668" y="385541"/>
                </a:lnTo>
                <a:lnTo>
                  <a:pt x="10668" y="380969"/>
                </a:lnTo>
                <a:close/>
              </a:path>
              <a:path w="544195" h="390525">
                <a:moveTo>
                  <a:pt x="533339" y="380969"/>
                </a:moveTo>
                <a:lnTo>
                  <a:pt x="10668" y="380969"/>
                </a:lnTo>
                <a:lnTo>
                  <a:pt x="10668" y="385541"/>
                </a:lnTo>
                <a:lnTo>
                  <a:pt x="533339" y="385541"/>
                </a:lnTo>
                <a:lnTo>
                  <a:pt x="533339" y="380969"/>
                </a:lnTo>
                <a:close/>
              </a:path>
              <a:path w="544195" h="390525">
                <a:moveTo>
                  <a:pt x="533339" y="4572"/>
                </a:moveTo>
                <a:lnTo>
                  <a:pt x="533339" y="385541"/>
                </a:lnTo>
                <a:lnTo>
                  <a:pt x="537911" y="380969"/>
                </a:lnTo>
                <a:lnTo>
                  <a:pt x="544007" y="380969"/>
                </a:lnTo>
                <a:lnTo>
                  <a:pt x="544007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380969"/>
                </a:moveTo>
                <a:lnTo>
                  <a:pt x="537911" y="380969"/>
                </a:lnTo>
                <a:lnTo>
                  <a:pt x="533339" y="385541"/>
                </a:lnTo>
                <a:lnTo>
                  <a:pt x="544007" y="385541"/>
                </a:lnTo>
                <a:lnTo>
                  <a:pt x="544007" y="380969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3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4007" y="9144"/>
                </a:lnTo>
                <a:lnTo>
                  <a:pt x="5440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6345936" y="2264999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07" y="0"/>
                </a:moveTo>
                <a:lnTo>
                  <a:pt x="0" y="0"/>
                </a:lnTo>
                <a:lnTo>
                  <a:pt x="0" y="390113"/>
                </a:lnTo>
                <a:lnTo>
                  <a:pt x="544007" y="390113"/>
                </a:lnTo>
                <a:lnTo>
                  <a:pt x="544007" y="385541"/>
                </a:lnTo>
                <a:lnTo>
                  <a:pt x="10668" y="385541"/>
                </a:lnTo>
                <a:lnTo>
                  <a:pt x="4572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07" y="4572"/>
                </a:lnTo>
                <a:lnTo>
                  <a:pt x="544007" y="0"/>
                </a:lnTo>
                <a:close/>
              </a:path>
              <a:path w="544195" h="390525">
                <a:moveTo>
                  <a:pt x="10668" y="380969"/>
                </a:moveTo>
                <a:lnTo>
                  <a:pt x="4572" y="380969"/>
                </a:lnTo>
                <a:lnTo>
                  <a:pt x="10668" y="385541"/>
                </a:lnTo>
                <a:lnTo>
                  <a:pt x="10668" y="380969"/>
                </a:lnTo>
                <a:close/>
              </a:path>
              <a:path w="544195" h="390525">
                <a:moveTo>
                  <a:pt x="533339" y="380969"/>
                </a:moveTo>
                <a:lnTo>
                  <a:pt x="10668" y="380969"/>
                </a:lnTo>
                <a:lnTo>
                  <a:pt x="10668" y="385541"/>
                </a:lnTo>
                <a:lnTo>
                  <a:pt x="533339" y="385541"/>
                </a:lnTo>
                <a:lnTo>
                  <a:pt x="533339" y="380969"/>
                </a:lnTo>
                <a:close/>
              </a:path>
              <a:path w="544195" h="390525">
                <a:moveTo>
                  <a:pt x="533339" y="4572"/>
                </a:moveTo>
                <a:lnTo>
                  <a:pt x="533339" y="385541"/>
                </a:lnTo>
                <a:lnTo>
                  <a:pt x="537911" y="380969"/>
                </a:lnTo>
                <a:lnTo>
                  <a:pt x="544007" y="380969"/>
                </a:lnTo>
                <a:lnTo>
                  <a:pt x="544007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380969"/>
                </a:moveTo>
                <a:lnTo>
                  <a:pt x="537911" y="380969"/>
                </a:lnTo>
                <a:lnTo>
                  <a:pt x="533339" y="385541"/>
                </a:lnTo>
                <a:lnTo>
                  <a:pt x="544007" y="385541"/>
                </a:lnTo>
                <a:lnTo>
                  <a:pt x="544007" y="380969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3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4007" y="9144"/>
                </a:lnTo>
                <a:lnTo>
                  <a:pt x="5440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5583997" y="2264999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07" y="0"/>
                </a:moveTo>
                <a:lnTo>
                  <a:pt x="0" y="0"/>
                </a:lnTo>
                <a:lnTo>
                  <a:pt x="0" y="390113"/>
                </a:lnTo>
                <a:lnTo>
                  <a:pt x="544007" y="390113"/>
                </a:lnTo>
                <a:lnTo>
                  <a:pt x="544007" y="385541"/>
                </a:lnTo>
                <a:lnTo>
                  <a:pt x="10668" y="385541"/>
                </a:lnTo>
                <a:lnTo>
                  <a:pt x="4572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07" y="4572"/>
                </a:lnTo>
                <a:lnTo>
                  <a:pt x="544007" y="0"/>
                </a:lnTo>
                <a:close/>
              </a:path>
              <a:path w="544195" h="390525">
                <a:moveTo>
                  <a:pt x="10668" y="380969"/>
                </a:moveTo>
                <a:lnTo>
                  <a:pt x="4572" y="380969"/>
                </a:lnTo>
                <a:lnTo>
                  <a:pt x="10668" y="385541"/>
                </a:lnTo>
                <a:lnTo>
                  <a:pt x="10668" y="380969"/>
                </a:lnTo>
                <a:close/>
              </a:path>
              <a:path w="544195" h="390525">
                <a:moveTo>
                  <a:pt x="533339" y="380969"/>
                </a:moveTo>
                <a:lnTo>
                  <a:pt x="10668" y="380969"/>
                </a:lnTo>
                <a:lnTo>
                  <a:pt x="10668" y="385541"/>
                </a:lnTo>
                <a:lnTo>
                  <a:pt x="533339" y="385541"/>
                </a:lnTo>
                <a:lnTo>
                  <a:pt x="533339" y="380969"/>
                </a:lnTo>
                <a:close/>
              </a:path>
              <a:path w="544195" h="390525">
                <a:moveTo>
                  <a:pt x="533339" y="4572"/>
                </a:moveTo>
                <a:lnTo>
                  <a:pt x="533339" y="385541"/>
                </a:lnTo>
                <a:lnTo>
                  <a:pt x="537911" y="380969"/>
                </a:lnTo>
                <a:lnTo>
                  <a:pt x="544007" y="380969"/>
                </a:lnTo>
                <a:lnTo>
                  <a:pt x="544007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380969"/>
                </a:moveTo>
                <a:lnTo>
                  <a:pt x="537911" y="380969"/>
                </a:lnTo>
                <a:lnTo>
                  <a:pt x="533339" y="385541"/>
                </a:lnTo>
                <a:lnTo>
                  <a:pt x="544007" y="385541"/>
                </a:lnTo>
                <a:lnTo>
                  <a:pt x="544007" y="380969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3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4007" y="9144"/>
                </a:lnTo>
                <a:lnTo>
                  <a:pt x="5440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4745857" y="2264999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07" y="0"/>
                </a:moveTo>
                <a:lnTo>
                  <a:pt x="0" y="0"/>
                </a:lnTo>
                <a:lnTo>
                  <a:pt x="0" y="390113"/>
                </a:lnTo>
                <a:lnTo>
                  <a:pt x="544007" y="390113"/>
                </a:lnTo>
                <a:lnTo>
                  <a:pt x="544007" y="385541"/>
                </a:lnTo>
                <a:lnTo>
                  <a:pt x="10668" y="385541"/>
                </a:lnTo>
                <a:lnTo>
                  <a:pt x="4572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07" y="4572"/>
                </a:lnTo>
                <a:lnTo>
                  <a:pt x="544007" y="0"/>
                </a:lnTo>
                <a:close/>
              </a:path>
              <a:path w="544195" h="390525">
                <a:moveTo>
                  <a:pt x="10668" y="380969"/>
                </a:moveTo>
                <a:lnTo>
                  <a:pt x="4572" y="380969"/>
                </a:lnTo>
                <a:lnTo>
                  <a:pt x="10668" y="385541"/>
                </a:lnTo>
                <a:lnTo>
                  <a:pt x="10668" y="380969"/>
                </a:lnTo>
                <a:close/>
              </a:path>
              <a:path w="544195" h="390525">
                <a:moveTo>
                  <a:pt x="533339" y="380969"/>
                </a:moveTo>
                <a:lnTo>
                  <a:pt x="10668" y="380969"/>
                </a:lnTo>
                <a:lnTo>
                  <a:pt x="10668" y="385541"/>
                </a:lnTo>
                <a:lnTo>
                  <a:pt x="533339" y="385541"/>
                </a:lnTo>
                <a:lnTo>
                  <a:pt x="533339" y="380969"/>
                </a:lnTo>
                <a:close/>
              </a:path>
              <a:path w="544195" h="390525">
                <a:moveTo>
                  <a:pt x="533339" y="4572"/>
                </a:moveTo>
                <a:lnTo>
                  <a:pt x="533339" y="385541"/>
                </a:lnTo>
                <a:lnTo>
                  <a:pt x="537911" y="380969"/>
                </a:lnTo>
                <a:lnTo>
                  <a:pt x="544007" y="380969"/>
                </a:lnTo>
                <a:lnTo>
                  <a:pt x="544007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380969"/>
                </a:moveTo>
                <a:lnTo>
                  <a:pt x="537911" y="380969"/>
                </a:lnTo>
                <a:lnTo>
                  <a:pt x="533339" y="385541"/>
                </a:lnTo>
                <a:lnTo>
                  <a:pt x="544007" y="385541"/>
                </a:lnTo>
                <a:lnTo>
                  <a:pt x="544007" y="380969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3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4007" y="9144"/>
                </a:lnTo>
                <a:lnTo>
                  <a:pt x="5440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3983918" y="2264999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37" y="0"/>
                </a:moveTo>
                <a:lnTo>
                  <a:pt x="0" y="0"/>
                </a:lnTo>
                <a:lnTo>
                  <a:pt x="0" y="390113"/>
                </a:lnTo>
                <a:lnTo>
                  <a:pt x="544037" y="390113"/>
                </a:lnTo>
                <a:lnTo>
                  <a:pt x="544037" y="385541"/>
                </a:lnTo>
                <a:lnTo>
                  <a:pt x="10668" y="385541"/>
                </a:lnTo>
                <a:lnTo>
                  <a:pt x="4572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37" y="4572"/>
                </a:lnTo>
                <a:lnTo>
                  <a:pt x="544037" y="0"/>
                </a:lnTo>
                <a:close/>
              </a:path>
              <a:path w="544195" h="390525">
                <a:moveTo>
                  <a:pt x="10668" y="380969"/>
                </a:moveTo>
                <a:lnTo>
                  <a:pt x="4572" y="380969"/>
                </a:lnTo>
                <a:lnTo>
                  <a:pt x="10668" y="385541"/>
                </a:lnTo>
                <a:lnTo>
                  <a:pt x="10668" y="380969"/>
                </a:lnTo>
                <a:close/>
              </a:path>
              <a:path w="544195" h="390525">
                <a:moveTo>
                  <a:pt x="533369" y="380969"/>
                </a:moveTo>
                <a:lnTo>
                  <a:pt x="10668" y="380969"/>
                </a:lnTo>
                <a:lnTo>
                  <a:pt x="10668" y="385541"/>
                </a:lnTo>
                <a:lnTo>
                  <a:pt x="533369" y="385541"/>
                </a:lnTo>
                <a:lnTo>
                  <a:pt x="533369" y="380969"/>
                </a:lnTo>
                <a:close/>
              </a:path>
              <a:path w="544195" h="390525">
                <a:moveTo>
                  <a:pt x="533369" y="4572"/>
                </a:moveTo>
                <a:lnTo>
                  <a:pt x="533369" y="385541"/>
                </a:lnTo>
                <a:lnTo>
                  <a:pt x="537941" y="380969"/>
                </a:lnTo>
                <a:lnTo>
                  <a:pt x="544037" y="380969"/>
                </a:lnTo>
                <a:lnTo>
                  <a:pt x="544037" y="9144"/>
                </a:lnTo>
                <a:lnTo>
                  <a:pt x="537941" y="9144"/>
                </a:lnTo>
                <a:lnTo>
                  <a:pt x="533369" y="4572"/>
                </a:lnTo>
                <a:close/>
              </a:path>
              <a:path w="544195" h="390525">
                <a:moveTo>
                  <a:pt x="544037" y="380969"/>
                </a:moveTo>
                <a:lnTo>
                  <a:pt x="537941" y="380969"/>
                </a:lnTo>
                <a:lnTo>
                  <a:pt x="533369" y="385541"/>
                </a:lnTo>
                <a:lnTo>
                  <a:pt x="544037" y="385541"/>
                </a:lnTo>
                <a:lnTo>
                  <a:pt x="544037" y="380969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6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69" y="9144"/>
                </a:lnTo>
                <a:lnTo>
                  <a:pt x="533369" y="4572"/>
                </a:lnTo>
                <a:close/>
              </a:path>
              <a:path w="544195" h="390525">
                <a:moveTo>
                  <a:pt x="544037" y="4572"/>
                </a:moveTo>
                <a:lnTo>
                  <a:pt x="533369" y="4572"/>
                </a:lnTo>
                <a:lnTo>
                  <a:pt x="537941" y="9144"/>
                </a:lnTo>
                <a:lnTo>
                  <a:pt x="544037" y="9144"/>
                </a:lnTo>
                <a:lnTo>
                  <a:pt x="54403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4067228" y="2319337"/>
            <a:ext cx="3242310" cy="2686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tabLst>
                <a:tab pos="774065" algn="l"/>
                <a:tab pos="1612265" algn="l"/>
                <a:tab pos="2374265" algn="l"/>
                <a:tab pos="3136265" algn="l"/>
              </a:tabLst>
            </a:pPr>
            <a:r>
              <a:rPr sz="1600" spc="-5" dirty="0">
                <a:latin typeface="Liberation Sans Narrow"/>
                <a:cs typeface="Liberation Sans Narrow"/>
              </a:rPr>
              <a:t>1	2	3	4	5</a:t>
            </a:r>
            <a:endParaRPr sz="1600">
              <a:latin typeface="Liberation Sans Narrow"/>
              <a:cs typeface="Liberation Sans Narrow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3983918" y="3026938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37" y="0"/>
                </a:moveTo>
                <a:lnTo>
                  <a:pt x="0" y="0"/>
                </a:lnTo>
                <a:lnTo>
                  <a:pt x="0" y="390083"/>
                </a:lnTo>
                <a:lnTo>
                  <a:pt x="544037" y="390083"/>
                </a:lnTo>
                <a:lnTo>
                  <a:pt x="544037" y="385511"/>
                </a:lnTo>
                <a:lnTo>
                  <a:pt x="10668" y="385511"/>
                </a:lnTo>
                <a:lnTo>
                  <a:pt x="4572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37" y="4572"/>
                </a:lnTo>
                <a:lnTo>
                  <a:pt x="544037" y="0"/>
                </a:lnTo>
                <a:close/>
              </a:path>
              <a:path w="544195" h="390525">
                <a:moveTo>
                  <a:pt x="10668" y="380969"/>
                </a:moveTo>
                <a:lnTo>
                  <a:pt x="4572" y="380969"/>
                </a:lnTo>
                <a:lnTo>
                  <a:pt x="10668" y="385511"/>
                </a:lnTo>
                <a:lnTo>
                  <a:pt x="10668" y="380969"/>
                </a:lnTo>
                <a:close/>
              </a:path>
              <a:path w="544195" h="390525">
                <a:moveTo>
                  <a:pt x="533369" y="380969"/>
                </a:moveTo>
                <a:lnTo>
                  <a:pt x="10668" y="380969"/>
                </a:lnTo>
                <a:lnTo>
                  <a:pt x="10668" y="385511"/>
                </a:lnTo>
                <a:lnTo>
                  <a:pt x="533369" y="385511"/>
                </a:lnTo>
                <a:lnTo>
                  <a:pt x="533369" y="380969"/>
                </a:lnTo>
                <a:close/>
              </a:path>
              <a:path w="544195" h="390525">
                <a:moveTo>
                  <a:pt x="533369" y="4572"/>
                </a:moveTo>
                <a:lnTo>
                  <a:pt x="533369" y="385511"/>
                </a:lnTo>
                <a:lnTo>
                  <a:pt x="537941" y="380969"/>
                </a:lnTo>
                <a:lnTo>
                  <a:pt x="544037" y="380969"/>
                </a:lnTo>
                <a:lnTo>
                  <a:pt x="544037" y="9144"/>
                </a:lnTo>
                <a:lnTo>
                  <a:pt x="537941" y="9144"/>
                </a:lnTo>
                <a:lnTo>
                  <a:pt x="533369" y="4572"/>
                </a:lnTo>
                <a:close/>
              </a:path>
              <a:path w="544195" h="390525">
                <a:moveTo>
                  <a:pt x="544037" y="380969"/>
                </a:moveTo>
                <a:lnTo>
                  <a:pt x="537941" y="380969"/>
                </a:lnTo>
                <a:lnTo>
                  <a:pt x="533369" y="385511"/>
                </a:lnTo>
                <a:lnTo>
                  <a:pt x="544037" y="385511"/>
                </a:lnTo>
                <a:lnTo>
                  <a:pt x="544037" y="380969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6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69" y="9144"/>
                </a:lnTo>
                <a:lnTo>
                  <a:pt x="533369" y="4572"/>
                </a:lnTo>
                <a:close/>
              </a:path>
              <a:path w="544195" h="390525">
                <a:moveTo>
                  <a:pt x="544037" y="4572"/>
                </a:moveTo>
                <a:lnTo>
                  <a:pt x="533369" y="4572"/>
                </a:lnTo>
                <a:lnTo>
                  <a:pt x="537941" y="9144"/>
                </a:lnTo>
                <a:lnTo>
                  <a:pt x="544037" y="9144"/>
                </a:lnTo>
                <a:lnTo>
                  <a:pt x="54403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583997" y="3026938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07" y="0"/>
                </a:moveTo>
                <a:lnTo>
                  <a:pt x="0" y="0"/>
                </a:lnTo>
                <a:lnTo>
                  <a:pt x="0" y="390083"/>
                </a:lnTo>
                <a:lnTo>
                  <a:pt x="544007" y="390083"/>
                </a:lnTo>
                <a:lnTo>
                  <a:pt x="544007" y="385511"/>
                </a:lnTo>
                <a:lnTo>
                  <a:pt x="10668" y="385511"/>
                </a:lnTo>
                <a:lnTo>
                  <a:pt x="4572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07" y="4572"/>
                </a:lnTo>
                <a:lnTo>
                  <a:pt x="544007" y="0"/>
                </a:lnTo>
                <a:close/>
              </a:path>
              <a:path w="544195" h="390525">
                <a:moveTo>
                  <a:pt x="10668" y="380969"/>
                </a:moveTo>
                <a:lnTo>
                  <a:pt x="4572" y="380969"/>
                </a:lnTo>
                <a:lnTo>
                  <a:pt x="10668" y="385511"/>
                </a:lnTo>
                <a:lnTo>
                  <a:pt x="10668" y="380969"/>
                </a:lnTo>
                <a:close/>
              </a:path>
              <a:path w="544195" h="390525">
                <a:moveTo>
                  <a:pt x="533339" y="380969"/>
                </a:moveTo>
                <a:lnTo>
                  <a:pt x="10668" y="380969"/>
                </a:lnTo>
                <a:lnTo>
                  <a:pt x="10668" y="385511"/>
                </a:lnTo>
                <a:lnTo>
                  <a:pt x="533339" y="385511"/>
                </a:lnTo>
                <a:lnTo>
                  <a:pt x="533339" y="380969"/>
                </a:lnTo>
                <a:close/>
              </a:path>
              <a:path w="544195" h="390525">
                <a:moveTo>
                  <a:pt x="533339" y="4572"/>
                </a:moveTo>
                <a:lnTo>
                  <a:pt x="533339" y="385511"/>
                </a:lnTo>
                <a:lnTo>
                  <a:pt x="537911" y="380969"/>
                </a:lnTo>
                <a:lnTo>
                  <a:pt x="544007" y="380969"/>
                </a:lnTo>
                <a:lnTo>
                  <a:pt x="544007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380969"/>
                </a:moveTo>
                <a:lnTo>
                  <a:pt x="537911" y="380969"/>
                </a:lnTo>
                <a:lnTo>
                  <a:pt x="533339" y="385511"/>
                </a:lnTo>
                <a:lnTo>
                  <a:pt x="544007" y="385511"/>
                </a:lnTo>
                <a:lnTo>
                  <a:pt x="544007" y="380969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3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4007" y="9144"/>
                </a:lnTo>
                <a:lnTo>
                  <a:pt x="5440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4745857" y="3026938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07" y="0"/>
                </a:moveTo>
                <a:lnTo>
                  <a:pt x="0" y="0"/>
                </a:lnTo>
                <a:lnTo>
                  <a:pt x="0" y="390083"/>
                </a:lnTo>
                <a:lnTo>
                  <a:pt x="544007" y="390083"/>
                </a:lnTo>
                <a:lnTo>
                  <a:pt x="544007" y="385511"/>
                </a:lnTo>
                <a:lnTo>
                  <a:pt x="10668" y="385511"/>
                </a:lnTo>
                <a:lnTo>
                  <a:pt x="4572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07" y="4572"/>
                </a:lnTo>
                <a:lnTo>
                  <a:pt x="544007" y="0"/>
                </a:lnTo>
                <a:close/>
              </a:path>
              <a:path w="544195" h="390525">
                <a:moveTo>
                  <a:pt x="10668" y="380969"/>
                </a:moveTo>
                <a:lnTo>
                  <a:pt x="4572" y="380969"/>
                </a:lnTo>
                <a:lnTo>
                  <a:pt x="10668" y="385511"/>
                </a:lnTo>
                <a:lnTo>
                  <a:pt x="10668" y="380969"/>
                </a:lnTo>
                <a:close/>
              </a:path>
              <a:path w="544195" h="390525">
                <a:moveTo>
                  <a:pt x="533339" y="380969"/>
                </a:moveTo>
                <a:lnTo>
                  <a:pt x="10668" y="380969"/>
                </a:lnTo>
                <a:lnTo>
                  <a:pt x="10668" y="385511"/>
                </a:lnTo>
                <a:lnTo>
                  <a:pt x="533339" y="385511"/>
                </a:lnTo>
                <a:lnTo>
                  <a:pt x="533339" y="380969"/>
                </a:lnTo>
                <a:close/>
              </a:path>
              <a:path w="544195" h="390525">
                <a:moveTo>
                  <a:pt x="533339" y="4572"/>
                </a:moveTo>
                <a:lnTo>
                  <a:pt x="533339" y="385511"/>
                </a:lnTo>
                <a:lnTo>
                  <a:pt x="537911" y="380969"/>
                </a:lnTo>
                <a:lnTo>
                  <a:pt x="544007" y="380969"/>
                </a:lnTo>
                <a:lnTo>
                  <a:pt x="544007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380969"/>
                </a:moveTo>
                <a:lnTo>
                  <a:pt x="537911" y="380969"/>
                </a:lnTo>
                <a:lnTo>
                  <a:pt x="533339" y="385511"/>
                </a:lnTo>
                <a:lnTo>
                  <a:pt x="544007" y="385511"/>
                </a:lnTo>
                <a:lnTo>
                  <a:pt x="544007" y="380969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3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4007" y="9144"/>
                </a:lnTo>
                <a:lnTo>
                  <a:pt x="5440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6345936" y="3026938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07" y="0"/>
                </a:moveTo>
                <a:lnTo>
                  <a:pt x="0" y="0"/>
                </a:lnTo>
                <a:lnTo>
                  <a:pt x="0" y="390083"/>
                </a:lnTo>
                <a:lnTo>
                  <a:pt x="544007" y="390083"/>
                </a:lnTo>
                <a:lnTo>
                  <a:pt x="544007" y="385511"/>
                </a:lnTo>
                <a:lnTo>
                  <a:pt x="10668" y="385511"/>
                </a:lnTo>
                <a:lnTo>
                  <a:pt x="4572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07" y="4572"/>
                </a:lnTo>
                <a:lnTo>
                  <a:pt x="544007" y="0"/>
                </a:lnTo>
                <a:close/>
              </a:path>
              <a:path w="544195" h="390525">
                <a:moveTo>
                  <a:pt x="10668" y="380969"/>
                </a:moveTo>
                <a:lnTo>
                  <a:pt x="4572" y="380969"/>
                </a:lnTo>
                <a:lnTo>
                  <a:pt x="10668" y="385511"/>
                </a:lnTo>
                <a:lnTo>
                  <a:pt x="10668" y="380969"/>
                </a:lnTo>
                <a:close/>
              </a:path>
              <a:path w="544195" h="390525">
                <a:moveTo>
                  <a:pt x="533339" y="380969"/>
                </a:moveTo>
                <a:lnTo>
                  <a:pt x="10668" y="380969"/>
                </a:lnTo>
                <a:lnTo>
                  <a:pt x="10668" y="385511"/>
                </a:lnTo>
                <a:lnTo>
                  <a:pt x="533339" y="385511"/>
                </a:lnTo>
                <a:lnTo>
                  <a:pt x="533339" y="380969"/>
                </a:lnTo>
                <a:close/>
              </a:path>
              <a:path w="544195" h="390525">
                <a:moveTo>
                  <a:pt x="533339" y="4572"/>
                </a:moveTo>
                <a:lnTo>
                  <a:pt x="533339" y="385511"/>
                </a:lnTo>
                <a:lnTo>
                  <a:pt x="537911" y="380969"/>
                </a:lnTo>
                <a:lnTo>
                  <a:pt x="544007" y="380969"/>
                </a:lnTo>
                <a:lnTo>
                  <a:pt x="544007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380969"/>
                </a:moveTo>
                <a:lnTo>
                  <a:pt x="537911" y="380969"/>
                </a:lnTo>
                <a:lnTo>
                  <a:pt x="533339" y="385511"/>
                </a:lnTo>
                <a:lnTo>
                  <a:pt x="544007" y="385511"/>
                </a:lnTo>
                <a:lnTo>
                  <a:pt x="544007" y="380969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3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4007" y="9144"/>
                </a:lnTo>
                <a:lnTo>
                  <a:pt x="5440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7107875" y="3026938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07" y="0"/>
                </a:moveTo>
                <a:lnTo>
                  <a:pt x="0" y="0"/>
                </a:lnTo>
                <a:lnTo>
                  <a:pt x="0" y="390083"/>
                </a:lnTo>
                <a:lnTo>
                  <a:pt x="544007" y="390083"/>
                </a:lnTo>
                <a:lnTo>
                  <a:pt x="544007" y="385511"/>
                </a:lnTo>
                <a:lnTo>
                  <a:pt x="10668" y="385511"/>
                </a:lnTo>
                <a:lnTo>
                  <a:pt x="4572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07" y="4572"/>
                </a:lnTo>
                <a:lnTo>
                  <a:pt x="544007" y="0"/>
                </a:lnTo>
                <a:close/>
              </a:path>
              <a:path w="544195" h="390525">
                <a:moveTo>
                  <a:pt x="10668" y="380969"/>
                </a:moveTo>
                <a:lnTo>
                  <a:pt x="4572" y="380969"/>
                </a:lnTo>
                <a:lnTo>
                  <a:pt x="10668" y="385511"/>
                </a:lnTo>
                <a:lnTo>
                  <a:pt x="10668" y="380969"/>
                </a:lnTo>
                <a:close/>
              </a:path>
              <a:path w="544195" h="390525">
                <a:moveTo>
                  <a:pt x="533339" y="380969"/>
                </a:moveTo>
                <a:lnTo>
                  <a:pt x="10668" y="380969"/>
                </a:lnTo>
                <a:lnTo>
                  <a:pt x="10668" y="385511"/>
                </a:lnTo>
                <a:lnTo>
                  <a:pt x="533339" y="385511"/>
                </a:lnTo>
                <a:lnTo>
                  <a:pt x="533339" y="380969"/>
                </a:lnTo>
                <a:close/>
              </a:path>
              <a:path w="544195" h="390525">
                <a:moveTo>
                  <a:pt x="533339" y="4572"/>
                </a:moveTo>
                <a:lnTo>
                  <a:pt x="533339" y="385511"/>
                </a:lnTo>
                <a:lnTo>
                  <a:pt x="537911" y="380969"/>
                </a:lnTo>
                <a:lnTo>
                  <a:pt x="544007" y="380969"/>
                </a:lnTo>
                <a:lnTo>
                  <a:pt x="544007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380969"/>
                </a:moveTo>
                <a:lnTo>
                  <a:pt x="537911" y="380969"/>
                </a:lnTo>
                <a:lnTo>
                  <a:pt x="533339" y="385511"/>
                </a:lnTo>
                <a:lnTo>
                  <a:pt x="544007" y="385511"/>
                </a:lnTo>
                <a:lnTo>
                  <a:pt x="544007" y="380969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3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4007" y="9144"/>
                </a:lnTo>
                <a:lnTo>
                  <a:pt x="5440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7869783" y="3026938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37" y="0"/>
                </a:moveTo>
                <a:lnTo>
                  <a:pt x="0" y="0"/>
                </a:lnTo>
                <a:lnTo>
                  <a:pt x="0" y="390083"/>
                </a:lnTo>
                <a:lnTo>
                  <a:pt x="544037" y="390083"/>
                </a:lnTo>
                <a:lnTo>
                  <a:pt x="544037" y="385511"/>
                </a:lnTo>
                <a:lnTo>
                  <a:pt x="10668" y="385511"/>
                </a:lnTo>
                <a:lnTo>
                  <a:pt x="4572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37" y="4572"/>
                </a:lnTo>
                <a:lnTo>
                  <a:pt x="544037" y="0"/>
                </a:lnTo>
                <a:close/>
              </a:path>
              <a:path w="544195" h="390525">
                <a:moveTo>
                  <a:pt x="10668" y="380969"/>
                </a:moveTo>
                <a:lnTo>
                  <a:pt x="4572" y="380969"/>
                </a:lnTo>
                <a:lnTo>
                  <a:pt x="10668" y="385511"/>
                </a:lnTo>
                <a:lnTo>
                  <a:pt x="10668" y="380969"/>
                </a:lnTo>
                <a:close/>
              </a:path>
              <a:path w="544195" h="390525">
                <a:moveTo>
                  <a:pt x="533369" y="380969"/>
                </a:moveTo>
                <a:lnTo>
                  <a:pt x="10668" y="380969"/>
                </a:lnTo>
                <a:lnTo>
                  <a:pt x="10668" y="385511"/>
                </a:lnTo>
                <a:lnTo>
                  <a:pt x="533369" y="385511"/>
                </a:lnTo>
                <a:lnTo>
                  <a:pt x="533369" y="380969"/>
                </a:lnTo>
                <a:close/>
              </a:path>
              <a:path w="544195" h="390525">
                <a:moveTo>
                  <a:pt x="533369" y="4572"/>
                </a:moveTo>
                <a:lnTo>
                  <a:pt x="533369" y="385511"/>
                </a:lnTo>
                <a:lnTo>
                  <a:pt x="537941" y="380969"/>
                </a:lnTo>
                <a:lnTo>
                  <a:pt x="544037" y="380969"/>
                </a:lnTo>
                <a:lnTo>
                  <a:pt x="544037" y="9144"/>
                </a:lnTo>
                <a:lnTo>
                  <a:pt x="537941" y="9144"/>
                </a:lnTo>
                <a:lnTo>
                  <a:pt x="533369" y="4572"/>
                </a:lnTo>
                <a:close/>
              </a:path>
              <a:path w="544195" h="390525">
                <a:moveTo>
                  <a:pt x="544037" y="380969"/>
                </a:moveTo>
                <a:lnTo>
                  <a:pt x="537941" y="380969"/>
                </a:lnTo>
                <a:lnTo>
                  <a:pt x="533369" y="385511"/>
                </a:lnTo>
                <a:lnTo>
                  <a:pt x="544037" y="385511"/>
                </a:lnTo>
                <a:lnTo>
                  <a:pt x="544037" y="380969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6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69" y="9144"/>
                </a:lnTo>
                <a:lnTo>
                  <a:pt x="533369" y="4572"/>
                </a:lnTo>
                <a:close/>
              </a:path>
              <a:path w="544195" h="390525">
                <a:moveTo>
                  <a:pt x="544037" y="4572"/>
                </a:moveTo>
                <a:lnTo>
                  <a:pt x="533369" y="4572"/>
                </a:lnTo>
                <a:lnTo>
                  <a:pt x="537941" y="9144"/>
                </a:lnTo>
                <a:lnTo>
                  <a:pt x="544037" y="9144"/>
                </a:lnTo>
                <a:lnTo>
                  <a:pt x="54403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8631722" y="3026938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37" y="0"/>
                </a:moveTo>
                <a:lnTo>
                  <a:pt x="0" y="0"/>
                </a:lnTo>
                <a:lnTo>
                  <a:pt x="0" y="390083"/>
                </a:lnTo>
                <a:lnTo>
                  <a:pt x="544037" y="390083"/>
                </a:lnTo>
                <a:lnTo>
                  <a:pt x="544037" y="385511"/>
                </a:lnTo>
                <a:lnTo>
                  <a:pt x="10668" y="385511"/>
                </a:lnTo>
                <a:lnTo>
                  <a:pt x="4572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37" y="4572"/>
                </a:lnTo>
                <a:lnTo>
                  <a:pt x="544037" y="0"/>
                </a:lnTo>
                <a:close/>
              </a:path>
              <a:path w="544195" h="390525">
                <a:moveTo>
                  <a:pt x="10668" y="380969"/>
                </a:moveTo>
                <a:lnTo>
                  <a:pt x="4572" y="380969"/>
                </a:lnTo>
                <a:lnTo>
                  <a:pt x="10668" y="385511"/>
                </a:lnTo>
                <a:lnTo>
                  <a:pt x="10668" y="380969"/>
                </a:lnTo>
                <a:close/>
              </a:path>
              <a:path w="544195" h="390525">
                <a:moveTo>
                  <a:pt x="533369" y="380969"/>
                </a:moveTo>
                <a:lnTo>
                  <a:pt x="10668" y="380969"/>
                </a:lnTo>
                <a:lnTo>
                  <a:pt x="10668" y="385511"/>
                </a:lnTo>
                <a:lnTo>
                  <a:pt x="533369" y="385511"/>
                </a:lnTo>
                <a:lnTo>
                  <a:pt x="533369" y="380969"/>
                </a:lnTo>
                <a:close/>
              </a:path>
              <a:path w="544195" h="390525">
                <a:moveTo>
                  <a:pt x="533369" y="4572"/>
                </a:moveTo>
                <a:lnTo>
                  <a:pt x="533369" y="385511"/>
                </a:lnTo>
                <a:lnTo>
                  <a:pt x="537941" y="380969"/>
                </a:lnTo>
                <a:lnTo>
                  <a:pt x="544037" y="380969"/>
                </a:lnTo>
                <a:lnTo>
                  <a:pt x="544037" y="9144"/>
                </a:lnTo>
                <a:lnTo>
                  <a:pt x="537941" y="9144"/>
                </a:lnTo>
                <a:lnTo>
                  <a:pt x="533369" y="4572"/>
                </a:lnTo>
                <a:close/>
              </a:path>
              <a:path w="544195" h="390525">
                <a:moveTo>
                  <a:pt x="544037" y="380969"/>
                </a:moveTo>
                <a:lnTo>
                  <a:pt x="537941" y="380969"/>
                </a:lnTo>
                <a:lnTo>
                  <a:pt x="533369" y="385511"/>
                </a:lnTo>
                <a:lnTo>
                  <a:pt x="544037" y="385511"/>
                </a:lnTo>
                <a:lnTo>
                  <a:pt x="544037" y="380969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6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69" y="9144"/>
                </a:lnTo>
                <a:lnTo>
                  <a:pt x="533369" y="4572"/>
                </a:lnTo>
                <a:close/>
              </a:path>
              <a:path w="544195" h="390525">
                <a:moveTo>
                  <a:pt x="544037" y="4572"/>
                </a:moveTo>
                <a:lnTo>
                  <a:pt x="533369" y="4572"/>
                </a:lnTo>
                <a:lnTo>
                  <a:pt x="537941" y="9144"/>
                </a:lnTo>
                <a:lnTo>
                  <a:pt x="544037" y="9144"/>
                </a:lnTo>
                <a:lnTo>
                  <a:pt x="54403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936167" y="3560279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4" h="390525">
                <a:moveTo>
                  <a:pt x="544017" y="0"/>
                </a:moveTo>
                <a:lnTo>
                  <a:pt x="533349" y="0"/>
                </a:lnTo>
                <a:lnTo>
                  <a:pt x="533349" y="9144"/>
                </a:lnTo>
                <a:lnTo>
                  <a:pt x="533349" y="332206"/>
                </a:lnTo>
                <a:lnTo>
                  <a:pt x="533349" y="380974"/>
                </a:lnTo>
                <a:lnTo>
                  <a:pt x="10668" y="380974"/>
                </a:lnTo>
                <a:lnTo>
                  <a:pt x="10668" y="332206"/>
                </a:lnTo>
                <a:lnTo>
                  <a:pt x="10668" y="9144"/>
                </a:lnTo>
                <a:lnTo>
                  <a:pt x="533349" y="9144"/>
                </a:lnTo>
                <a:lnTo>
                  <a:pt x="533349" y="0"/>
                </a:lnTo>
                <a:lnTo>
                  <a:pt x="0" y="0"/>
                </a:lnTo>
                <a:lnTo>
                  <a:pt x="0" y="332206"/>
                </a:lnTo>
                <a:lnTo>
                  <a:pt x="0" y="390118"/>
                </a:lnTo>
                <a:lnTo>
                  <a:pt x="544017" y="390118"/>
                </a:lnTo>
                <a:lnTo>
                  <a:pt x="544017" y="385546"/>
                </a:lnTo>
                <a:lnTo>
                  <a:pt x="544017" y="380974"/>
                </a:lnTo>
                <a:lnTo>
                  <a:pt x="544017" y="332206"/>
                </a:lnTo>
                <a:lnTo>
                  <a:pt x="544017" y="9144"/>
                </a:lnTo>
                <a:lnTo>
                  <a:pt x="544017" y="4572"/>
                </a:lnTo>
                <a:lnTo>
                  <a:pt x="54401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1850491" y="3560279"/>
            <a:ext cx="772795" cy="390525"/>
          </a:xfrm>
          <a:custGeom>
            <a:avLst/>
            <a:gdLst/>
            <a:ahLst/>
            <a:cxnLst/>
            <a:rect l="l" t="t" r="r" b="b"/>
            <a:pathLst>
              <a:path w="772794" h="390525">
                <a:moveTo>
                  <a:pt x="772604" y="0"/>
                </a:moveTo>
                <a:lnTo>
                  <a:pt x="761936" y="0"/>
                </a:lnTo>
                <a:lnTo>
                  <a:pt x="761936" y="9144"/>
                </a:lnTo>
                <a:lnTo>
                  <a:pt x="761936" y="332206"/>
                </a:lnTo>
                <a:lnTo>
                  <a:pt x="761936" y="380974"/>
                </a:lnTo>
                <a:lnTo>
                  <a:pt x="10668" y="380974"/>
                </a:lnTo>
                <a:lnTo>
                  <a:pt x="10668" y="332206"/>
                </a:lnTo>
                <a:lnTo>
                  <a:pt x="10668" y="9144"/>
                </a:lnTo>
                <a:lnTo>
                  <a:pt x="761936" y="9144"/>
                </a:lnTo>
                <a:lnTo>
                  <a:pt x="761936" y="0"/>
                </a:lnTo>
                <a:lnTo>
                  <a:pt x="0" y="0"/>
                </a:lnTo>
                <a:lnTo>
                  <a:pt x="0" y="332206"/>
                </a:lnTo>
                <a:lnTo>
                  <a:pt x="0" y="390118"/>
                </a:lnTo>
                <a:lnTo>
                  <a:pt x="772604" y="390118"/>
                </a:lnTo>
                <a:lnTo>
                  <a:pt x="772604" y="385546"/>
                </a:lnTo>
                <a:lnTo>
                  <a:pt x="772604" y="380974"/>
                </a:lnTo>
                <a:lnTo>
                  <a:pt x="772604" y="332206"/>
                </a:lnTo>
                <a:lnTo>
                  <a:pt x="772604" y="9144"/>
                </a:lnTo>
                <a:lnTo>
                  <a:pt x="772604" y="4572"/>
                </a:lnTo>
                <a:lnTo>
                  <a:pt x="77260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2841015" y="3560279"/>
            <a:ext cx="848994" cy="390525"/>
          </a:xfrm>
          <a:custGeom>
            <a:avLst/>
            <a:gdLst/>
            <a:ahLst/>
            <a:cxnLst/>
            <a:rect l="l" t="t" r="r" b="b"/>
            <a:pathLst>
              <a:path w="848995" h="390525">
                <a:moveTo>
                  <a:pt x="848791" y="0"/>
                </a:moveTo>
                <a:lnTo>
                  <a:pt x="838123" y="0"/>
                </a:lnTo>
                <a:lnTo>
                  <a:pt x="838123" y="9144"/>
                </a:lnTo>
                <a:lnTo>
                  <a:pt x="838123" y="332206"/>
                </a:lnTo>
                <a:lnTo>
                  <a:pt x="838123" y="380974"/>
                </a:lnTo>
                <a:lnTo>
                  <a:pt x="10655" y="380974"/>
                </a:lnTo>
                <a:lnTo>
                  <a:pt x="10655" y="332206"/>
                </a:lnTo>
                <a:lnTo>
                  <a:pt x="10655" y="9144"/>
                </a:lnTo>
                <a:lnTo>
                  <a:pt x="838123" y="9144"/>
                </a:lnTo>
                <a:lnTo>
                  <a:pt x="838123" y="0"/>
                </a:lnTo>
                <a:lnTo>
                  <a:pt x="0" y="0"/>
                </a:lnTo>
                <a:lnTo>
                  <a:pt x="0" y="332206"/>
                </a:lnTo>
                <a:lnTo>
                  <a:pt x="0" y="390118"/>
                </a:lnTo>
                <a:lnTo>
                  <a:pt x="848791" y="390118"/>
                </a:lnTo>
                <a:lnTo>
                  <a:pt x="848791" y="385546"/>
                </a:lnTo>
                <a:lnTo>
                  <a:pt x="848791" y="380974"/>
                </a:lnTo>
                <a:lnTo>
                  <a:pt x="848791" y="332206"/>
                </a:lnTo>
                <a:lnTo>
                  <a:pt x="848791" y="9144"/>
                </a:lnTo>
                <a:lnTo>
                  <a:pt x="848791" y="4572"/>
                </a:lnTo>
                <a:lnTo>
                  <a:pt x="84879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3983913" y="3560279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42" y="0"/>
                </a:moveTo>
                <a:lnTo>
                  <a:pt x="533374" y="0"/>
                </a:lnTo>
                <a:lnTo>
                  <a:pt x="533374" y="9144"/>
                </a:lnTo>
                <a:lnTo>
                  <a:pt x="533374" y="332206"/>
                </a:lnTo>
                <a:lnTo>
                  <a:pt x="533374" y="380974"/>
                </a:lnTo>
                <a:lnTo>
                  <a:pt x="10668" y="380974"/>
                </a:lnTo>
                <a:lnTo>
                  <a:pt x="10668" y="332206"/>
                </a:lnTo>
                <a:lnTo>
                  <a:pt x="10668" y="9144"/>
                </a:lnTo>
                <a:lnTo>
                  <a:pt x="533374" y="9144"/>
                </a:lnTo>
                <a:lnTo>
                  <a:pt x="533374" y="0"/>
                </a:lnTo>
                <a:lnTo>
                  <a:pt x="0" y="0"/>
                </a:lnTo>
                <a:lnTo>
                  <a:pt x="0" y="332206"/>
                </a:lnTo>
                <a:lnTo>
                  <a:pt x="0" y="390118"/>
                </a:lnTo>
                <a:lnTo>
                  <a:pt x="544042" y="390118"/>
                </a:lnTo>
                <a:lnTo>
                  <a:pt x="544042" y="385546"/>
                </a:lnTo>
                <a:lnTo>
                  <a:pt x="544042" y="380974"/>
                </a:lnTo>
                <a:lnTo>
                  <a:pt x="544042" y="332206"/>
                </a:lnTo>
                <a:lnTo>
                  <a:pt x="544042" y="9144"/>
                </a:lnTo>
                <a:lnTo>
                  <a:pt x="544042" y="4572"/>
                </a:lnTo>
                <a:lnTo>
                  <a:pt x="54404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5583987" y="3560279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17" y="0"/>
                </a:moveTo>
                <a:lnTo>
                  <a:pt x="533349" y="0"/>
                </a:lnTo>
                <a:lnTo>
                  <a:pt x="533349" y="9144"/>
                </a:lnTo>
                <a:lnTo>
                  <a:pt x="533349" y="332206"/>
                </a:lnTo>
                <a:lnTo>
                  <a:pt x="533349" y="380974"/>
                </a:lnTo>
                <a:lnTo>
                  <a:pt x="10668" y="380974"/>
                </a:lnTo>
                <a:lnTo>
                  <a:pt x="10668" y="332206"/>
                </a:lnTo>
                <a:lnTo>
                  <a:pt x="10668" y="9144"/>
                </a:lnTo>
                <a:lnTo>
                  <a:pt x="533349" y="9144"/>
                </a:lnTo>
                <a:lnTo>
                  <a:pt x="533349" y="0"/>
                </a:lnTo>
                <a:lnTo>
                  <a:pt x="0" y="0"/>
                </a:lnTo>
                <a:lnTo>
                  <a:pt x="0" y="332206"/>
                </a:lnTo>
                <a:lnTo>
                  <a:pt x="0" y="390118"/>
                </a:lnTo>
                <a:lnTo>
                  <a:pt x="544017" y="390118"/>
                </a:lnTo>
                <a:lnTo>
                  <a:pt x="544017" y="385546"/>
                </a:lnTo>
                <a:lnTo>
                  <a:pt x="544017" y="380974"/>
                </a:lnTo>
                <a:lnTo>
                  <a:pt x="544017" y="332206"/>
                </a:lnTo>
                <a:lnTo>
                  <a:pt x="544017" y="9144"/>
                </a:lnTo>
                <a:lnTo>
                  <a:pt x="544017" y="4572"/>
                </a:lnTo>
                <a:lnTo>
                  <a:pt x="54401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4745850" y="3560279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04" y="0"/>
                </a:moveTo>
                <a:lnTo>
                  <a:pt x="533336" y="0"/>
                </a:lnTo>
                <a:lnTo>
                  <a:pt x="533336" y="9144"/>
                </a:lnTo>
                <a:lnTo>
                  <a:pt x="533336" y="332206"/>
                </a:lnTo>
                <a:lnTo>
                  <a:pt x="533336" y="380974"/>
                </a:lnTo>
                <a:lnTo>
                  <a:pt x="10668" y="380974"/>
                </a:lnTo>
                <a:lnTo>
                  <a:pt x="10668" y="332206"/>
                </a:lnTo>
                <a:lnTo>
                  <a:pt x="10668" y="9144"/>
                </a:lnTo>
                <a:lnTo>
                  <a:pt x="533336" y="9144"/>
                </a:lnTo>
                <a:lnTo>
                  <a:pt x="533336" y="0"/>
                </a:lnTo>
                <a:lnTo>
                  <a:pt x="0" y="0"/>
                </a:lnTo>
                <a:lnTo>
                  <a:pt x="0" y="332206"/>
                </a:lnTo>
                <a:lnTo>
                  <a:pt x="0" y="390118"/>
                </a:lnTo>
                <a:lnTo>
                  <a:pt x="544004" y="390118"/>
                </a:lnTo>
                <a:lnTo>
                  <a:pt x="544004" y="385546"/>
                </a:lnTo>
                <a:lnTo>
                  <a:pt x="544004" y="380974"/>
                </a:lnTo>
                <a:lnTo>
                  <a:pt x="544004" y="332206"/>
                </a:lnTo>
                <a:lnTo>
                  <a:pt x="544004" y="9144"/>
                </a:lnTo>
                <a:lnTo>
                  <a:pt x="544004" y="4572"/>
                </a:lnTo>
                <a:lnTo>
                  <a:pt x="54400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6345936" y="3560279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04" y="0"/>
                </a:moveTo>
                <a:lnTo>
                  <a:pt x="533336" y="0"/>
                </a:lnTo>
                <a:lnTo>
                  <a:pt x="533336" y="9144"/>
                </a:lnTo>
                <a:lnTo>
                  <a:pt x="533336" y="332206"/>
                </a:lnTo>
                <a:lnTo>
                  <a:pt x="533336" y="380974"/>
                </a:lnTo>
                <a:lnTo>
                  <a:pt x="10668" y="380974"/>
                </a:lnTo>
                <a:lnTo>
                  <a:pt x="10668" y="332206"/>
                </a:lnTo>
                <a:lnTo>
                  <a:pt x="10668" y="9144"/>
                </a:lnTo>
                <a:lnTo>
                  <a:pt x="533336" y="9144"/>
                </a:lnTo>
                <a:lnTo>
                  <a:pt x="533336" y="0"/>
                </a:lnTo>
                <a:lnTo>
                  <a:pt x="0" y="0"/>
                </a:lnTo>
                <a:lnTo>
                  <a:pt x="0" y="332206"/>
                </a:lnTo>
                <a:lnTo>
                  <a:pt x="0" y="390118"/>
                </a:lnTo>
                <a:lnTo>
                  <a:pt x="544004" y="390118"/>
                </a:lnTo>
                <a:lnTo>
                  <a:pt x="544004" y="385546"/>
                </a:lnTo>
                <a:lnTo>
                  <a:pt x="544004" y="380974"/>
                </a:lnTo>
                <a:lnTo>
                  <a:pt x="544004" y="332206"/>
                </a:lnTo>
                <a:lnTo>
                  <a:pt x="544004" y="9144"/>
                </a:lnTo>
                <a:lnTo>
                  <a:pt x="544004" y="4572"/>
                </a:lnTo>
                <a:lnTo>
                  <a:pt x="54400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7107873" y="3560279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04" y="0"/>
                </a:moveTo>
                <a:lnTo>
                  <a:pt x="533336" y="0"/>
                </a:lnTo>
                <a:lnTo>
                  <a:pt x="533336" y="9144"/>
                </a:lnTo>
                <a:lnTo>
                  <a:pt x="533336" y="332206"/>
                </a:lnTo>
                <a:lnTo>
                  <a:pt x="533336" y="380974"/>
                </a:lnTo>
                <a:lnTo>
                  <a:pt x="10668" y="380974"/>
                </a:lnTo>
                <a:lnTo>
                  <a:pt x="10668" y="332206"/>
                </a:lnTo>
                <a:lnTo>
                  <a:pt x="10668" y="9144"/>
                </a:lnTo>
                <a:lnTo>
                  <a:pt x="533336" y="9144"/>
                </a:lnTo>
                <a:lnTo>
                  <a:pt x="533336" y="0"/>
                </a:lnTo>
                <a:lnTo>
                  <a:pt x="0" y="0"/>
                </a:lnTo>
                <a:lnTo>
                  <a:pt x="0" y="332206"/>
                </a:lnTo>
                <a:lnTo>
                  <a:pt x="0" y="390118"/>
                </a:lnTo>
                <a:lnTo>
                  <a:pt x="544004" y="390118"/>
                </a:lnTo>
                <a:lnTo>
                  <a:pt x="544004" y="385546"/>
                </a:lnTo>
                <a:lnTo>
                  <a:pt x="544004" y="380974"/>
                </a:lnTo>
                <a:lnTo>
                  <a:pt x="544004" y="332206"/>
                </a:lnTo>
                <a:lnTo>
                  <a:pt x="544004" y="9144"/>
                </a:lnTo>
                <a:lnTo>
                  <a:pt x="544004" y="4572"/>
                </a:lnTo>
                <a:lnTo>
                  <a:pt x="54400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7869783" y="3560279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29" y="0"/>
                </a:moveTo>
                <a:lnTo>
                  <a:pt x="533361" y="0"/>
                </a:lnTo>
                <a:lnTo>
                  <a:pt x="533361" y="9144"/>
                </a:lnTo>
                <a:lnTo>
                  <a:pt x="533361" y="332206"/>
                </a:lnTo>
                <a:lnTo>
                  <a:pt x="533361" y="380974"/>
                </a:lnTo>
                <a:lnTo>
                  <a:pt x="10668" y="380974"/>
                </a:lnTo>
                <a:lnTo>
                  <a:pt x="10668" y="332206"/>
                </a:lnTo>
                <a:lnTo>
                  <a:pt x="10668" y="9144"/>
                </a:lnTo>
                <a:lnTo>
                  <a:pt x="533361" y="9144"/>
                </a:lnTo>
                <a:lnTo>
                  <a:pt x="533361" y="0"/>
                </a:lnTo>
                <a:lnTo>
                  <a:pt x="0" y="0"/>
                </a:lnTo>
                <a:lnTo>
                  <a:pt x="0" y="332206"/>
                </a:lnTo>
                <a:lnTo>
                  <a:pt x="0" y="390118"/>
                </a:lnTo>
                <a:lnTo>
                  <a:pt x="544029" y="390118"/>
                </a:lnTo>
                <a:lnTo>
                  <a:pt x="544029" y="385546"/>
                </a:lnTo>
                <a:lnTo>
                  <a:pt x="544029" y="380974"/>
                </a:lnTo>
                <a:lnTo>
                  <a:pt x="544029" y="332206"/>
                </a:lnTo>
                <a:lnTo>
                  <a:pt x="544029" y="9144"/>
                </a:lnTo>
                <a:lnTo>
                  <a:pt x="544029" y="4572"/>
                </a:lnTo>
                <a:lnTo>
                  <a:pt x="54402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8631720" y="3560279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29" y="0"/>
                </a:moveTo>
                <a:lnTo>
                  <a:pt x="533361" y="0"/>
                </a:lnTo>
                <a:lnTo>
                  <a:pt x="533361" y="9144"/>
                </a:lnTo>
                <a:lnTo>
                  <a:pt x="533361" y="332206"/>
                </a:lnTo>
                <a:lnTo>
                  <a:pt x="533361" y="380974"/>
                </a:lnTo>
                <a:lnTo>
                  <a:pt x="10668" y="380974"/>
                </a:lnTo>
                <a:lnTo>
                  <a:pt x="10668" y="332206"/>
                </a:lnTo>
                <a:lnTo>
                  <a:pt x="10668" y="9144"/>
                </a:lnTo>
                <a:lnTo>
                  <a:pt x="533361" y="9144"/>
                </a:lnTo>
                <a:lnTo>
                  <a:pt x="533361" y="0"/>
                </a:lnTo>
                <a:lnTo>
                  <a:pt x="0" y="0"/>
                </a:lnTo>
                <a:lnTo>
                  <a:pt x="0" y="332206"/>
                </a:lnTo>
                <a:lnTo>
                  <a:pt x="0" y="390118"/>
                </a:lnTo>
                <a:lnTo>
                  <a:pt x="544029" y="390118"/>
                </a:lnTo>
                <a:lnTo>
                  <a:pt x="544029" y="385546"/>
                </a:lnTo>
                <a:lnTo>
                  <a:pt x="544029" y="380974"/>
                </a:lnTo>
                <a:lnTo>
                  <a:pt x="544029" y="332206"/>
                </a:lnTo>
                <a:lnTo>
                  <a:pt x="544029" y="9144"/>
                </a:lnTo>
                <a:lnTo>
                  <a:pt x="544029" y="4572"/>
                </a:lnTo>
                <a:lnTo>
                  <a:pt x="54402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936178" y="4093646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4" h="390525">
                <a:moveTo>
                  <a:pt x="544019" y="0"/>
                </a:moveTo>
                <a:lnTo>
                  <a:pt x="0" y="0"/>
                </a:lnTo>
                <a:lnTo>
                  <a:pt x="0" y="390113"/>
                </a:lnTo>
                <a:lnTo>
                  <a:pt x="544019" y="390113"/>
                </a:lnTo>
                <a:lnTo>
                  <a:pt x="544019" y="385541"/>
                </a:lnTo>
                <a:lnTo>
                  <a:pt x="10668" y="385541"/>
                </a:lnTo>
                <a:lnTo>
                  <a:pt x="6096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6096" y="9144"/>
                </a:lnTo>
                <a:lnTo>
                  <a:pt x="10668" y="4572"/>
                </a:lnTo>
                <a:lnTo>
                  <a:pt x="544019" y="4572"/>
                </a:lnTo>
                <a:lnTo>
                  <a:pt x="544019" y="0"/>
                </a:lnTo>
                <a:close/>
              </a:path>
              <a:path w="544194" h="390525">
                <a:moveTo>
                  <a:pt x="10668" y="380969"/>
                </a:moveTo>
                <a:lnTo>
                  <a:pt x="6096" y="380969"/>
                </a:lnTo>
                <a:lnTo>
                  <a:pt x="10668" y="385541"/>
                </a:lnTo>
                <a:lnTo>
                  <a:pt x="10668" y="380969"/>
                </a:lnTo>
                <a:close/>
              </a:path>
              <a:path w="544194" h="390525">
                <a:moveTo>
                  <a:pt x="533351" y="380969"/>
                </a:moveTo>
                <a:lnTo>
                  <a:pt x="10668" y="380969"/>
                </a:lnTo>
                <a:lnTo>
                  <a:pt x="10668" y="385541"/>
                </a:lnTo>
                <a:lnTo>
                  <a:pt x="533351" y="385541"/>
                </a:lnTo>
                <a:lnTo>
                  <a:pt x="533351" y="380969"/>
                </a:lnTo>
                <a:close/>
              </a:path>
              <a:path w="544194" h="390525">
                <a:moveTo>
                  <a:pt x="533351" y="4572"/>
                </a:moveTo>
                <a:lnTo>
                  <a:pt x="533351" y="385541"/>
                </a:lnTo>
                <a:lnTo>
                  <a:pt x="539447" y="380969"/>
                </a:lnTo>
                <a:lnTo>
                  <a:pt x="544019" y="380969"/>
                </a:lnTo>
                <a:lnTo>
                  <a:pt x="544019" y="9144"/>
                </a:lnTo>
                <a:lnTo>
                  <a:pt x="539447" y="9144"/>
                </a:lnTo>
                <a:lnTo>
                  <a:pt x="533351" y="4572"/>
                </a:lnTo>
                <a:close/>
              </a:path>
              <a:path w="544194" h="390525">
                <a:moveTo>
                  <a:pt x="544019" y="380969"/>
                </a:moveTo>
                <a:lnTo>
                  <a:pt x="539447" y="380969"/>
                </a:lnTo>
                <a:lnTo>
                  <a:pt x="533351" y="385541"/>
                </a:lnTo>
                <a:lnTo>
                  <a:pt x="544019" y="385541"/>
                </a:lnTo>
                <a:lnTo>
                  <a:pt x="544019" y="380969"/>
                </a:lnTo>
                <a:close/>
              </a:path>
              <a:path w="544194" h="390525">
                <a:moveTo>
                  <a:pt x="10668" y="4572"/>
                </a:moveTo>
                <a:lnTo>
                  <a:pt x="6096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4" h="390525">
                <a:moveTo>
                  <a:pt x="533351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51" y="9144"/>
                </a:lnTo>
                <a:lnTo>
                  <a:pt x="533351" y="4572"/>
                </a:lnTo>
                <a:close/>
              </a:path>
              <a:path w="544194" h="390525">
                <a:moveTo>
                  <a:pt x="544019" y="4572"/>
                </a:moveTo>
                <a:lnTo>
                  <a:pt x="533351" y="4572"/>
                </a:lnTo>
                <a:lnTo>
                  <a:pt x="539447" y="9144"/>
                </a:lnTo>
                <a:lnTo>
                  <a:pt x="544019" y="9144"/>
                </a:lnTo>
                <a:lnTo>
                  <a:pt x="544019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1850492" y="4093646"/>
            <a:ext cx="772795" cy="390525"/>
          </a:xfrm>
          <a:custGeom>
            <a:avLst/>
            <a:gdLst/>
            <a:ahLst/>
            <a:cxnLst/>
            <a:rect l="l" t="t" r="r" b="b"/>
            <a:pathLst>
              <a:path w="772794" h="390525">
                <a:moveTo>
                  <a:pt x="772610" y="0"/>
                </a:moveTo>
                <a:lnTo>
                  <a:pt x="0" y="0"/>
                </a:lnTo>
                <a:lnTo>
                  <a:pt x="0" y="390113"/>
                </a:lnTo>
                <a:lnTo>
                  <a:pt x="772610" y="390113"/>
                </a:lnTo>
                <a:lnTo>
                  <a:pt x="772610" y="385541"/>
                </a:lnTo>
                <a:lnTo>
                  <a:pt x="10668" y="385541"/>
                </a:lnTo>
                <a:lnTo>
                  <a:pt x="4572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772610" y="4572"/>
                </a:lnTo>
                <a:lnTo>
                  <a:pt x="772610" y="0"/>
                </a:lnTo>
                <a:close/>
              </a:path>
              <a:path w="772794" h="390525">
                <a:moveTo>
                  <a:pt x="10668" y="380969"/>
                </a:moveTo>
                <a:lnTo>
                  <a:pt x="4572" y="380969"/>
                </a:lnTo>
                <a:lnTo>
                  <a:pt x="10668" y="385541"/>
                </a:lnTo>
                <a:lnTo>
                  <a:pt x="10668" y="380969"/>
                </a:lnTo>
                <a:close/>
              </a:path>
              <a:path w="772794" h="390525">
                <a:moveTo>
                  <a:pt x="761942" y="380969"/>
                </a:moveTo>
                <a:lnTo>
                  <a:pt x="10668" y="380969"/>
                </a:lnTo>
                <a:lnTo>
                  <a:pt x="10668" y="385541"/>
                </a:lnTo>
                <a:lnTo>
                  <a:pt x="761942" y="385541"/>
                </a:lnTo>
                <a:lnTo>
                  <a:pt x="761942" y="380969"/>
                </a:lnTo>
                <a:close/>
              </a:path>
              <a:path w="772794" h="390525">
                <a:moveTo>
                  <a:pt x="761942" y="4572"/>
                </a:moveTo>
                <a:lnTo>
                  <a:pt x="761942" y="385541"/>
                </a:lnTo>
                <a:lnTo>
                  <a:pt x="766514" y="380969"/>
                </a:lnTo>
                <a:lnTo>
                  <a:pt x="772610" y="380969"/>
                </a:lnTo>
                <a:lnTo>
                  <a:pt x="772610" y="9144"/>
                </a:lnTo>
                <a:lnTo>
                  <a:pt x="766514" y="9144"/>
                </a:lnTo>
                <a:lnTo>
                  <a:pt x="761942" y="4572"/>
                </a:lnTo>
                <a:close/>
              </a:path>
              <a:path w="772794" h="390525">
                <a:moveTo>
                  <a:pt x="772610" y="380969"/>
                </a:moveTo>
                <a:lnTo>
                  <a:pt x="766514" y="380969"/>
                </a:lnTo>
                <a:lnTo>
                  <a:pt x="761942" y="385541"/>
                </a:lnTo>
                <a:lnTo>
                  <a:pt x="772610" y="385541"/>
                </a:lnTo>
                <a:lnTo>
                  <a:pt x="772610" y="380969"/>
                </a:lnTo>
                <a:close/>
              </a:path>
              <a:path w="772794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772794" h="390525">
                <a:moveTo>
                  <a:pt x="761942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761942" y="9144"/>
                </a:lnTo>
                <a:lnTo>
                  <a:pt x="761942" y="4572"/>
                </a:lnTo>
                <a:close/>
              </a:path>
              <a:path w="772794" h="390525">
                <a:moveTo>
                  <a:pt x="772610" y="4572"/>
                </a:moveTo>
                <a:lnTo>
                  <a:pt x="761942" y="4572"/>
                </a:lnTo>
                <a:lnTo>
                  <a:pt x="766514" y="9144"/>
                </a:lnTo>
                <a:lnTo>
                  <a:pt x="772610" y="9144"/>
                </a:lnTo>
                <a:lnTo>
                  <a:pt x="772610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2841022" y="4093646"/>
            <a:ext cx="848994" cy="390525"/>
          </a:xfrm>
          <a:custGeom>
            <a:avLst/>
            <a:gdLst/>
            <a:ahLst/>
            <a:cxnLst/>
            <a:rect l="l" t="t" r="r" b="b"/>
            <a:pathLst>
              <a:path w="848995" h="390525">
                <a:moveTo>
                  <a:pt x="848794" y="0"/>
                </a:moveTo>
                <a:lnTo>
                  <a:pt x="0" y="0"/>
                </a:lnTo>
                <a:lnTo>
                  <a:pt x="0" y="390113"/>
                </a:lnTo>
                <a:lnTo>
                  <a:pt x="848794" y="390113"/>
                </a:lnTo>
                <a:lnTo>
                  <a:pt x="848794" y="385541"/>
                </a:lnTo>
                <a:lnTo>
                  <a:pt x="10655" y="385541"/>
                </a:lnTo>
                <a:lnTo>
                  <a:pt x="4559" y="380969"/>
                </a:lnTo>
                <a:lnTo>
                  <a:pt x="10655" y="380969"/>
                </a:lnTo>
                <a:lnTo>
                  <a:pt x="10655" y="9144"/>
                </a:lnTo>
                <a:lnTo>
                  <a:pt x="4559" y="9144"/>
                </a:lnTo>
                <a:lnTo>
                  <a:pt x="10655" y="4572"/>
                </a:lnTo>
                <a:lnTo>
                  <a:pt x="848794" y="4572"/>
                </a:lnTo>
                <a:lnTo>
                  <a:pt x="848794" y="0"/>
                </a:lnTo>
                <a:close/>
              </a:path>
              <a:path w="848995" h="390525">
                <a:moveTo>
                  <a:pt x="10655" y="380969"/>
                </a:moveTo>
                <a:lnTo>
                  <a:pt x="4559" y="380969"/>
                </a:lnTo>
                <a:lnTo>
                  <a:pt x="10655" y="385541"/>
                </a:lnTo>
                <a:lnTo>
                  <a:pt x="10655" y="380969"/>
                </a:lnTo>
                <a:close/>
              </a:path>
              <a:path w="848995" h="390525">
                <a:moveTo>
                  <a:pt x="838126" y="380969"/>
                </a:moveTo>
                <a:lnTo>
                  <a:pt x="10655" y="380969"/>
                </a:lnTo>
                <a:lnTo>
                  <a:pt x="10655" y="385541"/>
                </a:lnTo>
                <a:lnTo>
                  <a:pt x="838126" y="385541"/>
                </a:lnTo>
                <a:lnTo>
                  <a:pt x="838126" y="380969"/>
                </a:lnTo>
                <a:close/>
              </a:path>
              <a:path w="848995" h="390525">
                <a:moveTo>
                  <a:pt x="838126" y="4572"/>
                </a:moveTo>
                <a:lnTo>
                  <a:pt x="838126" y="385541"/>
                </a:lnTo>
                <a:lnTo>
                  <a:pt x="842698" y="380969"/>
                </a:lnTo>
                <a:lnTo>
                  <a:pt x="848794" y="380969"/>
                </a:lnTo>
                <a:lnTo>
                  <a:pt x="848794" y="9144"/>
                </a:lnTo>
                <a:lnTo>
                  <a:pt x="842698" y="9144"/>
                </a:lnTo>
                <a:lnTo>
                  <a:pt x="838126" y="4572"/>
                </a:lnTo>
                <a:close/>
              </a:path>
              <a:path w="848995" h="390525">
                <a:moveTo>
                  <a:pt x="848794" y="380969"/>
                </a:moveTo>
                <a:lnTo>
                  <a:pt x="842698" y="380969"/>
                </a:lnTo>
                <a:lnTo>
                  <a:pt x="838126" y="385541"/>
                </a:lnTo>
                <a:lnTo>
                  <a:pt x="848794" y="385541"/>
                </a:lnTo>
                <a:lnTo>
                  <a:pt x="848794" y="380969"/>
                </a:lnTo>
                <a:close/>
              </a:path>
              <a:path w="848995" h="390525">
                <a:moveTo>
                  <a:pt x="10655" y="4572"/>
                </a:moveTo>
                <a:lnTo>
                  <a:pt x="4559" y="9144"/>
                </a:lnTo>
                <a:lnTo>
                  <a:pt x="10655" y="9144"/>
                </a:lnTo>
                <a:lnTo>
                  <a:pt x="10655" y="4572"/>
                </a:lnTo>
                <a:close/>
              </a:path>
              <a:path w="848995" h="390525">
                <a:moveTo>
                  <a:pt x="838126" y="4572"/>
                </a:moveTo>
                <a:lnTo>
                  <a:pt x="10655" y="4572"/>
                </a:lnTo>
                <a:lnTo>
                  <a:pt x="10655" y="9144"/>
                </a:lnTo>
                <a:lnTo>
                  <a:pt x="838126" y="9144"/>
                </a:lnTo>
                <a:lnTo>
                  <a:pt x="838126" y="4572"/>
                </a:lnTo>
                <a:close/>
              </a:path>
              <a:path w="848995" h="390525">
                <a:moveTo>
                  <a:pt x="848794" y="4572"/>
                </a:moveTo>
                <a:lnTo>
                  <a:pt x="838126" y="4572"/>
                </a:lnTo>
                <a:lnTo>
                  <a:pt x="842698" y="9144"/>
                </a:lnTo>
                <a:lnTo>
                  <a:pt x="848794" y="9144"/>
                </a:lnTo>
                <a:lnTo>
                  <a:pt x="848794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3983918" y="4093646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37" y="0"/>
                </a:moveTo>
                <a:lnTo>
                  <a:pt x="0" y="0"/>
                </a:lnTo>
                <a:lnTo>
                  <a:pt x="0" y="390113"/>
                </a:lnTo>
                <a:lnTo>
                  <a:pt x="544037" y="390113"/>
                </a:lnTo>
                <a:lnTo>
                  <a:pt x="544037" y="385541"/>
                </a:lnTo>
                <a:lnTo>
                  <a:pt x="10668" y="385541"/>
                </a:lnTo>
                <a:lnTo>
                  <a:pt x="4572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37" y="4572"/>
                </a:lnTo>
                <a:lnTo>
                  <a:pt x="544037" y="0"/>
                </a:lnTo>
                <a:close/>
              </a:path>
              <a:path w="544195" h="390525">
                <a:moveTo>
                  <a:pt x="10668" y="380969"/>
                </a:moveTo>
                <a:lnTo>
                  <a:pt x="4572" y="380969"/>
                </a:lnTo>
                <a:lnTo>
                  <a:pt x="10668" y="385541"/>
                </a:lnTo>
                <a:lnTo>
                  <a:pt x="10668" y="380969"/>
                </a:lnTo>
                <a:close/>
              </a:path>
              <a:path w="544195" h="390525">
                <a:moveTo>
                  <a:pt x="533369" y="380969"/>
                </a:moveTo>
                <a:lnTo>
                  <a:pt x="10668" y="380969"/>
                </a:lnTo>
                <a:lnTo>
                  <a:pt x="10668" y="385541"/>
                </a:lnTo>
                <a:lnTo>
                  <a:pt x="533369" y="385541"/>
                </a:lnTo>
                <a:lnTo>
                  <a:pt x="533369" y="380969"/>
                </a:lnTo>
                <a:close/>
              </a:path>
              <a:path w="544195" h="390525">
                <a:moveTo>
                  <a:pt x="533369" y="4572"/>
                </a:moveTo>
                <a:lnTo>
                  <a:pt x="533369" y="385541"/>
                </a:lnTo>
                <a:lnTo>
                  <a:pt x="537941" y="380969"/>
                </a:lnTo>
                <a:lnTo>
                  <a:pt x="544037" y="380969"/>
                </a:lnTo>
                <a:lnTo>
                  <a:pt x="544037" y="9144"/>
                </a:lnTo>
                <a:lnTo>
                  <a:pt x="537941" y="9144"/>
                </a:lnTo>
                <a:lnTo>
                  <a:pt x="533369" y="4572"/>
                </a:lnTo>
                <a:close/>
              </a:path>
              <a:path w="544195" h="390525">
                <a:moveTo>
                  <a:pt x="544037" y="380969"/>
                </a:moveTo>
                <a:lnTo>
                  <a:pt x="537941" y="380969"/>
                </a:lnTo>
                <a:lnTo>
                  <a:pt x="533369" y="385541"/>
                </a:lnTo>
                <a:lnTo>
                  <a:pt x="544037" y="385541"/>
                </a:lnTo>
                <a:lnTo>
                  <a:pt x="544037" y="380969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6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69" y="9144"/>
                </a:lnTo>
                <a:lnTo>
                  <a:pt x="533369" y="4572"/>
                </a:lnTo>
                <a:close/>
              </a:path>
              <a:path w="544195" h="390525">
                <a:moveTo>
                  <a:pt x="544037" y="4572"/>
                </a:moveTo>
                <a:lnTo>
                  <a:pt x="533369" y="4572"/>
                </a:lnTo>
                <a:lnTo>
                  <a:pt x="537941" y="9144"/>
                </a:lnTo>
                <a:lnTo>
                  <a:pt x="544037" y="9144"/>
                </a:lnTo>
                <a:lnTo>
                  <a:pt x="54403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5583997" y="4093646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07" y="0"/>
                </a:moveTo>
                <a:lnTo>
                  <a:pt x="0" y="0"/>
                </a:lnTo>
                <a:lnTo>
                  <a:pt x="0" y="390113"/>
                </a:lnTo>
                <a:lnTo>
                  <a:pt x="544007" y="390113"/>
                </a:lnTo>
                <a:lnTo>
                  <a:pt x="544007" y="385541"/>
                </a:lnTo>
                <a:lnTo>
                  <a:pt x="10668" y="385541"/>
                </a:lnTo>
                <a:lnTo>
                  <a:pt x="4572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07" y="4572"/>
                </a:lnTo>
                <a:lnTo>
                  <a:pt x="544007" y="0"/>
                </a:lnTo>
                <a:close/>
              </a:path>
              <a:path w="544195" h="390525">
                <a:moveTo>
                  <a:pt x="10668" y="380969"/>
                </a:moveTo>
                <a:lnTo>
                  <a:pt x="4572" y="380969"/>
                </a:lnTo>
                <a:lnTo>
                  <a:pt x="10668" y="385541"/>
                </a:lnTo>
                <a:lnTo>
                  <a:pt x="10668" y="380969"/>
                </a:lnTo>
                <a:close/>
              </a:path>
              <a:path w="544195" h="390525">
                <a:moveTo>
                  <a:pt x="533339" y="380969"/>
                </a:moveTo>
                <a:lnTo>
                  <a:pt x="10668" y="380969"/>
                </a:lnTo>
                <a:lnTo>
                  <a:pt x="10668" y="385541"/>
                </a:lnTo>
                <a:lnTo>
                  <a:pt x="533339" y="385541"/>
                </a:lnTo>
                <a:lnTo>
                  <a:pt x="533339" y="380969"/>
                </a:lnTo>
                <a:close/>
              </a:path>
              <a:path w="544195" h="390525">
                <a:moveTo>
                  <a:pt x="533339" y="4572"/>
                </a:moveTo>
                <a:lnTo>
                  <a:pt x="533339" y="385541"/>
                </a:lnTo>
                <a:lnTo>
                  <a:pt x="537911" y="380969"/>
                </a:lnTo>
                <a:lnTo>
                  <a:pt x="544007" y="380969"/>
                </a:lnTo>
                <a:lnTo>
                  <a:pt x="544007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380969"/>
                </a:moveTo>
                <a:lnTo>
                  <a:pt x="537911" y="380969"/>
                </a:lnTo>
                <a:lnTo>
                  <a:pt x="533339" y="385541"/>
                </a:lnTo>
                <a:lnTo>
                  <a:pt x="544007" y="385541"/>
                </a:lnTo>
                <a:lnTo>
                  <a:pt x="544007" y="380969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3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4007" y="9144"/>
                </a:lnTo>
                <a:lnTo>
                  <a:pt x="5440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745857" y="4093646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07" y="0"/>
                </a:moveTo>
                <a:lnTo>
                  <a:pt x="0" y="0"/>
                </a:lnTo>
                <a:lnTo>
                  <a:pt x="0" y="390113"/>
                </a:lnTo>
                <a:lnTo>
                  <a:pt x="544007" y="390113"/>
                </a:lnTo>
                <a:lnTo>
                  <a:pt x="544007" y="385541"/>
                </a:lnTo>
                <a:lnTo>
                  <a:pt x="10668" y="385541"/>
                </a:lnTo>
                <a:lnTo>
                  <a:pt x="4572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07" y="4572"/>
                </a:lnTo>
                <a:lnTo>
                  <a:pt x="544007" y="0"/>
                </a:lnTo>
                <a:close/>
              </a:path>
              <a:path w="544195" h="390525">
                <a:moveTo>
                  <a:pt x="10668" y="380969"/>
                </a:moveTo>
                <a:lnTo>
                  <a:pt x="4572" y="380969"/>
                </a:lnTo>
                <a:lnTo>
                  <a:pt x="10668" y="385541"/>
                </a:lnTo>
                <a:lnTo>
                  <a:pt x="10668" y="380969"/>
                </a:lnTo>
                <a:close/>
              </a:path>
              <a:path w="544195" h="390525">
                <a:moveTo>
                  <a:pt x="533339" y="380969"/>
                </a:moveTo>
                <a:lnTo>
                  <a:pt x="10668" y="380969"/>
                </a:lnTo>
                <a:lnTo>
                  <a:pt x="10668" y="385541"/>
                </a:lnTo>
                <a:lnTo>
                  <a:pt x="533339" y="385541"/>
                </a:lnTo>
                <a:lnTo>
                  <a:pt x="533339" y="380969"/>
                </a:lnTo>
                <a:close/>
              </a:path>
              <a:path w="544195" h="390525">
                <a:moveTo>
                  <a:pt x="533339" y="4572"/>
                </a:moveTo>
                <a:lnTo>
                  <a:pt x="533339" y="385541"/>
                </a:lnTo>
                <a:lnTo>
                  <a:pt x="537911" y="380969"/>
                </a:lnTo>
                <a:lnTo>
                  <a:pt x="544007" y="380969"/>
                </a:lnTo>
                <a:lnTo>
                  <a:pt x="544007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380969"/>
                </a:moveTo>
                <a:lnTo>
                  <a:pt x="537911" y="380969"/>
                </a:lnTo>
                <a:lnTo>
                  <a:pt x="533339" y="385541"/>
                </a:lnTo>
                <a:lnTo>
                  <a:pt x="544007" y="385541"/>
                </a:lnTo>
                <a:lnTo>
                  <a:pt x="544007" y="380969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3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4007" y="9144"/>
                </a:lnTo>
                <a:lnTo>
                  <a:pt x="5440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6345936" y="4093646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07" y="0"/>
                </a:moveTo>
                <a:lnTo>
                  <a:pt x="0" y="0"/>
                </a:lnTo>
                <a:lnTo>
                  <a:pt x="0" y="390113"/>
                </a:lnTo>
                <a:lnTo>
                  <a:pt x="544007" y="390113"/>
                </a:lnTo>
                <a:lnTo>
                  <a:pt x="544007" y="385541"/>
                </a:lnTo>
                <a:lnTo>
                  <a:pt x="10668" y="385541"/>
                </a:lnTo>
                <a:lnTo>
                  <a:pt x="4572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07" y="4572"/>
                </a:lnTo>
                <a:lnTo>
                  <a:pt x="544007" y="0"/>
                </a:lnTo>
                <a:close/>
              </a:path>
              <a:path w="544195" h="390525">
                <a:moveTo>
                  <a:pt x="10668" y="380969"/>
                </a:moveTo>
                <a:lnTo>
                  <a:pt x="4572" y="380969"/>
                </a:lnTo>
                <a:lnTo>
                  <a:pt x="10668" y="385541"/>
                </a:lnTo>
                <a:lnTo>
                  <a:pt x="10668" y="380969"/>
                </a:lnTo>
                <a:close/>
              </a:path>
              <a:path w="544195" h="390525">
                <a:moveTo>
                  <a:pt x="533339" y="380969"/>
                </a:moveTo>
                <a:lnTo>
                  <a:pt x="10668" y="380969"/>
                </a:lnTo>
                <a:lnTo>
                  <a:pt x="10668" y="385541"/>
                </a:lnTo>
                <a:lnTo>
                  <a:pt x="533339" y="385541"/>
                </a:lnTo>
                <a:lnTo>
                  <a:pt x="533339" y="380969"/>
                </a:lnTo>
                <a:close/>
              </a:path>
              <a:path w="544195" h="390525">
                <a:moveTo>
                  <a:pt x="533339" y="4572"/>
                </a:moveTo>
                <a:lnTo>
                  <a:pt x="533339" y="385541"/>
                </a:lnTo>
                <a:lnTo>
                  <a:pt x="537911" y="380969"/>
                </a:lnTo>
                <a:lnTo>
                  <a:pt x="544007" y="380969"/>
                </a:lnTo>
                <a:lnTo>
                  <a:pt x="544007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380969"/>
                </a:moveTo>
                <a:lnTo>
                  <a:pt x="537911" y="380969"/>
                </a:lnTo>
                <a:lnTo>
                  <a:pt x="533339" y="385541"/>
                </a:lnTo>
                <a:lnTo>
                  <a:pt x="544007" y="385541"/>
                </a:lnTo>
                <a:lnTo>
                  <a:pt x="544007" y="380969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3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4007" y="9144"/>
                </a:lnTo>
                <a:lnTo>
                  <a:pt x="5440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107875" y="4093646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07" y="0"/>
                </a:moveTo>
                <a:lnTo>
                  <a:pt x="0" y="0"/>
                </a:lnTo>
                <a:lnTo>
                  <a:pt x="0" y="390113"/>
                </a:lnTo>
                <a:lnTo>
                  <a:pt x="544007" y="390113"/>
                </a:lnTo>
                <a:lnTo>
                  <a:pt x="544007" y="385541"/>
                </a:lnTo>
                <a:lnTo>
                  <a:pt x="10668" y="385541"/>
                </a:lnTo>
                <a:lnTo>
                  <a:pt x="4572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07" y="4572"/>
                </a:lnTo>
                <a:lnTo>
                  <a:pt x="544007" y="0"/>
                </a:lnTo>
                <a:close/>
              </a:path>
              <a:path w="544195" h="390525">
                <a:moveTo>
                  <a:pt x="10668" y="380969"/>
                </a:moveTo>
                <a:lnTo>
                  <a:pt x="4572" y="380969"/>
                </a:lnTo>
                <a:lnTo>
                  <a:pt x="10668" y="385541"/>
                </a:lnTo>
                <a:lnTo>
                  <a:pt x="10668" y="380969"/>
                </a:lnTo>
                <a:close/>
              </a:path>
              <a:path w="544195" h="390525">
                <a:moveTo>
                  <a:pt x="533339" y="380969"/>
                </a:moveTo>
                <a:lnTo>
                  <a:pt x="10668" y="380969"/>
                </a:lnTo>
                <a:lnTo>
                  <a:pt x="10668" y="385541"/>
                </a:lnTo>
                <a:lnTo>
                  <a:pt x="533339" y="385541"/>
                </a:lnTo>
                <a:lnTo>
                  <a:pt x="533339" y="380969"/>
                </a:lnTo>
                <a:close/>
              </a:path>
              <a:path w="544195" h="390525">
                <a:moveTo>
                  <a:pt x="533339" y="4572"/>
                </a:moveTo>
                <a:lnTo>
                  <a:pt x="533339" y="385541"/>
                </a:lnTo>
                <a:lnTo>
                  <a:pt x="537911" y="380969"/>
                </a:lnTo>
                <a:lnTo>
                  <a:pt x="544007" y="380969"/>
                </a:lnTo>
                <a:lnTo>
                  <a:pt x="544007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380969"/>
                </a:moveTo>
                <a:lnTo>
                  <a:pt x="537911" y="380969"/>
                </a:lnTo>
                <a:lnTo>
                  <a:pt x="533339" y="385541"/>
                </a:lnTo>
                <a:lnTo>
                  <a:pt x="544007" y="385541"/>
                </a:lnTo>
                <a:lnTo>
                  <a:pt x="544007" y="380969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3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4007" y="9144"/>
                </a:lnTo>
                <a:lnTo>
                  <a:pt x="5440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7869783" y="4093646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37" y="0"/>
                </a:moveTo>
                <a:lnTo>
                  <a:pt x="0" y="0"/>
                </a:lnTo>
                <a:lnTo>
                  <a:pt x="0" y="390113"/>
                </a:lnTo>
                <a:lnTo>
                  <a:pt x="544037" y="390113"/>
                </a:lnTo>
                <a:lnTo>
                  <a:pt x="544037" y="385541"/>
                </a:lnTo>
                <a:lnTo>
                  <a:pt x="10668" y="385541"/>
                </a:lnTo>
                <a:lnTo>
                  <a:pt x="4572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37" y="4572"/>
                </a:lnTo>
                <a:lnTo>
                  <a:pt x="544037" y="0"/>
                </a:lnTo>
                <a:close/>
              </a:path>
              <a:path w="544195" h="390525">
                <a:moveTo>
                  <a:pt x="10668" y="380969"/>
                </a:moveTo>
                <a:lnTo>
                  <a:pt x="4572" y="380969"/>
                </a:lnTo>
                <a:lnTo>
                  <a:pt x="10668" y="385541"/>
                </a:lnTo>
                <a:lnTo>
                  <a:pt x="10668" y="380969"/>
                </a:lnTo>
                <a:close/>
              </a:path>
              <a:path w="544195" h="390525">
                <a:moveTo>
                  <a:pt x="533369" y="380969"/>
                </a:moveTo>
                <a:lnTo>
                  <a:pt x="10668" y="380969"/>
                </a:lnTo>
                <a:lnTo>
                  <a:pt x="10668" y="385541"/>
                </a:lnTo>
                <a:lnTo>
                  <a:pt x="533369" y="385541"/>
                </a:lnTo>
                <a:lnTo>
                  <a:pt x="533369" y="380969"/>
                </a:lnTo>
                <a:close/>
              </a:path>
              <a:path w="544195" h="390525">
                <a:moveTo>
                  <a:pt x="533369" y="4572"/>
                </a:moveTo>
                <a:lnTo>
                  <a:pt x="533369" y="385541"/>
                </a:lnTo>
                <a:lnTo>
                  <a:pt x="537941" y="380969"/>
                </a:lnTo>
                <a:lnTo>
                  <a:pt x="544037" y="380969"/>
                </a:lnTo>
                <a:lnTo>
                  <a:pt x="544037" y="9144"/>
                </a:lnTo>
                <a:lnTo>
                  <a:pt x="537941" y="9144"/>
                </a:lnTo>
                <a:lnTo>
                  <a:pt x="533369" y="4572"/>
                </a:lnTo>
                <a:close/>
              </a:path>
              <a:path w="544195" h="390525">
                <a:moveTo>
                  <a:pt x="544037" y="380969"/>
                </a:moveTo>
                <a:lnTo>
                  <a:pt x="537941" y="380969"/>
                </a:lnTo>
                <a:lnTo>
                  <a:pt x="533369" y="385541"/>
                </a:lnTo>
                <a:lnTo>
                  <a:pt x="544037" y="385541"/>
                </a:lnTo>
                <a:lnTo>
                  <a:pt x="544037" y="380969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6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69" y="9144"/>
                </a:lnTo>
                <a:lnTo>
                  <a:pt x="533369" y="4572"/>
                </a:lnTo>
                <a:close/>
              </a:path>
              <a:path w="544195" h="390525">
                <a:moveTo>
                  <a:pt x="544037" y="4572"/>
                </a:moveTo>
                <a:lnTo>
                  <a:pt x="533369" y="4572"/>
                </a:lnTo>
                <a:lnTo>
                  <a:pt x="537941" y="9144"/>
                </a:lnTo>
                <a:lnTo>
                  <a:pt x="544037" y="9144"/>
                </a:lnTo>
                <a:lnTo>
                  <a:pt x="54403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8631722" y="4093646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37" y="0"/>
                </a:moveTo>
                <a:lnTo>
                  <a:pt x="0" y="0"/>
                </a:lnTo>
                <a:lnTo>
                  <a:pt x="0" y="390113"/>
                </a:lnTo>
                <a:lnTo>
                  <a:pt x="544037" y="390113"/>
                </a:lnTo>
                <a:lnTo>
                  <a:pt x="544037" y="385541"/>
                </a:lnTo>
                <a:lnTo>
                  <a:pt x="10668" y="385541"/>
                </a:lnTo>
                <a:lnTo>
                  <a:pt x="4572" y="380969"/>
                </a:lnTo>
                <a:lnTo>
                  <a:pt x="10668" y="3809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37" y="4572"/>
                </a:lnTo>
                <a:lnTo>
                  <a:pt x="544037" y="0"/>
                </a:lnTo>
                <a:close/>
              </a:path>
              <a:path w="544195" h="390525">
                <a:moveTo>
                  <a:pt x="10668" y="380969"/>
                </a:moveTo>
                <a:lnTo>
                  <a:pt x="4572" y="380969"/>
                </a:lnTo>
                <a:lnTo>
                  <a:pt x="10668" y="385541"/>
                </a:lnTo>
                <a:lnTo>
                  <a:pt x="10668" y="380969"/>
                </a:lnTo>
                <a:close/>
              </a:path>
              <a:path w="544195" h="390525">
                <a:moveTo>
                  <a:pt x="533369" y="380969"/>
                </a:moveTo>
                <a:lnTo>
                  <a:pt x="10668" y="380969"/>
                </a:lnTo>
                <a:lnTo>
                  <a:pt x="10668" y="385541"/>
                </a:lnTo>
                <a:lnTo>
                  <a:pt x="533369" y="385541"/>
                </a:lnTo>
                <a:lnTo>
                  <a:pt x="533369" y="380969"/>
                </a:lnTo>
                <a:close/>
              </a:path>
              <a:path w="544195" h="390525">
                <a:moveTo>
                  <a:pt x="533369" y="4572"/>
                </a:moveTo>
                <a:lnTo>
                  <a:pt x="533369" y="385541"/>
                </a:lnTo>
                <a:lnTo>
                  <a:pt x="537941" y="380969"/>
                </a:lnTo>
                <a:lnTo>
                  <a:pt x="544037" y="380969"/>
                </a:lnTo>
                <a:lnTo>
                  <a:pt x="544037" y="9144"/>
                </a:lnTo>
                <a:lnTo>
                  <a:pt x="537941" y="9144"/>
                </a:lnTo>
                <a:lnTo>
                  <a:pt x="533369" y="4572"/>
                </a:lnTo>
                <a:close/>
              </a:path>
              <a:path w="544195" h="390525">
                <a:moveTo>
                  <a:pt x="544037" y="380969"/>
                </a:moveTo>
                <a:lnTo>
                  <a:pt x="537941" y="380969"/>
                </a:lnTo>
                <a:lnTo>
                  <a:pt x="533369" y="385541"/>
                </a:lnTo>
                <a:lnTo>
                  <a:pt x="544037" y="385541"/>
                </a:lnTo>
                <a:lnTo>
                  <a:pt x="544037" y="380969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6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69" y="9144"/>
                </a:lnTo>
                <a:lnTo>
                  <a:pt x="533369" y="4572"/>
                </a:lnTo>
                <a:close/>
              </a:path>
              <a:path w="544195" h="390525">
                <a:moveTo>
                  <a:pt x="544037" y="4572"/>
                </a:moveTo>
                <a:lnTo>
                  <a:pt x="533369" y="4572"/>
                </a:lnTo>
                <a:lnTo>
                  <a:pt x="537941" y="9144"/>
                </a:lnTo>
                <a:lnTo>
                  <a:pt x="544037" y="9144"/>
                </a:lnTo>
                <a:lnTo>
                  <a:pt x="54403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936178" y="4626985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4" h="390525">
                <a:moveTo>
                  <a:pt x="544019" y="0"/>
                </a:moveTo>
                <a:lnTo>
                  <a:pt x="0" y="0"/>
                </a:lnTo>
                <a:lnTo>
                  <a:pt x="0" y="390116"/>
                </a:lnTo>
                <a:lnTo>
                  <a:pt x="544019" y="390116"/>
                </a:lnTo>
                <a:lnTo>
                  <a:pt x="544019" y="385544"/>
                </a:lnTo>
                <a:lnTo>
                  <a:pt x="10668" y="385544"/>
                </a:lnTo>
                <a:lnTo>
                  <a:pt x="6096" y="380972"/>
                </a:lnTo>
                <a:lnTo>
                  <a:pt x="10668" y="380972"/>
                </a:lnTo>
                <a:lnTo>
                  <a:pt x="10668" y="9144"/>
                </a:lnTo>
                <a:lnTo>
                  <a:pt x="6096" y="9144"/>
                </a:lnTo>
                <a:lnTo>
                  <a:pt x="10668" y="4572"/>
                </a:lnTo>
                <a:lnTo>
                  <a:pt x="544019" y="4572"/>
                </a:lnTo>
                <a:lnTo>
                  <a:pt x="544019" y="0"/>
                </a:lnTo>
                <a:close/>
              </a:path>
              <a:path w="544194" h="390525">
                <a:moveTo>
                  <a:pt x="10668" y="380972"/>
                </a:moveTo>
                <a:lnTo>
                  <a:pt x="6096" y="380972"/>
                </a:lnTo>
                <a:lnTo>
                  <a:pt x="10668" y="385544"/>
                </a:lnTo>
                <a:lnTo>
                  <a:pt x="10668" y="380972"/>
                </a:lnTo>
                <a:close/>
              </a:path>
              <a:path w="544194" h="390525">
                <a:moveTo>
                  <a:pt x="533351" y="380972"/>
                </a:moveTo>
                <a:lnTo>
                  <a:pt x="10668" y="380972"/>
                </a:lnTo>
                <a:lnTo>
                  <a:pt x="10668" y="385544"/>
                </a:lnTo>
                <a:lnTo>
                  <a:pt x="533351" y="385544"/>
                </a:lnTo>
                <a:lnTo>
                  <a:pt x="533351" y="380972"/>
                </a:lnTo>
                <a:close/>
              </a:path>
              <a:path w="544194" h="390525">
                <a:moveTo>
                  <a:pt x="533351" y="4572"/>
                </a:moveTo>
                <a:lnTo>
                  <a:pt x="533351" y="385544"/>
                </a:lnTo>
                <a:lnTo>
                  <a:pt x="539447" y="380972"/>
                </a:lnTo>
                <a:lnTo>
                  <a:pt x="544019" y="380972"/>
                </a:lnTo>
                <a:lnTo>
                  <a:pt x="544019" y="9144"/>
                </a:lnTo>
                <a:lnTo>
                  <a:pt x="539447" y="9144"/>
                </a:lnTo>
                <a:lnTo>
                  <a:pt x="533351" y="4572"/>
                </a:lnTo>
                <a:close/>
              </a:path>
              <a:path w="544194" h="390525">
                <a:moveTo>
                  <a:pt x="544019" y="380972"/>
                </a:moveTo>
                <a:lnTo>
                  <a:pt x="539447" y="380972"/>
                </a:lnTo>
                <a:lnTo>
                  <a:pt x="533351" y="385544"/>
                </a:lnTo>
                <a:lnTo>
                  <a:pt x="544019" y="385544"/>
                </a:lnTo>
                <a:lnTo>
                  <a:pt x="544019" y="380972"/>
                </a:lnTo>
                <a:close/>
              </a:path>
              <a:path w="544194" h="390525">
                <a:moveTo>
                  <a:pt x="10668" y="4572"/>
                </a:moveTo>
                <a:lnTo>
                  <a:pt x="6096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4" h="390525">
                <a:moveTo>
                  <a:pt x="533351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51" y="9144"/>
                </a:lnTo>
                <a:lnTo>
                  <a:pt x="533351" y="4572"/>
                </a:lnTo>
                <a:close/>
              </a:path>
              <a:path w="544194" h="390525">
                <a:moveTo>
                  <a:pt x="544019" y="4572"/>
                </a:moveTo>
                <a:lnTo>
                  <a:pt x="533351" y="4572"/>
                </a:lnTo>
                <a:lnTo>
                  <a:pt x="539447" y="9144"/>
                </a:lnTo>
                <a:lnTo>
                  <a:pt x="544019" y="9144"/>
                </a:lnTo>
                <a:lnTo>
                  <a:pt x="544019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1850492" y="4626985"/>
            <a:ext cx="772795" cy="390525"/>
          </a:xfrm>
          <a:custGeom>
            <a:avLst/>
            <a:gdLst/>
            <a:ahLst/>
            <a:cxnLst/>
            <a:rect l="l" t="t" r="r" b="b"/>
            <a:pathLst>
              <a:path w="772794" h="390525">
                <a:moveTo>
                  <a:pt x="772610" y="0"/>
                </a:moveTo>
                <a:lnTo>
                  <a:pt x="0" y="0"/>
                </a:lnTo>
                <a:lnTo>
                  <a:pt x="0" y="390116"/>
                </a:lnTo>
                <a:lnTo>
                  <a:pt x="772610" y="390116"/>
                </a:lnTo>
                <a:lnTo>
                  <a:pt x="772610" y="385544"/>
                </a:lnTo>
                <a:lnTo>
                  <a:pt x="10668" y="385544"/>
                </a:lnTo>
                <a:lnTo>
                  <a:pt x="4572" y="380972"/>
                </a:lnTo>
                <a:lnTo>
                  <a:pt x="10668" y="380972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772610" y="4572"/>
                </a:lnTo>
                <a:lnTo>
                  <a:pt x="772610" y="0"/>
                </a:lnTo>
                <a:close/>
              </a:path>
              <a:path w="772794" h="390525">
                <a:moveTo>
                  <a:pt x="10668" y="380972"/>
                </a:moveTo>
                <a:lnTo>
                  <a:pt x="4572" y="380972"/>
                </a:lnTo>
                <a:lnTo>
                  <a:pt x="10668" y="385544"/>
                </a:lnTo>
                <a:lnTo>
                  <a:pt x="10668" y="380972"/>
                </a:lnTo>
                <a:close/>
              </a:path>
              <a:path w="772794" h="390525">
                <a:moveTo>
                  <a:pt x="761942" y="380972"/>
                </a:moveTo>
                <a:lnTo>
                  <a:pt x="10668" y="380972"/>
                </a:lnTo>
                <a:lnTo>
                  <a:pt x="10668" y="385544"/>
                </a:lnTo>
                <a:lnTo>
                  <a:pt x="761942" y="385544"/>
                </a:lnTo>
                <a:lnTo>
                  <a:pt x="761942" y="380972"/>
                </a:lnTo>
                <a:close/>
              </a:path>
              <a:path w="772794" h="390525">
                <a:moveTo>
                  <a:pt x="761942" y="4572"/>
                </a:moveTo>
                <a:lnTo>
                  <a:pt x="761942" y="385544"/>
                </a:lnTo>
                <a:lnTo>
                  <a:pt x="766514" y="380972"/>
                </a:lnTo>
                <a:lnTo>
                  <a:pt x="772610" y="380972"/>
                </a:lnTo>
                <a:lnTo>
                  <a:pt x="772610" y="9144"/>
                </a:lnTo>
                <a:lnTo>
                  <a:pt x="766514" y="9144"/>
                </a:lnTo>
                <a:lnTo>
                  <a:pt x="761942" y="4572"/>
                </a:lnTo>
                <a:close/>
              </a:path>
              <a:path w="772794" h="390525">
                <a:moveTo>
                  <a:pt x="772610" y="380972"/>
                </a:moveTo>
                <a:lnTo>
                  <a:pt x="766514" y="380972"/>
                </a:lnTo>
                <a:lnTo>
                  <a:pt x="761942" y="385544"/>
                </a:lnTo>
                <a:lnTo>
                  <a:pt x="772610" y="385544"/>
                </a:lnTo>
                <a:lnTo>
                  <a:pt x="772610" y="380972"/>
                </a:lnTo>
                <a:close/>
              </a:path>
              <a:path w="772794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772794" h="390525">
                <a:moveTo>
                  <a:pt x="761942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761942" y="9144"/>
                </a:lnTo>
                <a:lnTo>
                  <a:pt x="761942" y="4572"/>
                </a:lnTo>
                <a:close/>
              </a:path>
              <a:path w="772794" h="390525">
                <a:moveTo>
                  <a:pt x="772610" y="4572"/>
                </a:moveTo>
                <a:lnTo>
                  <a:pt x="761942" y="4572"/>
                </a:lnTo>
                <a:lnTo>
                  <a:pt x="766514" y="9144"/>
                </a:lnTo>
                <a:lnTo>
                  <a:pt x="772610" y="9144"/>
                </a:lnTo>
                <a:lnTo>
                  <a:pt x="772610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2841022" y="4626985"/>
            <a:ext cx="848994" cy="390525"/>
          </a:xfrm>
          <a:custGeom>
            <a:avLst/>
            <a:gdLst/>
            <a:ahLst/>
            <a:cxnLst/>
            <a:rect l="l" t="t" r="r" b="b"/>
            <a:pathLst>
              <a:path w="848995" h="390525">
                <a:moveTo>
                  <a:pt x="848794" y="0"/>
                </a:moveTo>
                <a:lnTo>
                  <a:pt x="0" y="0"/>
                </a:lnTo>
                <a:lnTo>
                  <a:pt x="0" y="390116"/>
                </a:lnTo>
                <a:lnTo>
                  <a:pt x="848794" y="390116"/>
                </a:lnTo>
                <a:lnTo>
                  <a:pt x="848794" y="385544"/>
                </a:lnTo>
                <a:lnTo>
                  <a:pt x="10655" y="385544"/>
                </a:lnTo>
                <a:lnTo>
                  <a:pt x="4559" y="380972"/>
                </a:lnTo>
                <a:lnTo>
                  <a:pt x="10655" y="380972"/>
                </a:lnTo>
                <a:lnTo>
                  <a:pt x="10655" y="9144"/>
                </a:lnTo>
                <a:lnTo>
                  <a:pt x="4559" y="9144"/>
                </a:lnTo>
                <a:lnTo>
                  <a:pt x="10655" y="4572"/>
                </a:lnTo>
                <a:lnTo>
                  <a:pt x="848794" y="4572"/>
                </a:lnTo>
                <a:lnTo>
                  <a:pt x="848794" y="0"/>
                </a:lnTo>
                <a:close/>
              </a:path>
              <a:path w="848995" h="390525">
                <a:moveTo>
                  <a:pt x="10655" y="380972"/>
                </a:moveTo>
                <a:lnTo>
                  <a:pt x="4559" y="380972"/>
                </a:lnTo>
                <a:lnTo>
                  <a:pt x="10655" y="385544"/>
                </a:lnTo>
                <a:lnTo>
                  <a:pt x="10655" y="380972"/>
                </a:lnTo>
                <a:close/>
              </a:path>
              <a:path w="848995" h="390525">
                <a:moveTo>
                  <a:pt x="838126" y="380972"/>
                </a:moveTo>
                <a:lnTo>
                  <a:pt x="10655" y="380972"/>
                </a:lnTo>
                <a:lnTo>
                  <a:pt x="10655" y="385544"/>
                </a:lnTo>
                <a:lnTo>
                  <a:pt x="838126" y="385544"/>
                </a:lnTo>
                <a:lnTo>
                  <a:pt x="838126" y="380972"/>
                </a:lnTo>
                <a:close/>
              </a:path>
              <a:path w="848995" h="390525">
                <a:moveTo>
                  <a:pt x="838126" y="4572"/>
                </a:moveTo>
                <a:lnTo>
                  <a:pt x="838126" y="385544"/>
                </a:lnTo>
                <a:lnTo>
                  <a:pt x="842698" y="380972"/>
                </a:lnTo>
                <a:lnTo>
                  <a:pt x="848794" y="380972"/>
                </a:lnTo>
                <a:lnTo>
                  <a:pt x="848794" y="9144"/>
                </a:lnTo>
                <a:lnTo>
                  <a:pt x="842698" y="9144"/>
                </a:lnTo>
                <a:lnTo>
                  <a:pt x="838126" y="4572"/>
                </a:lnTo>
                <a:close/>
              </a:path>
              <a:path w="848995" h="390525">
                <a:moveTo>
                  <a:pt x="848794" y="380972"/>
                </a:moveTo>
                <a:lnTo>
                  <a:pt x="842698" y="380972"/>
                </a:lnTo>
                <a:lnTo>
                  <a:pt x="838126" y="385544"/>
                </a:lnTo>
                <a:lnTo>
                  <a:pt x="848794" y="385544"/>
                </a:lnTo>
                <a:lnTo>
                  <a:pt x="848794" y="380972"/>
                </a:lnTo>
                <a:close/>
              </a:path>
              <a:path w="848995" h="390525">
                <a:moveTo>
                  <a:pt x="10655" y="4572"/>
                </a:moveTo>
                <a:lnTo>
                  <a:pt x="4559" y="9144"/>
                </a:lnTo>
                <a:lnTo>
                  <a:pt x="10655" y="9144"/>
                </a:lnTo>
                <a:lnTo>
                  <a:pt x="10655" y="4572"/>
                </a:lnTo>
                <a:close/>
              </a:path>
              <a:path w="848995" h="390525">
                <a:moveTo>
                  <a:pt x="838126" y="4572"/>
                </a:moveTo>
                <a:lnTo>
                  <a:pt x="10655" y="4572"/>
                </a:lnTo>
                <a:lnTo>
                  <a:pt x="10655" y="9144"/>
                </a:lnTo>
                <a:lnTo>
                  <a:pt x="838126" y="9144"/>
                </a:lnTo>
                <a:lnTo>
                  <a:pt x="838126" y="4572"/>
                </a:lnTo>
                <a:close/>
              </a:path>
              <a:path w="848995" h="390525">
                <a:moveTo>
                  <a:pt x="848794" y="4572"/>
                </a:moveTo>
                <a:lnTo>
                  <a:pt x="838126" y="4572"/>
                </a:lnTo>
                <a:lnTo>
                  <a:pt x="842698" y="9144"/>
                </a:lnTo>
                <a:lnTo>
                  <a:pt x="848794" y="9144"/>
                </a:lnTo>
                <a:lnTo>
                  <a:pt x="848794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3983918" y="4626985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37" y="0"/>
                </a:moveTo>
                <a:lnTo>
                  <a:pt x="0" y="0"/>
                </a:lnTo>
                <a:lnTo>
                  <a:pt x="0" y="390116"/>
                </a:lnTo>
                <a:lnTo>
                  <a:pt x="544037" y="390116"/>
                </a:lnTo>
                <a:lnTo>
                  <a:pt x="544037" y="385544"/>
                </a:lnTo>
                <a:lnTo>
                  <a:pt x="10668" y="385544"/>
                </a:lnTo>
                <a:lnTo>
                  <a:pt x="4572" y="380972"/>
                </a:lnTo>
                <a:lnTo>
                  <a:pt x="10668" y="380972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37" y="4572"/>
                </a:lnTo>
                <a:lnTo>
                  <a:pt x="544037" y="0"/>
                </a:lnTo>
                <a:close/>
              </a:path>
              <a:path w="544195" h="390525">
                <a:moveTo>
                  <a:pt x="10668" y="380972"/>
                </a:moveTo>
                <a:lnTo>
                  <a:pt x="4572" y="380972"/>
                </a:lnTo>
                <a:lnTo>
                  <a:pt x="10668" y="385544"/>
                </a:lnTo>
                <a:lnTo>
                  <a:pt x="10668" y="380972"/>
                </a:lnTo>
                <a:close/>
              </a:path>
              <a:path w="544195" h="390525">
                <a:moveTo>
                  <a:pt x="533369" y="380972"/>
                </a:moveTo>
                <a:lnTo>
                  <a:pt x="10668" y="380972"/>
                </a:lnTo>
                <a:lnTo>
                  <a:pt x="10668" y="385544"/>
                </a:lnTo>
                <a:lnTo>
                  <a:pt x="533369" y="385544"/>
                </a:lnTo>
                <a:lnTo>
                  <a:pt x="533369" y="380972"/>
                </a:lnTo>
                <a:close/>
              </a:path>
              <a:path w="544195" h="390525">
                <a:moveTo>
                  <a:pt x="533369" y="4572"/>
                </a:moveTo>
                <a:lnTo>
                  <a:pt x="533369" y="385544"/>
                </a:lnTo>
                <a:lnTo>
                  <a:pt x="537941" y="380972"/>
                </a:lnTo>
                <a:lnTo>
                  <a:pt x="544037" y="380972"/>
                </a:lnTo>
                <a:lnTo>
                  <a:pt x="544037" y="9144"/>
                </a:lnTo>
                <a:lnTo>
                  <a:pt x="537941" y="9144"/>
                </a:lnTo>
                <a:lnTo>
                  <a:pt x="533369" y="4572"/>
                </a:lnTo>
                <a:close/>
              </a:path>
              <a:path w="544195" h="390525">
                <a:moveTo>
                  <a:pt x="544037" y="380972"/>
                </a:moveTo>
                <a:lnTo>
                  <a:pt x="537941" y="380972"/>
                </a:lnTo>
                <a:lnTo>
                  <a:pt x="533369" y="385544"/>
                </a:lnTo>
                <a:lnTo>
                  <a:pt x="544037" y="385544"/>
                </a:lnTo>
                <a:lnTo>
                  <a:pt x="544037" y="380972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6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69" y="9144"/>
                </a:lnTo>
                <a:lnTo>
                  <a:pt x="533369" y="4572"/>
                </a:lnTo>
                <a:close/>
              </a:path>
              <a:path w="544195" h="390525">
                <a:moveTo>
                  <a:pt x="544037" y="4572"/>
                </a:moveTo>
                <a:lnTo>
                  <a:pt x="533369" y="4572"/>
                </a:lnTo>
                <a:lnTo>
                  <a:pt x="537941" y="9144"/>
                </a:lnTo>
                <a:lnTo>
                  <a:pt x="544037" y="9144"/>
                </a:lnTo>
                <a:lnTo>
                  <a:pt x="54403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5583997" y="4626985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07" y="0"/>
                </a:moveTo>
                <a:lnTo>
                  <a:pt x="0" y="0"/>
                </a:lnTo>
                <a:lnTo>
                  <a:pt x="0" y="390116"/>
                </a:lnTo>
                <a:lnTo>
                  <a:pt x="544007" y="390116"/>
                </a:lnTo>
                <a:lnTo>
                  <a:pt x="544007" y="385544"/>
                </a:lnTo>
                <a:lnTo>
                  <a:pt x="10668" y="385544"/>
                </a:lnTo>
                <a:lnTo>
                  <a:pt x="4572" y="380972"/>
                </a:lnTo>
                <a:lnTo>
                  <a:pt x="10668" y="380972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07" y="4572"/>
                </a:lnTo>
                <a:lnTo>
                  <a:pt x="544007" y="0"/>
                </a:lnTo>
                <a:close/>
              </a:path>
              <a:path w="544195" h="390525">
                <a:moveTo>
                  <a:pt x="10668" y="380972"/>
                </a:moveTo>
                <a:lnTo>
                  <a:pt x="4572" y="380972"/>
                </a:lnTo>
                <a:lnTo>
                  <a:pt x="10668" y="385544"/>
                </a:lnTo>
                <a:lnTo>
                  <a:pt x="10668" y="380972"/>
                </a:lnTo>
                <a:close/>
              </a:path>
              <a:path w="544195" h="390525">
                <a:moveTo>
                  <a:pt x="533339" y="380972"/>
                </a:moveTo>
                <a:lnTo>
                  <a:pt x="10668" y="380972"/>
                </a:lnTo>
                <a:lnTo>
                  <a:pt x="10668" y="385544"/>
                </a:lnTo>
                <a:lnTo>
                  <a:pt x="533339" y="385544"/>
                </a:lnTo>
                <a:lnTo>
                  <a:pt x="533339" y="380972"/>
                </a:lnTo>
                <a:close/>
              </a:path>
              <a:path w="544195" h="390525">
                <a:moveTo>
                  <a:pt x="533339" y="4572"/>
                </a:moveTo>
                <a:lnTo>
                  <a:pt x="533339" y="385544"/>
                </a:lnTo>
                <a:lnTo>
                  <a:pt x="537911" y="380972"/>
                </a:lnTo>
                <a:lnTo>
                  <a:pt x="544007" y="380972"/>
                </a:lnTo>
                <a:lnTo>
                  <a:pt x="544007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380972"/>
                </a:moveTo>
                <a:lnTo>
                  <a:pt x="537911" y="380972"/>
                </a:lnTo>
                <a:lnTo>
                  <a:pt x="533339" y="385544"/>
                </a:lnTo>
                <a:lnTo>
                  <a:pt x="544007" y="385544"/>
                </a:lnTo>
                <a:lnTo>
                  <a:pt x="544007" y="380972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3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4007" y="9144"/>
                </a:lnTo>
                <a:lnTo>
                  <a:pt x="5440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4745857" y="4626985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07" y="0"/>
                </a:moveTo>
                <a:lnTo>
                  <a:pt x="0" y="0"/>
                </a:lnTo>
                <a:lnTo>
                  <a:pt x="0" y="390116"/>
                </a:lnTo>
                <a:lnTo>
                  <a:pt x="544007" y="390116"/>
                </a:lnTo>
                <a:lnTo>
                  <a:pt x="544007" y="385544"/>
                </a:lnTo>
                <a:lnTo>
                  <a:pt x="10668" y="385544"/>
                </a:lnTo>
                <a:lnTo>
                  <a:pt x="4572" y="380972"/>
                </a:lnTo>
                <a:lnTo>
                  <a:pt x="10668" y="380972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07" y="4572"/>
                </a:lnTo>
                <a:lnTo>
                  <a:pt x="544007" y="0"/>
                </a:lnTo>
                <a:close/>
              </a:path>
              <a:path w="544195" h="390525">
                <a:moveTo>
                  <a:pt x="10668" y="380972"/>
                </a:moveTo>
                <a:lnTo>
                  <a:pt x="4572" y="380972"/>
                </a:lnTo>
                <a:lnTo>
                  <a:pt x="10668" y="385544"/>
                </a:lnTo>
                <a:lnTo>
                  <a:pt x="10668" y="380972"/>
                </a:lnTo>
                <a:close/>
              </a:path>
              <a:path w="544195" h="390525">
                <a:moveTo>
                  <a:pt x="533339" y="380972"/>
                </a:moveTo>
                <a:lnTo>
                  <a:pt x="10668" y="380972"/>
                </a:lnTo>
                <a:lnTo>
                  <a:pt x="10668" y="385544"/>
                </a:lnTo>
                <a:lnTo>
                  <a:pt x="533339" y="385544"/>
                </a:lnTo>
                <a:lnTo>
                  <a:pt x="533339" y="380972"/>
                </a:lnTo>
                <a:close/>
              </a:path>
              <a:path w="544195" h="390525">
                <a:moveTo>
                  <a:pt x="533339" y="4572"/>
                </a:moveTo>
                <a:lnTo>
                  <a:pt x="533339" y="385544"/>
                </a:lnTo>
                <a:lnTo>
                  <a:pt x="537911" y="380972"/>
                </a:lnTo>
                <a:lnTo>
                  <a:pt x="544007" y="380972"/>
                </a:lnTo>
                <a:lnTo>
                  <a:pt x="544007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380972"/>
                </a:moveTo>
                <a:lnTo>
                  <a:pt x="537911" y="380972"/>
                </a:lnTo>
                <a:lnTo>
                  <a:pt x="533339" y="385544"/>
                </a:lnTo>
                <a:lnTo>
                  <a:pt x="544007" y="385544"/>
                </a:lnTo>
                <a:lnTo>
                  <a:pt x="544007" y="380972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3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4007" y="9144"/>
                </a:lnTo>
                <a:lnTo>
                  <a:pt x="5440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345936" y="4626985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07" y="0"/>
                </a:moveTo>
                <a:lnTo>
                  <a:pt x="0" y="0"/>
                </a:lnTo>
                <a:lnTo>
                  <a:pt x="0" y="390116"/>
                </a:lnTo>
                <a:lnTo>
                  <a:pt x="544007" y="390116"/>
                </a:lnTo>
                <a:lnTo>
                  <a:pt x="544007" y="385544"/>
                </a:lnTo>
                <a:lnTo>
                  <a:pt x="10668" y="385544"/>
                </a:lnTo>
                <a:lnTo>
                  <a:pt x="4572" y="380972"/>
                </a:lnTo>
                <a:lnTo>
                  <a:pt x="10668" y="380972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07" y="4572"/>
                </a:lnTo>
                <a:lnTo>
                  <a:pt x="544007" y="0"/>
                </a:lnTo>
                <a:close/>
              </a:path>
              <a:path w="544195" h="390525">
                <a:moveTo>
                  <a:pt x="10668" y="380972"/>
                </a:moveTo>
                <a:lnTo>
                  <a:pt x="4572" y="380972"/>
                </a:lnTo>
                <a:lnTo>
                  <a:pt x="10668" y="385544"/>
                </a:lnTo>
                <a:lnTo>
                  <a:pt x="10668" y="380972"/>
                </a:lnTo>
                <a:close/>
              </a:path>
              <a:path w="544195" h="390525">
                <a:moveTo>
                  <a:pt x="533339" y="380972"/>
                </a:moveTo>
                <a:lnTo>
                  <a:pt x="10668" y="380972"/>
                </a:lnTo>
                <a:lnTo>
                  <a:pt x="10668" y="385544"/>
                </a:lnTo>
                <a:lnTo>
                  <a:pt x="533339" y="385544"/>
                </a:lnTo>
                <a:lnTo>
                  <a:pt x="533339" y="380972"/>
                </a:lnTo>
                <a:close/>
              </a:path>
              <a:path w="544195" h="390525">
                <a:moveTo>
                  <a:pt x="533339" y="4572"/>
                </a:moveTo>
                <a:lnTo>
                  <a:pt x="533339" y="385544"/>
                </a:lnTo>
                <a:lnTo>
                  <a:pt x="537911" y="380972"/>
                </a:lnTo>
                <a:lnTo>
                  <a:pt x="544007" y="380972"/>
                </a:lnTo>
                <a:lnTo>
                  <a:pt x="544007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380972"/>
                </a:moveTo>
                <a:lnTo>
                  <a:pt x="537911" y="380972"/>
                </a:lnTo>
                <a:lnTo>
                  <a:pt x="533339" y="385544"/>
                </a:lnTo>
                <a:lnTo>
                  <a:pt x="544007" y="385544"/>
                </a:lnTo>
                <a:lnTo>
                  <a:pt x="544007" y="380972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3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4007" y="9144"/>
                </a:lnTo>
                <a:lnTo>
                  <a:pt x="5440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7107875" y="4626985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07" y="0"/>
                </a:moveTo>
                <a:lnTo>
                  <a:pt x="0" y="0"/>
                </a:lnTo>
                <a:lnTo>
                  <a:pt x="0" y="390116"/>
                </a:lnTo>
                <a:lnTo>
                  <a:pt x="544007" y="390116"/>
                </a:lnTo>
                <a:lnTo>
                  <a:pt x="544007" y="385544"/>
                </a:lnTo>
                <a:lnTo>
                  <a:pt x="10668" y="385544"/>
                </a:lnTo>
                <a:lnTo>
                  <a:pt x="4572" y="380972"/>
                </a:lnTo>
                <a:lnTo>
                  <a:pt x="10668" y="380972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07" y="4572"/>
                </a:lnTo>
                <a:lnTo>
                  <a:pt x="544007" y="0"/>
                </a:lnTo>
                <a:close/>
              </a:path>
              <a:path w="544195" h="390525">
                <a:moveTo>
                  <a:pt x="10668" y="380972"/>
                </a:moveTo>
                <a:lnTo>
                  <a:pt x="4572" y="380972"/>
                </a:lnTo>
                <a:lnTo>
                  <a:pt x="10668" y="385544"/>
                </a:lnTo>
                <a:lnTo>
                  <a:pt x="10668" y="380972"/>
                </a:lnTo>
                <a:close/>
              </a:path>
              <a:path w="544195" h="390525">
                <a:moveTo>
                  <a:pt x="533339" y="380972"/>
                </a:moveTo>
                <a:lnTo>
                  <a:pt x="10668" y="380972"/>
                </a:lnTo>
                <a:lnTo>
                  <a:pt x="10668" y="385544"/>
                </a:lnTo>
                <a:lnTo>
                  <a:pt x="533339" y="385544"/>
                </a:lnTo>
                <a:lnTo>
                  <a:pt x="533339" y="380972"/>
                </a:lnTo>
                <a:close/>
              </a:path>
              <a:path w="544195" h="390525">
                <a:moveTo>
                  <a:pt x="533339" y="4572"/>
                </a:moveTo>
                <a:lnTo>
                  <a:pt x="533339" y="385544"/>
                </a:lnTo>
                <a:lnTo>
                  <a:pt x="537911" y="380972"/>
                </a:lnTo>
                <a:lnTo>
                  <a:pt x="544007" y="380972"/>
                </a:lnTo>
                <a:lnTo>
                  <a:pt x="544007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380972"/>
                </a:moveTo>
                <a:lnTo>
                  <a:pt x="537911" y="380972"/>
                </a:lnTo>
                <a:lnTo>
                  <a:pt x="533339" y="385544"/>
                </a:lnTo>
                <a:lnTo>
                  <a:pt x="544007" y="385544"/>
                </a:lnTo>
                <a:lnTo>
                  <a:pt x="544007" y="380972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3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4007" y="9144"/>
                </a:lnTo>
                <a:lnTo>
                  <a:pt x="5440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7869783" y="4626985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37" y="0"/>
                </a:moveTo>
                <a:lnTo>
                  <a:pt x="0" y="0"/>
                </a:lnTo>
                <a:lnTo>
                  <a:pt x="0" y="390116"/>
                </a:lnTo>
                <a:lnTo>
                  <a:pt x="544037" y="390116"/>
                </a:lnTo>
                <a:lnTo>
                  <a:pt x="544037" y="385544"/>
                </a:lnTo>
                <a:lnTo>
                  <a:pt x="10668" y="385544"/>
                </a:lnTo>
                <a:lnTo>
                  <a:pt x="4572" y="380972"/>
                </a:lnTo>
                <a:lnTo>
                  <a:pt x="10668" y="380972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37" y="4572"/>
                </a:lnTo>
                <a:lnTo>
                  <a:pt x="544037" y="0"/>
                </a:lnTo>
                <a:close/>
              </a:path>
              <a:path w="544195" h="390525">
                <a:moveTo>
                  <a:pt x="10668" y="380972"/>
                </a:moveTo>
                <a:lnTo>
                  <a:pt x="4572" y="380972"/>
                </a:lnTo>
                <a:lnTo>
                  <a:pt x="10668" y="385544"/>
                </a:lnTo>
                <a:lnTo>
                  <a:pt x="10668" y="380972"/>
                </a:lnTo>
                <a:close/>
              </a:path>
              <a:path w="544195" h="390525">
                <a:moveTo>
                  <a:pt x="533369" y="380972"/>
                </a:moveTo>
                <a:lnTo>
                  <a:pt x="10668" y="380972"/>
                </a:lnTo>
                <a:lnTo>
                  <a:pt x="10668" y="385544"/>
                </a:lnTo>
                <a:lnTo>
                  <a:pt x="533369" y="385544"/>
                </a:lnTo>
                <a:lnTo>
                  <a:pt x="533369" y="380972"/>
                </a:lnTo>
                <a:close/>
              </a:path>
              <a:path w="544195" h="390525">
                <a:moveTo>
                  <a:pt x="533369" y="4572"/>
                </a:moveTo>
                <a:lnTo>
                  <a:pt x="533369" y="385544"/>
                </a:lnTo>
                <a:lnTo>
                  <a:pt x="537941" y="380972"/>
                </a:lnTo>
                <a:lnTo>
                  <a:pt x="544037" y="380972"/>
                </a:lnTo>
                <a:lnTo>
                  <a:pt x="544037" y="9144"/>
                </a:lnTo>
                <a:lnTo>
                  <a:pt x="537941" y="9144"/>
                </a:lnTo>
                <a:lnTo>
                  <a:pt x="533369" y="4572"/>
                </a:lnTo>
                <a:close/>
              </a:path>
              <a:path w="544195" h="390525">
                <a:moveTo>
                  <a:pt x="544037" y="380972"/>
                </a:moveTo>
                <a:lnTo>
                  <a:pt x="537941" y="380972"/>
                </a:lnTo>
                <a:lnTo>
                  <a:pt x="533369" y="385544"/>
                </a:lnTo>
                <a:lnTo>
                  <a:pt x="544037" y="385544"/>
                </a:lnTo>
                <a:lnTo>
                  <a:pt x="544037" y="380972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6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69" y="9144"/>
                </a:lnTo>
                <a:lnTo>
                  <a:pt x="533369" y="4572"/>
                </a:lnTo>
                <a:close/>
              </a:path>
              <a:path w="544195" h="390525">
                <a:moveTo>
                  <a:pt x="544037" y="4572"/>
                </a:moveTo>
                <a:lnTo>
                  <a:pt x="533369" y="4572"/>
                </a:lnTo>
                <a:lnTo>
                  <a:pt x="537941" y="9144"/>
                </a:lnTo>
                <a:lnTo>
                  <a:pt x="544037" y="9144"/>
                </a:lnTo>
                <a:lnTo>
                  <a:pt x="54403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8631722" y="4626985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37" y="0"/>
                </a:moveTo>
                <a:lnTo>
                  <a:pt x="0" y="0"/>
                </a:lnTo>
                <a:lnTo>
                  <a:pt x="0" y="390116"/>
                </a:lnTo>
                <a:lnTo>
                  <a:pt x="544037" y="390116"/>
                </a:lnTo>
                <a:lnTo>
                  <a:pt x="544037" y="385544"/>
                </a:lnTo>
                <a:lnTo>
                  <a:pt x="10668" y="385544"/>
                </a:lnTo>
                <a:lnTo>
                  <a:pt x="4572" y="380972"/>
                </a:lnTo>
                <a:lnTo>
                  <a:pt x="10668" y="380972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37" y="4572"/>
                </a:lnTo>
                <a:lnTo>
                  <a:pt x="544037" y="0"/>
                </a:lnTo>
                <a:close/>
              </a:path>
              <a:path w="544195" h="390525">
                <a:moveTo>
                  <a:pt x="10668" y="380972"/>
                </a:moveTo>
                <a:lnTo>
                  <a:pt x="4572" y="380972"/>
                </a:lnTo>
                <a:lnTo>
                  <a:pt x="10668" y="385544"/>
                </a:lnTo>
                <a:lnTo>
                  <a:pt x="10668" y="380972"/>
                </a:lnTo>
                <a:close/>
              </a:path>
              <a:path w="544195" h="390525">
                <a:moveTo>
                  <a:pt x="533369" y="380972"/>
                </a:moveTo>
                <a:lnTo>
                  <a:pt x="10668" y="380972"/>
                </a:lnTo>
                <a:lnTo>
                  <a:pt x="10668" y="385544"/>
                </a:lnTo>
                <a:lnTo>
                  <a:pt x="533369" y="385544"/>
                </a:lnTo>
                <a:lnTo>
                  <a:pt x="533369" y="380972"/>
                </a:lnTo>
                <a:close/>
              </a:path>
              <a:path w="544195" h="390525">
                <a:moveTo>
                  <a:pt x="533369" y="4572"/>
                </a:moveTo>
                <a:lnTo>
                  <a:pt x="533369" y="385544"/>
                </a:lnTo>
                <a:lnTo>
                  <a:pt x="537941" y="380972"/>
                </a:lnTo>
                <a:lnTo>
                  <a:pt x="544037" y="380972"/>
                </a:lnTo>
                <a:lnTo>
                  <a:pt x="544037" y="9144"/>
                </a:lnTo>
                <a:lnTo>
                  <a:pt x="537941" y="9144"/>
                </a:lnTo>
                <a:lnTo>
                  <a:pt x="533369" y="4572"/>
                </a:lnTo>
                <a:close/>
              </a:path>
              <a:path w="544195" h="390525">
                <a:moveTo>
                  <a:pt x="544037" y="380972"/>
                </a:moveTo>
                <a:lnTo>
                  <a:pt x="537941" y="380972"/>
                </a:lnTo>
                <a:lnTo>
                  <a:pt x="533369" y="385544"/>
                </a:lnTo>
                <a:lnTo>
                  <a:pt x="544037" y="385544"/>
                </a:lnTo>
                <a:lnTo>
                  <a:pt x="544037" y="380972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6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69" y="9144"/>
                </a:lnTo>
                <a:lnTo>
                  <a:pt x="533369" y="4572"/>
                </a:lnTo>
                <a:close/>
              </a:path>
              <a:path w="544195" h="390525">
                <a:moveTo>
                  <a:pt x="544037" y="4572"/>
                </a:moveTo>
                <a:lnTo>
                  <a:pt x="533369" y="4572"/>
                </a:lnTo>
                <a:lnTo>
                  <a:pt x="537941" y="9144"/>
                </a:lnTo>
                <a:lnTo>
                  <a:pt x="544037" y="9144"/>
                </a:lnTo>
                <a:lnTo>
                  <a:pt x="54403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936178" y="5160346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4" h="390525">
                <a:moveTo>
                  <a:pt x="544019" y="0"/>
                </a:moveTo>
                <a:lnTo>
                  <a:pt x="0" y="0"/>
                </a:lnTo>
                <a:lnTo>
                  <a:pt x="0" y="390122"/>
                </a:lnTo>
                <a:lnTo>
                  <a:pt x="544019" y="390122"/>
                </a:lnTo>
                <a:lnTo>
                  <a:pt x="544019" y="385550"/>
                </a:lnTo>
                <a:lnTo>
                  <a:pt x="10668" y="385550"/>
                </a:lnTo>
                <a:lnTo>
                  <a:pt x="6096" y="380978"/>
                </a:lnTo>
                <a:lnTo>
                  <a:pt x="10668" y="380978"/>
                </a:lnTo>
                <a:lnTo>
                  <a:pt x="10668" y="9144"/>
                </a:lnTo>
                <a:lnTo>
                  <a:pt x="6096" y="9144"/>
                </a:lnTo>
                <a:lnTo>
                  <a:pt x="10668" y="4572"/>
                </a:lnTo>
                <a:lnTo>
                  <a:pt x="544019" y="4572"/>
                </a:lnTo>
                <a:lnTo>
                  <a:pt x="544019" y="0"/>
                </a:lnTo>
                <a:close/>
              </a:path>
              <a:path w="544194" h="390525">
                <a:moveTo>
                  <a:pt x="10668" y="380978"/>
                </a:moveTo>
                <a:lnTo>
                  <a:pt x="6096" y="380978"/>
                </a:lnTo>
                <a:lnTo>
                  <a:pt x="10668" y="385550"/>
                </a:lnTo>
                <a:lnTo>
                  <a:pt x="10668" y="380978"/>
                </a:lnTo>
                <a:close/>
              </a:path>
              <a:path w="544194" h="390525">
                <a:moveTo>
                  <a:pt x="533351" y="380978"/>
                </a:moveTo>
                <a:lnTo>
                  <a:pt x="10668" y="380978"/>
                </a:lnTo>
                <a:lnTo>
                  <a:pt x="10668" y="385550"/>
                </a:lnTo>
                <a:lnTo>
                  <a:pt x="533351" y="385550"/>
                </a:lnTo>
                <a:lnTo>
                  <a:pt x="533351" y="380978"/>
                </a:lnTo>
                <a:close/>
              </a:path>
              <a:path w="544194" h="390525">
                <a:moveTo>
                  <a:pt x="533351" y="4572"/>
                </a:moveTo>
                <a:lnTo>
                  <a:pt x="533351" y="385550"/>
                </a:lnTo>
                <a:lnTo>
                  <a:pt x="539447" y="380978"/>
                </a:lnTo>
                <a:lnTo>
                  <a:pt x="544019" y="380978"/>
                </a:lnTo>
                <a:lnTo>
                  <a:pt x="544019" y="9144"/>
                </a:lnTo>
                <a:lnTo>
                  <a:pt x="539447" y="9144"/>
                </a:lnTo>
                <a:lnTo>
                  <a:pt x="533351" y="4572"/>
                </a:lnTo>
                <a:close/>
              </a:path>
              <a:path w="544194" h="390525">
                <a:moveTo>
                  <a:pt x="544019" y="380978"/>
                </a:moveTo>
                <a:lnTo>
                  <a:pt x="539447" y="380978"/>
                </a:lnTo>
                <a:lnTo>
                  <a:pt x="533351" y="385550"/>
                </a:lnTo>
                <a:lnTo>
                  <a:pt x="544019" y="385550"/>
                </a:lnTo>
                <a:lnTo>
                  <a:pt x="544019" y="380978"/>
                </a:lnTo>
                <a:close/>
              </a:path>
              <a:path w="544194" h="390525">
                <a:moveTo>
                  <a:pt x="10668" y="4572"/>
                </a:moveTo>
                <a:lnTo>
                  <a:pt x="6096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4" h="390525">
                <a:moveTo>
                  <a:pt x="533351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51" y="9144"/>
                </a:lnTo>
                <a:lnTo>
                  <a:pt x="533351" y="4572"/>
                </a:lnTo>
                <a:close/>
              </a:path>
              <a:path w="544194" h="390525">
                <a:moveTo>
                  <a:pt x="544019" y="4572"/>
                </a:moveTo>
                <a:lnTo>
                  <a:pt x="533351" y="4572"/>
                </a:lnTo>
                <a:lnTo>
                  <a:pt x="539447" y="9144"/>
                </a:lnTo>
                <a:lnTo>
                  <a:pt x="544019" y="9144"/>
                </a:lnTo>
                <a:lnTo>
                  <a:pt x="544019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1850492" y="5160346"/>
            <a:ext cx="772795" cy="390525"/>
          </a:xfrm>
          <a:custGeom>
            <a:avLst/>
            <a:gdLst/>
            <a:ahLst/>
            <a:cxnLst/>
            <a:rect l="l" t="t" r="r" b="b"/>
            <a:pathLst>
              <a:path w="772794" h="390525">
                <a:moveTo>
                  <a:pt x="772610" y="0"/>
                </a:moveTo>
                <a:lnTo>
                  <a:pt x="0" y="0"/>
                </a:lnTo>
                <a:lnTo>
                  <a:pt x="0" y="390122"/>
                </a:lnTo>
                <a:lnTo>
                  <a:pt x="772610" y="390122"/>
                </a:lnTo>
                <a:lnTo>
                  <a:pt x="772610" y="385550"/>
                </a:lnTo>
                <a:lnTo>
                  <a:pt x="10668" y="385550"/>
                </a:lnTo>
                <a:lnTo>
                  <a:pt x="4572" y="380978"/>
                </a:lnTo>
                <a:lnTo>
                  <a:pt x="10668" y="380978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772610" y="4572"/>
                </a:lnTo>
                <a:lnTo>
                  <a:pt x="772610" y="0"/>
                </a:lnTo>
                <a:close/>
              </a:path>
              <a:path w="772794" h="390525">
                <a:moveTo>
                  <a:pt x="10668" y="380978"/>
                </a:moveTo>
                <a:lnTo>
                  <a:pt x="4572" y="380978"/>
                </a:lnTo>
                <a:lnTo>
                  <a:pt x="10668" y="385550"/>
                </a:lnTo>
                <a:lnTo>
                  <a:pt x="10668" y="380978"/>
                </a:lnTo>
                <a:close/>
              </a:path>
              <a:path w="772794" h="390525">
                <a:moveTo>
                  <a:pt x="761942" y="380978"/>
                </a:moveTo>
                <a:lnTo>
                  <a:pt x="10668" y="380978"/>
                </a:lnTo>
                <a:lnTo>
                  <a:pt x="10668" y="385550"/>
                </a:lnTo>
                <a:lnTo>
                  <a:pt x="761942" y="385550"/>
                </a:lnTo>
                <a:lnTo>
                  <a:pt x="761942" y="380978"/>
                </a:lnTo>
                <a:close/>
              </a:path>
              <a:path w="772794" h="390525">
                <a:moveTo>
                  <a:pt x="761942" y="4572"/>
                </a:moveTo>
                <a:lnTo>
                  <a:pt x="761942" y="385550"/>
                </a:lnTo>
                <a:lnTo>
                  <a:pt x="766514" y="380978"/>
                </a:lnTo>
                <a:lnTo>
                  <a:pt x="772610" y="380978"/>
                </a:lnTo>
                <a:lnTo>
                  <a:pt x="772610" y="9144"/>
                </a:lnTo>
                <a:lnTo>
                  <a:pt x="766514" y="9144"/>
                </a:lnTo>
                <a:lnTo>
                  <a:pt x="761942" y="4572"/>
                </a:lnTo>
                <a:close/>
              </a:path>
              <a:path w="772794" h="390525">
                <a:moveTo>
                  <a:pt x="772610" y="380978"/>
                </a:moveTo>
                <a:lnTo>
                  <a:pt x="766514" y="380978"/>
                </a:lnTo>
                <a:lnTo>
                  <a:pt x="761942" y="385550"/>
                </a:lnTo>
                <a:lnTo>
                  <a:pt x="772610" y="385550"/>
                </a:lnTo>
                <a:lnTo>
                  <a:pt x="772610" y="380978"/>
                </a:lnTo>
                <a:close/>
              </a:path>
              <a:path w="772794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772794" h="390525">
                <a:moveTo>
                  <a:pt x="761942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761942" y="9144"/>
                </a:lnTo>
                <a:lnTo>
                  <a:pt x="761942" y="4572"/>
                </a:lnTo>
                <a:close/>
              </a:path>
              <a:path w="772794" h="390525">
                <a:moveTo>
                  <a:pt x="772610" y="4572"/>
                </a:moveTo>
                <a:lnTo>
                  <a:pt x="761942" y="4572"/>
                </a:lnTo>
                <a:lnTo>
                  <a:pt x="766514" y="9144"/>
                </a:lnTo>
                <a:lnTo>
                  <a:pt x="772610" y="9144"/>
                </a:lnTo>
                <a:lnTo>
                  <a:pt x="772610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2841022" y="5160346"/>
            <a:ext cx="848994" cy="390525"/>
          </a:xfrm>
          <a:custGeom>
            <a:avLst/>
            <a:gdLst/>
            <a:ahLst/>
            <a:cxnLst/>
            <a:rect l="l" t="t" r="r" b="b"/>
            <a:pathLst>
              <a:path w="848995" h="390525">
                <a:moveTo>
                  <a:pt x="848794" y="0"/>
                </a:moveTo>
                <a:lnTo>
                  <a:pt x="0" y="0"/>
                </a:lnTo>
                <a:lnTo>
                  <a:pt x="0" y="390122"/>
                </a:lnTo>
                <a:lnTo>
                  <a:pt x="848794" y="390122"/>
                </a:lnTo>
                <a:lnTo>
                  <a:pt x="848794" y="385550"/>
                </a:lnTo>
                <a:lnTo>
                  <a:pt x="10655" y="385550"/>
                </a:lnTo>
                <a:lnTo>
                  <a:pt x="4559" y="380978"/>
                </a:lnTo>
                <a:lnTo>
                  <a:pt x="10655" y="380978"/>
                </a:lnTo>
                <a:lnTo>
                  <a:pt x="10655" y="9144"/>
                </a:lnTo>
                <a:lnTo>
                  <a:pt x="4559" y="9144"/>
                </a:lnTo>
                <a:lnTo>
                  <a:pt x="10655" y="4572"/>
                </a:lnTo>
                <a:lnTo>
                  <a:pt x="848794" y="4572"/>
                </a:lnTo>
                <a:lnTo>
                  <a:pt x="848794" y="0"/>
                </a:lnTo>
                <a:close/>
              </a:path>
              <a:path w="848995" h="390525">
                <a:moveTo>
                  <a:pt x="10655" y="380978"/>
                </a:moveTo>
                <a:lnTo>
                  <a:pt x="4559" y="380978"/>
                </a:lnTo>
                <a:lnTo>
                  <a:pt x="10655" y="385550"/>
                </a:lnTo>
                <a:lnTo>
                  <a:pt x="10655" y="380978"/>
                </a:lnTo>
                <a:close/>
              </a:path>
              <a:path w="848995" h="390525">
                <a:moveTo>
                  <a:pt x="838126" y="380978"/>
                </a:moveTo>
                <a:lnTo>
                  <a:pt x="10655" y="380978"/>
                </a:lnTo>
                <a:lnTo>
                  <a:pt x="10655" y="385550"/>
                </a:lnTo>
                <a:lnTo>
                  <a:pt x="838126" y="385550"/>
                </a:lnTo>
                <a:lnTo>
                  <a:pt x="838126" y="380978"/>
                </a:lnTo>
                <a:close/>
              </a:path>
              <a:path w="848995" h="390525">
                <a:moveTo>
                  <a:pt x="838126" y="4572"/>
                </a:moveTo>
                <a:lnTo>
                  <a:pt x="838126" y="385550"/>
                </a:lnTo>
                <a:lnTo>
                  <a:pt x="842698" y="380978"/>
                </a:lnTo>
                <a:lnTo>
                  <a:pt x="848794" y="380978"/>
                </a:lnTo>
                <a:lnTo>
                  <a:pt x="848794" y="9144"/>
                </a:lnTo>
                <a:lnTo>
                  <a:pt x="842698" y="9144"/>
                </a:lnTo>
                <a:lnTo>
                  <a:pt x="838126" y="4572"/>
                </a:lnTo>
                <a:close/>
              </a:path>
              <a:path w="848995" h="390525">
                <a:moveTo>
                  <a:pt x="848794" y="380978"/>
                </a:moveTo>
                <a:lnTo>
                  <a:pt x="842698" y="380978"/>
                </a:lnTo>
                <a:lnTo>
                  <a:pt x="838126" y="385550"/>
                </a:lnTo>
                <a:lnTo>
                  <a:pt x="848794" y="385550"/>
                </a:lnTo>
                <a:lnTo>
                  <a:pt x="848794" y="380978"/>
                </a:lnTo>
                <a:close/>
              </a:path>
              <a:path w="848995" h="390525">
                <a:moveTo>
                  <a:pt x="10655" y="4572"/>
                </a:moveTo>
                <a:lnTo>
                  <a:pt x="4559" y="9144"/>
                </a:lnTo>
                <a:lnTo>
                  <a:pt x="10655" y="9144"/>
                </a:lnTo>
                <a:lnTo>
                  <a:pt x="10655" y="4572"/>
                </a:lnTo>
                <a:close/>
              </a:path>
              <a:path w="848995" h="390525">
                <a:moveTo>
                  <a:pt x="838126" y="4572"/>
                </a:moveTo>
                <a:lnTo>
                  <a:pt x="10655" y="4572"/>
                </a:lnTo>
                <a:lnTo>
                  <a:pt x="10655" y="9144"/>
                </a:lnTo>
                <a:lnTo>
                  <a:pt x="838126" y="9144"/>
                </a:lnTo>
                <a:lnTo>
                  <a:pt x="838126" y="4572"/>
                </a:lnTo>
                <a:close/>
              </a:path>
              <a:path w="848995" h="390525">
                <a:moveTo>
                  <a:pt x="848794" y="4572"/>
                </a:moveTo>
                <a:lnTo>
                  <a:pt x="838126" y="4572"/>
                </a:lnTo>
                <a:lnTo>
                  <a:pt x="842698" y="9144"/>
                </a:lnTo>
                <a:lnTo>
                  <a:pt x="848794" y="9144"/>
                </a:lnTo>
                <a:lnTo>
                  <a:pt x="848794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3983918" y="5160346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37" y="0"/>
                </a:moveTo>
                <a:lnTo>
                  <a:pt x="0" y="0"/>
                </a:lnTo>
                <a:lnTo>
                  <a:pt x="0" y="390122"/>
                </a:lnTo>
                <a:lnTo>
                  <a:pt x="544037" y="390122"/>
                </a:lnTo>
                <a:lnTo>
                  <a:pt x="544037" y="385550"/>
                </a:lnTo>
                <a:lnTo>
                  <a:pt x="10668" y="385550"/>
                </a:lnTo>
                <a:lnTo>
                  <a:pt x="4572" y="380978"/>
                </a:lnTo>
                <a:lnTo>
                  <a:pt x="10668" y="380978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37" y="4572"/>
                </a:lnTo>
                <a:lnTo>
                  <a:pt x="544037" y="0"/>
                </a:lnTo>
                <a:close/>
              </a:path>
              <a:path w="544195" h="390525">
                <a:moveTo>
                  <a:pt x="10668" y="380978"/>
                </a:moveTo>
                <a:lnTo>
                  <a:pt x="4572" y="380978"/>
                </a:lnTo>
                <a:lnTo>
                  <a:pt x="10668" y="385550"/>
                </a:lnTo>
                <a:lnTo>
                  <a:pt x="10668" y="380978"/>
                </a:lnTo>
                <a:close/>
              </a:path>
              <a:path w="544195" h="390525">
                <a:moveTo>
                  <a:pt x="533369" y="380978"/>
                </a:moveTo>
                <a:lnTo>
                  <a:pt x="10668" y="380978"/>
                </a:lnTo>
                <a:lnTo>
                  <a:pt x="10668" y="385550"/>
                </a:lnTo>
                <a:lnTo>
                  <a:pt x="533369" y="385550"/>
                </a:lnTo>
                <a:lnTo>
                  <a:pt x="533369" y="380978"/>
                </a:lnTo>
                <a:close/>
              </a:path>
              <a:path w="544195" h="390525">
                <a:moveTo>
                  <a:pt x="533369" y="4572"/>
                </a:moveTo>
                <a:lnTo>
                  <a:pt x="533369" y="385550"/>
                </a:lnTo>
                <a:lnTo>
                  <a:pt x="537941" y="380978"/>
                </a:lnTo>
                <a:lnTo>
                  <a:pt x="544037" y="380978"/>
                </a:lnTo>
                <a:lnTo>
                  <a:pt x="544037" y="9144"/>
                </a:lnTo>
                <a:lnTo>
                  <a:pt x="537941" y="9144"/>
                </a:lnTo>
                <a:lnTo>
                  <a:pt x="533369" y="4572"/>
                </a:lnTo>
                <a:close/>
              </a:path>
              <a:path w="544195" h="390525">
                <a:moveTo>
                  <a:pt x="544037" y="380978"/>
                </a:moveTo>
                <a:lnTo>
                  <a:pt x="537941" y="380978"/>
                </a:lnTo>
                <a:lnTo>
                  <a:pt x="533369" y="385550"/>
                </a:lnTo>
                <a:lnTo>
                  <a:pt x="544037" y="385550"/>
                </a:lnTo>
                <a:lnTo>
                  <a:pt x="544037" y="380978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6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69" y="9144"/>
                </a:lnTo>
                <a:lnTo>
                  <a:pt x="533369" y="4572"/>
                </a:lnTo>
                <a:close/>
              </a:path>
              <a:path w="544195" h="390525">
                <a:moveTo>
                  <a:pt x="544037" y="4572"/>
                </a:moveTo>
                <a:lnTo>
                  <a:pt x="533369" y="4572"/>
                </a:lnTo>
                <a:lnTo>
                  <a:pt x="537941" y="9144"/>
                </a:lnTo>
                <a:lnTo>
                  <a:pt x="544037" y="9144"/>
                </a:lnTo>
                <a:lnTo>
                  <a:pt x="54403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5583997" y="5160346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07" y="0"/>
                </a:moveTo>
                <a:lnTo>
                  <a:pt x="0" y="0"/>
                </a:lnTo>
                <a:lnTo>
                  <a:pt x="0" y="390122"/>
                </a:lnTo>
                <a:lnTo>
                  <a:pt x="544007" y="390122"/>
                </a:lnTo>
                <a:lnTo>
                  <a:pt x="544007" y="385550"/>
                </a:lnTo>
                <a:lnTo>
                  <a:pt x="10668" y="385550"/>
                </a:lnTo>
                <a:lnTo>
                  <a:pt x="4572" y="380978"/>
                </a:lnTo>
                <a:lnTo>
                  <a:pt x="10668" y="380978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07" y="4572"/>
                </a:lnTo>
                <a:lnTo>
                  <a:pt x="544007" y="0"/>
                </a:lnTo>
                <a:close/>
              </a:path>
              <a:path w="544195" h="390525">
                <a:moveTo>
                  <a:pt x="10668" y="380978"/>
                </a:moveTo>
                <a:lnTo>
                  <a:pt x="4572" y="380978"/>
                </a:lnTo>
                <a:lnTo>
                  <a:pt x="10668" y="385550"/>
                </a:lnTo>
                <a:lnTo>
                  <a:pt x="10668" y="380978"/>
                </a:lnTo>
                <a:close/>
              </a:path>
              <a:path w="544195" h="390525">
                <a:moveTo>
                  <a:pt x="533339" y="380978"/>
                </a:moveTo>
                <a:lnTo>
                  <a:pt x="10668" y="380978"/>
                </a:lnTo>
                <a:lnTo>
                  <a:pt x="10668" y="385550"/>
                </a:lnTo>
                <a:lnTo>
                  <a:pt x="533339" y="385550"/>
                </a:lnTo>
                <a:lnTo>
                  <a:pt x="533339" y="380978"/>
                </a:lnTo>
                <a:close/>
              </a:path>
              <a:path w="544195" h="390525">
                <a:moveTo>
                  <a:pt x="533339" y="4572"/>
                </a:moveTo>
                <a:lnTo>
                  <a:pt x="533339" y="385550"/>
                </a:lnTo>
                <a:lnTo>
                  <a:pt x="537911" y="380978"/>
                </a:lnTo>
                <a:lnTo>
                  <a:pt x="544007" y="380978"/>
                </a:lnTo>
                <a:lnTo>
                  <a:pt x="544007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380978"/>
                </a:moveTo>
                <a:lnTo>
                  <a:pt x="537911" y="380978"/>
                </a:lnTo>
                <a:lnTo>
                  <a:pt x="533339" y="385550"/>
                </a:lnTo>
                <a:lnTo>
                  <a:pt x="544007" y="385550"/>
                </a:lnTo>
                <a:lnTo>
                  <a:pt x="544007" y="380978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3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4007" y="9144"/>
                </a:lnTo>
                <a:lnTo>
                  <a:pt x="5440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4745857" y="5160346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07" y="0"/>
                </a:moveTo>
                <a:lnTo>
                  <a:pt x="0" y="0"/>
                </a:lnTo>
                <a:lnTo>
                  <a:pt x="0" y="390122"/>
                </a:lnTo>
                <a:lnTo>
                  <a:pt x="544007" y="390122"/>
                </a:lnTo>
                <a:lnTo>
                  <a:pt x="544007" y="385550"/>
                </a:lnTo>
                <a:lnTo>
                  <a:pt x="10668" y="385550"/>
                </a:lnTo>
                <a:lnTo>
                  <a:pt x="4572" y="380978"/>
                </a:lnTo>
                <a:lnTo>
                  <a:pt x="10668" y="380978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07" y="4572"/>
                </a:lnTo>
                <a:lnTo>
                  <a:pt x="544007" y="0"/>
                </a:lnTo>
                <a:close/>
              </a:path>
              <a:path w="544195" h="390525">
                <a:moveTo>
                  <a:pt x="10668" y="380978"/>
                </a:moveTo>
                <a:lnTo>
                  <a:pt x="4572" y="380978"/>
                </a:lnTo>
                <a:lnTo>
                  <a:pt x="10668" y="385550"/>
                </a:lnTo>
                <a:lnTo>
                  <a:pt x="10668" y="380978"/>
                </a:lnTo>
                <a:close/>
              </a:path>
              <a:path w="544195" h="390525">
                <a:moveTo>
                  <a:pt x="533339" y="380978"/>
                </a:moveTo>
                <a:lnTo>
                  <a:pt x="10668" y="380978"/>
                </a:lnTo>
                <a:lnTo>
                  <a:pt x="10668" y="385550"/>
                </a:lnTo>
                <a:lnTo>
                  <a:pt x="533339" y="385550"/>
                </a:lnTo>
                <a:lnTo>
                  <a:pt x="533339" y="380978"/>
                </a:lnTo>
                <a:close/>
              </a:path>
              <a:path w="544195" h="390525">
                <a:moveTo>
                  <a:pt x="533339" y="4572"/>
                </a:moveTo>
                <a:lnTo>
                  <a:pt x="533339" y="385550"/>
                </a:lnTo>
                <a:lnTo>
                  <a:pt x="537911" y="380978"/>
                </a:lnTo>
                <a:lnTo>
                  <a:pt x="544007" y="380978"/>
                </a:lnTo>
                <a:lnTo>
                  <a:pt x="544007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380978"/>
                </a:moveTo>
                <a:lnTo>
                  <a:pt x="537911" y="380978"/>
                </a:lnTo>
                <a:lnTo>
                  <a:pt x="533339" y="385550"/>
                </a:lnTo>
                <a:lnTo>
                  <a:pt x="544007" y="385550"/>
                </a:lnTo>
                <a:lnTo>
                  <a:pt x="544007" y="380978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3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4007" y="9144"/>
                </a:lnTo>
                <a:lnTo>
                  <a:pt x="5440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6345936" y="5160346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07" y="0"/>
                </a:moveTo>
                <a:lnTo>
                  <a:pt x="0" y="0"/>
                </a:lnTo>
                <a:lnTo>
                  <a:pt x="0" y="390122"/>
                </a:lnTo>
                <a:lnTo>
                  <a:pt x="544007" y="390122"/>
                </a:lnTo>
                <a:lnTo>
                  <a:pt x="544007" y="385550"/>
                </a:lnTo>
                <a:lnTo>
                  <a:pt x="10668" y="385550"/>
                </a:lnTo>
                <a:lnTo>
                  <a:pt x="4572" y="380978"/>
                </a:lnTo>
                <a:lnTo>
                  <a:pt x="10668" y="380978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07" y="4572"/>
                </a:lnTo>
                <a:lnTo>
                  <a:pt x="544007" y="0"/>
                </a:lnTo>
                <a:close/>
              </a:path>
              <a:path w="544195" h="390525">
                <a:moveTo>
                  <a:pt x="10668" y="380978"/>
                </a:moveTo>
                <a:lnTo>
                  <a:pt x="4572" y="380978"/>
                </a:lnTo>
                <a:lnTo>
                  <a:pt x="10668" y="385550"/>
                </a:lnTo>
                <a:lnTo>
                  <a:pt x="10668" y="380978"/>
                </a:lnTo>
                <a:close/>
              </a:path>
              <a:path w="544195" h="390525">
                <a:moveTo>
                  <a:pt x="533339" y="380978"/>
                </a:moveTo>
                <a:lnTo>
                  <a:pt x="10668" y="380978"/>
                </a:lnTo>
                <a:lnTo>
                  <a:pt x="10668" y="385550"/>
                </a:lnTo>
                <a:lnTo>
                  <a:pt x="533339" y="385550"/>
                </a:lnTo>
                <a:lnTo>
                  <a:pt x="533339" y="380978"/>
                </a:lnTo>
                <a:close/>
              </a:path>
              <a:path w="544195" h="390525">
                <a:moveTo>
                  <a:pt x="533339" y="4572"/>
                </a:moveTo>
                <a:lnTo>
                  <a:pt x="533339" y="385550"/>
                </a:lnTo>
                <a:lnTo>
                  <a:pt x="537911" y="380978"/>
                </a:lnTo>
                <a:lnTo>
                  <a:pt x="544007" y="380978"/>
                </a:lnTo>
                <a:lnTo>
                  <a:pt x="544007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380978"/>
                </a:moveTo>
                <a:lnTo>
                  <a:pt x="537911" y="380978"/>
                </a:lnTo>
                <a:lnTo>
                  <a:pt x="533339" y="385550"/>
                </a:lnTo>
                <a:lnTo>
                  <a:pt x="544007" y="385550"/>
                </a:lnTo>
                <a:lnTo>
                  <a:pt x="544007" y="380978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3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4007" y="9144"/>
                </a:lnTo>
                <a:lnTo>
                  <a:pt x="5440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107875" y="5160346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07" y="0"/>
                </a:moveTo>
                <a:lnTo>
                  <a:pt x="0" y="0"/>
                </a:lnTo>
                <a:lnTo>
                  <a:pt x="0" y="390122"/>
                </a:lnTo>
                <a:lnTo>
                  <a:pt x="544007" y="390122"/>
                </a:lnTo>
                <a:lnTo>
                  <a:pt x="544007" y="385550"/>
                </a:lnTo>
                <a:lnTo>
                  <a:pt x="10668" y="385550"/>
                </a:lnTo>
                <a:lnTo>
                  <a:pt x="4572" y="380978"/>
                </a:lnTo>
                <a:lnTo>
                  <a:pt x="10668" y="380978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07" y="4572"/>
                </a:lnTo>
                <a:lnTo>
                  <a:pt x="544007" y="0"/>
                </a:lnTo>
                <a:close/>
              </a:path>
              <a:path w="544195" h="390525">
                <a:moveTo>
                  <a:pt x="10668" y="380978"/>
                </a:moveTo>
                <a:lnTo>
                  <a:pt x="4572" y="380978"/>
                </a:lnTo>
                <a:lnTo>
                  <a:pt x="10668" y="385550"/>
                </a:lnTo>
                <a:lnTo>
                  <a:pt x="10668" y="380978"/>
                </a:lnTo>
                <a:close/>
              </a:path>
              <a:path w="544195" h="390525">
                <a:moveTo>
                  <a:pt x="533339" y="380978"/>
                </a:moveTo>
                <a:lnTo>
                  <a:pt x="10668" y="380978"/>
                </a:lnTo>
                <a:lnTo>
                  <a:pt x="10668" y="385550"/>
                </a:lnTo>
                <a:lnTo>
                  <a:pt x="533339" y="385550"/>
                </a:lnTo>
                <a:lnTo>
                  <a:pt x="533339" y="380978"/>
                </a:lnTo>
                <a:close/>
              </a:path>
              <a:path w="544195" h="390525">
                <a:moveTo>
                  <a:pt x="533339" y="4572"/>
                </a:moveTo>
                <a:lnTo>
                  <a:pt x="533339" y="385550"/>
                </a:lnTo>
                <a:lnTo>
                  <a:pt x="537911" y="380978"/>
                </a:lnTo>
                <a:lnTo>
                  <a:pt x="544007" y="380978"/>
                </a:lnTo>
                <a:lnTo>
                  <a:pt x="544007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380978"/>
                </a:moveTo>
                <a:lnTo>
                  <a:pt x="537911" y="380978"/>
                </a:lnTo>
                <a:lnTo>
                  <a:pt x="533339" y="385550"/>
                </a:lnTo>
                <a:lnTo>
                  <a:pt x="544007" y="385550"/>
                </a:lnTo>
                <a:lnTo>
                  <a:pt x="544007" y="380978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3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4007" y="9144"/>
                </a:lnTo>
                <a:lnTo>
                  <a:pt x="5440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7869783" y="5160346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37" y="0"/>
                </a:moveTo>
                <a:lnTo>
                  <a:pt x="0" y="0"/>
                </a:lnTo>
                <a:lnTo>
                  <a:pt x="0" y="390122"/>
                </a:lnTo>
                <a:lnTo>
                  <a:pt x="544037" y="390122"/>
                </a:lnTo>
                <a:lnTo>
                  <a:pt x="544037" y="385550"/>
                </a:lnTo>
                <a:lnTo>
                  <a:pt x="10668" y="385550"/>
                </a:lnTo>
                <a:lnTo>
                  <a:pt x="4572" y="380978"/>
                </a:lnTo>
                <a:lnTo>
                  <a:pt x="10668" y="380978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37" y="4572"/>
                </a:lnTo>
                <a:lnTo>
                  <a:pt x="544037" y="0"/>
                </a:lnTo>
                <a:close/>
              </a:path>
              <a:path w="544195" h="390525">
                <a:moveTo>
                  <a:pt x="10668" y="380978"/>
                </a:moveTo>
                <a:lnTo>
                  <a:pt x="4572" y="380978"/>
                </a:lnTo>
                <a:lnTo>
                  <a:pt x="10668" y="385550"/>
                </a:lnTo>
                <a:lnTo>
                  <a:pt x="10668" y="380978"/>
                </a:lnTo>
                <a:close/>
              </a:path>
              <a:path w="544195" h="390525">
                <a:moveTo>
                  <a:pt x="533369" y="380978"/>
                </a:moveTo>
                <a:lnTo>
                  <a:pt x="10668" y="380978"/>
                </a:lnTo>
                <a:lnTo>
                  <a:pt x="10668" y="385550"/>
                </a:lnTo>
                <a:lnTo>
                  <a:pt x="533369" y="385550"/>
                </a:lnTo>
                <a:lnTo>
                  <a:pt x="533369" y="380978"/>
                </a:lnTo>
                <a:close/>
              </a:path>
              <a:path w="544195" h="390525">
                <a:moveTo>
                  <a:pt x="533369" y="4572"/>
                </a:moveTo>
                <a:lnTo>
                  <a:pt x="533369" y="385550"/>
                </a:lnTo>
                <a:lnTo>
                  <a:pt x="537941" y="380978"/>
                </a:lnTo>
                <a:lnTo>
                  <a:pt x="544037" y="380978"/>
                </a:lnTo>
                <a:lnTo>
                  <a:pt x="544037" y="9144"/>
                </a:lnTo>
                <a:lnTo>
                  <a:pt x="537941" y="9144"/>
                </a:lnTo>
                <a:lnTo>
                  <a:pt x="533369" y="4572"/>
                </a:lnTo>
                <a:close/>
              </a:path>
              <a:path w="544195" h="390525">
                <a:moveTo>
                  <a:pt x="544037" y="380978"/>
                </a:moveTo>
                <a:lnTo>
                  <a:pt x="537941" y="380978"/>
                </a:lnTo>
                <a:lnTo>
                  <a:pt x="533369" y="385550"/>
                </a:lnTo>
                <a:lnTo>
                  <a:pt x="544037" y="385550"/>
                </a:lnTo>
                <a:lnTo>
                  <a:pt x="544037" y="380978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6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69" y="9144"/>
                </a:lnTo>
                <a:lnTo>
                  <a:pt x="533369" y="4572"/>
                </a:lnTo>
                <a:close/>
              </a:path>
              <a:path w="544195" h="390525">
                <a:moveTo>
                  <a:pt x="544037" y="4572"/>
                </a:moveTo>
                <a:lnTo>
                  <a:pt x="533369" y="4572"/>
                </a:lnTo>
                <a:lnTo>
                  <a:pt x="537941" y="9144"/>
                </a:lnTo>
                <a:lnTo>
                  <a:pt x="544037" y="9144"/>
                </a:lnTo>
                <a:lnTo>
                  <a:pt x="54403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8631722" y="5160346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37" y="0"/>
                </a:moveTo>
                <a:lnTo>
                  <a:pt x="0" y="0"/>
                </a:lnTo>
                <a:lnTo>
                  <a:pt x="0" y="390122"/>
                </a:lnTo>
                <a:lnTo>
                  <a:pt x="544037" y="390122"/>
                </a:lnTo>
                <a:lnTo>
                  <a:pt x="544037" y="385550"/>
                </a:lnTo>
                <a:lnTo>
                  <a:pt x="10668" y="385550"/>
                </a:lnTo>
                <a:lnTo>
                  <a:pt x="4572" y="380978"/>
                </a:lnTo>
                <a:lnTo>
                  <a:pt x="10668" y="380978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37" y="4572"/>
                </a:lnTo>
                <a:lnTo>
                  <a:pt x="544037" y="0"/>
                </a:lnTo>
                <a:close/>
              </a:path>
              <a:path w="544195" h="390525">
                <a:moveTo>
                  <a:pt x="10668" y="380978"/>
                </a:moveTo>
                <a:lnTo>
                  <a:pt x="4572" y="380978"/>
                </a:lnTo>
                <a:lnTo>
                  <a:pt x="10668" y="385550"/>
                </a:lnTo>
                <a:lnTo>
                  <a:pt x="10668" y="380978"/>
                </a:lnTo>
                <a:close/>
              </a:path>
              <a:path w="544195" h="390525">
                <a:moveTo>
                  <a:pt x="533369" y="380978"/>
                </a:moveTo>
                <a:lnTo>
                  <a:pt x="10668" y="380978"/>
                </a:lnTo>
                <a:lnTo>
                  <a:pt x="10668" y="385550"/>
                </a:lnTo>
                <a:lnTo>
                  <a:pt x="533369" y="385550"/>
                </a:lnTo>
                <a:lnTo>
                  <a:pt x="533369" y="380978"/>
                </a:lnTo>
                <a:close/>
              </a:path>
              <a:path w="544195" h="390525">
                <a:moveTo>
                  <a:pt x="533369" y="4572"/>
                </a:moveTo>
                <a:lnTo>
                  <a:pt x="533369" y="385550"/>
                </a:lnTo>
                <a:lnTo>
                  <a:pt x="537941" y="380978"/>
                </a:lnTo>
                <a:lnTo>
                  <a:pt x="544037" y="380978"/>
                </a:lnTo>
                <a:lnTo>
                  <a:pt x="544037" y="9144"/>
                </a:lnTo>
                <a:lnTo>
                  <a:pt x="537941" y="9144"/>
                </a:lnTo>
                <a:lnTo>
                  <a:pt x="533369" y="4572"/>
                </a:lnTo>
                <a:close/>
              </a:path>
              <a:path w="544195" h="390525">
                <a:moveTo>
                  <a:pt x="544037" y="380978"/>
                </a:moveTo>
                <a:lnTo>
                  <a:pt x="537941" y="380978"/>
                </a:lnTo>
                <a:lnTo>
                  <a:pt x="533369" y="385550"/>
                </a:lnTo>
                <a:lnTo>
                  <a:pt x="544037" y="385550"/>
                </a:lnTo>
                <a:lnTo>
                  <a:pt x="544037" y="380978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6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69" y="9144"/>
                </a:lnTo>
                <a:lnTo>
                  <a:pt x="533369" y="4572"/>
                </a:lnTo>
                <a:close/>
              </a:path>
              <a:path w="544195" h="390525">
                <a:moveTo>
                  <a:pt x="544037" y="4572"/>
                </a:moveTo>
                <a:lnTo>
                  <a:pt x="533369" y="4572"/>
                </a:lnTo>
                <a:lnTo>
                  <a:pt x="537941" y="9144"/>
                </a:lnTo>
                <a:lnTo>
                  <a:pt x="544037" y="9144"/>
                </a:lnTo>
                <a:lnTo>
                  <a:pt x="54403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936178" y="5693712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4" h="390525">
                <a:moveTo>
                  <a:pt x="544019" y="0"/>
                </a:moveTo>
                <a:lnTo>
                  <a:pt x="0" y="0"/>
                </a:lnTo>
                <a:lnTo>
                  <a:pt x="0" y="390107"/>
                </a:lnTo>
                <a:lnTo>
                  <a:pt x="544019" y="390107"/>
                </a:lnTo>
                <a:lnTo>
                  <a:pt x="544019" y="385535"/>
                </a:lnTo>
                <a:lnTo>
                  <a:pt x="10668" y="385535"/>
                </a:lnTo>
                <a:lnTo>
                  <a:pt x="6096" y="380963"/>
                </a:lnTo>
                <a:lnTo>
                  <a:pt x="10668" y="380963"/>
                </a:lnTo>
                <a:lnTo>
                  <a:pt x="10668" y="9131"/>
                </a:lnTo>
                <a:lnTo>
                  <a:pt x="6096" y="9131"/>
                </a:lnTo>
                <a:lnTo>
                  <a:pt x="10668" y="4559"/>
                </a:lnTo>
                <a:lnTo>
                  <a:pt x="544019" y="4559"/>
                </a:lnTo>
                <a:lnTo>
                  <a:pt x="544019" y="0"/>
                </a:lnTo>
                <a:close/>
              </a:path>
              <a:path w="544194" h="390525">
                <a:moveTo>
                  <a:pt x="10668" y="380963"/>
                </a:moveTo>
                <a:lnTo>
                  <a:pt x="6096" y="380963"/>
                </a:lnTo>
                <a:lnTo>
                  <a:pt x="10668" y="385535"/>
                </a:lnTo>
                <a:lnTo>
                  <a:pt x="10668" y="380963"/>
                </a:lnTo>
                <a:close/>
              </a:path>
              <a:path w="544194" h="390525">
                <a:moveTo>
                  <a:pt x="533351" y="380963"/>
                </a:moveTo>
                <a:lnTo>
                  <a:pt x="10668" y="380963"/>
                </a:lnTo>
                <a:lnTo>
                  <a:pt x="10668" y="385535"/>
                </a:lnTo>
                <a:lnTo>
                  <a:pt x="533351" y="385535"/>
                </a:lnTo>
                <a:lnTo>
                  <a:pt x="533351" y="380963"/>
                </a:lnTo>
                <a:close/>
              </a:path>
              <a:path w="544194" h="390525">
                <a:moveTo>
                  <a:pt x="533351" y="4559"/>
                </a:moveTo>
                <a:lnTo>
                  <a:pt x="533351" y="385535"/>
                </a:lnTo>
                <a:lnTo>
                  <a:pt x="539447" y="380963"/>
                </a:lnTo>
                <a:lnTo>
                  <a:pt x="544019" y="380963"/>
                </a:lnTo>
                <a:lnTo>
                  <a:pt x="544019" y="9131"/>
                </a:lnTo>
                <a:lnTo>
                  <a:pt x="539447" y="9131"/>
                </a:lnTo>
                <a:lnTo>
                  <a:pt x="533351" y="4559"/>
                </a:lnTo>
                <a:close/>
              </a:path>
              <a:path w="544194" h="390525">
                <a:moveTo>
                  <a:pt x="544019" y="380963"/>
                </a:moveTo>
                <a:lnTo>
                  <a:pt x="539447" y="380963"/>
                </a:lnTo>
                <a:lnTo>
                  <a:pt x="533351" y="385535"/>
                </a:lnTo>
                <a:lnTo>
                  <a:pt x="544019" y="385535"/>
                </a:lnTo>
                <a:lnTo>
                  <a:pt x="544019" y="380963"/>
                </a:lnTo>
                <a:close/>
              </a:path>
              <a:path w="544194" h="390525">
                <a:moveTo>
                  <a:pt x="10668" y="4559"/>
                </a:moveTo>
                <a:lnTo>
                  <a:pt x="6096" y="9131"/>
                </a:lnTo>
                <a:lnTo>
                  <a:pt x="10668" y="9131"/>
                </a:lnTo>
                <a:lnTo>
                  <a:pt x="10668" y="4559"/>
                </a:lnTo>
                <a:close/>
              </a:path>
              <a:path w="544194" h="390525">
                <a:moveTo>
                  <a:pt x="533351" y="4559"/>
                </a:moveTo>
                <a:lnTo>
                  <a:pt x="10668" y="4559"/>
                </a:lnTo>
                <a:lnTo>
                  <a:pt x="10668" y="9131"/>
                </a:lnTo>
                <a:lnTo>
                  <a:pt x="533351" y="9131"/>
                </a:lnTo>
                <a:lnTo>
                  <a:pt x="533351" y="4559"/>
                </a:lnTo>
                <a:close/>
              </a:path>
              <a:path w="544194" h="390525">
                <a:moveTo>
                  <a:pt x="544019" y="4559"/>
                </a:moveTo>
                <a:lnTo>
                  <a:pt x="533351" y="4559"/>
                </a:lnTo>
                <a:lnTo>
                  <a:pt x="539447" y="9131"/>
                </a:lnTo>
                <a:lnTo>
                  <a:pt x="544019" y="9131"/>
                </a:lnTo>
                <a:lnTo>
                  <a:pt x="544019" y="45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1850492" y="5693712"/>
            <a:ext cx="772795" cy="390525"/>
          </a:xfrm>
          <a:custGeom>
            <a:avLst/>
            <a:gdLst/>
            <a:ahLst/>
            <a:cxnLst/>
            <a:rect l="l" t="t" r="r" b="b"/>
            <a:pathLst>
              <a:path w="772794" h="390525">
                <a:moveTo>
                  <a:pt x="772610" y="0"/>
                </a:moveTo>
                <a:lnTo>
                  <a:pt x="0" y="0"/>
                </a:lnTo>
                <a:lnTo>
                  <a:pt x="0" y="390107"/>
                </a:lnTo>
                <a:lnTo>
                  <a:pt x="772610" y="390107"/>
                </a:lnTo>
                <a:lnTo>
                  <a:pt x="772610" y="385535"/>
                </a:lnTo>
                <a:lnTo>
                  <a:pt x="10668" y="385535"/>
                </a:lnTo>
                <a:lnTo>
                  <a:pt x="4572" y="380963"/>
                </a:lnTo>
                <a:lnTo>
                  <a:pt x="10668" y="380963"/>
                </a:lnTo>
                <a:lnTo>
                  <a:pt x="10668" y="9131"/>
                </a:lnTo>
                <a:lnTo>
                  <a:pt x="4572" y="9131"/>
                </a:lnTo>
                <a:lnTo>
                  <a:pt x="10668" y="4559"/>
                </a:lnTo>
                <a:lnTo>
                  <a:pt x="772610" y="4559"/>
                </a:lnTo>
                <a:lnTo>
                  <a:pt x="772610" y="0"/>
                </a:lnTo>
                <a:close/>
              </a:path>
              <a:path w="772794" h="390525">
                <a:moveTo>
                  <a:pt x="10668" y="380963"/>
                </a:moveTo>
                <a:lnTo>
                  <a:pt x="4572" y="380963"/>
                </a:lnTo>
                <a:lnTo>
                  <a:pt x="10668" y="385535"/>
                </a:lnTo>
                <a:lnTo>
                  <a:pt x="10668" y="380963"/>
                </a:lnTo>
                <a:close/>
              </a:path>
              <a:path w="772794" h="390525">
                <a:moveTo>
                  <a:pt x="761942" y="380963"/>
                </a:moveTo>
                <a:lnTo>
                  <a:pt x="10668" y="380963"/>
                </a:lnTo>
                <a:lnTo>
                  <a:pt x="10668" y="385535"/>
                </a:lnTo>
                <a:lnTo>
                  <a:pt x="761942" y="385535"/>
                </a:lnTo>
                <a:lnTo>
                  <a:pt x="761942" y="380963"/>
                </a:lnTo>
                <a:close/>
              </a:path>
              <a:path w="772794" h="390525">
                <a:moveTo>
                  <a:pt x="761942" y="4559"/>
                </a:moveTo>
                <a:lnTo>
                  <a:pt x="761942" y="385535"/>
                </a:lnTo>
                <a:lnTo>
                  <a:pt x="766514" y="380963"/>
                </a:lnTo>
                <a:lnTo>
                  <a:pt x="772610" y="380963"/>
                </a:lnTo>
                <a:lnTo>
                  <a:pt x="772610" y="9131"/>
                </a:lnTo>
                <a:lnTo>
                  <a:pt x="766514" y="9131"/>
                </a:lnTo>
                <a:lnTo>
                  <a:pt x="761942" y="4559"/>
                </a:lnTo>
                <a:close/>
              </a:path>
              <a:path w="772794" h="390525">
                <a:moveTo>
                  <a:pt x="772610" y="380963"/>
                </a:moveTo>
                <a:lnTo>
                  <a:pt x="766514" y="380963"/>
                </a:lnTo>
                <a:lnTo>
                  <a:pt x="761942" y="385535"/>
                </a:lnTo>
                <a:lnTo>
                  <a:pt x="772610" y="385535"/>
                </a:lnTo>
                <a:lnTo>
                  <a:pt x="772610" y="380963"/>
                </a:lnTo>
                <a:close/>
              </a:path>
              <a:path w="772794" h="390525">
                <a:moveTo>
                  <a:pt x="10668" y="4559"/>
                </a:moveTo>
                <a:lnTo>
                  <a:pt x="4572" y="9131"/>
                </a:lnTo>
                <a:lnTo>
                  <a:pt x="10668" y="9131"/>
                </a:lnTo>
                <a:lnTo>
                  <a:pt x="10668" y="4559"/>
                </a:lnTo>
                <a:close/>
              </a:path>
              <a:path w="772794" h="390525">
                <a:moveTo>
                  <a:pt x="761942" y="4559"/>
                </a:moveTo>
                <a:lnTo>
                  <a:pt x="10668" y="4559"/>
                </a:lnTo>
                <a:lnTo>
                  <a:pt x="10668" y="9131"/>
                </a:lnTo>
                <a:lnTo>
                  <a:pt x="761942" y="9131"/>
                </a:lnTo>
                <a:lnTo>
                  <a:pt x="761942" y="4559"/>
                </a:lnTo>
                <a:close/>
              </a:path>
              <a:path w="772794" h="390525">
                <a:moveTo>
                  <a:pt x="772610" y="4559"/>
                </a:moveTo>
                <a:lnTo>
                  <a:pt x="761942" y="4559"/>
                </a:lnTo>
                <a:lnTo>
                  <a:pt x="766514" y="9131"/>
                </a:lnTo>
                <a:lnTo>
                  <a:pt x="772610" y="9131"/>
                </a:lnTo>
                <a:lnTo>
                  <a:pt x="772610" y="45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2841022" y="5693712"/>
            <a:ext cx="848994" cy="390525"/>
          </a:xfrm>
          <a:custGeom>
            <a:avLst/>
            <a:gdLst/>
            <a:ahLst/>
            <a:cxnLst/>
            <a:rect l="l" t="t" r="r" b="b"/>
            <a:pathLst>
              <a:path w="848995" h="390525">
                <a:moveTo>
                  <a:pt x="848794" y="0"/>
                </a:moveTo>
                <a:lnTo>
                  <a:pt x="0" y="0"/>
                </a:lnTo>
                <a:lnTo>
                  <a:pt x="0" y="390107"/>
                </a:lnTo>
                <a:lnTo>
                  <a:pt x="848794" y="390107"/>
                </a:lnTo>
                <a:lnTo>
                  <a:pt x="848794" y="385535"/>
                </a:lnTo>
                <a:lnTo>
                  <a:pt x="10655" y="385535"/>
                </a:lnTo>
                <a:lnTo>
                  <a:pt x="4559" y="380963"/>
                </a:lnTo>
                <a:lnTo>
                  <a:pt x="10655" y="380963"/>
                </a:lnTo>
                <a:lnTo>
                  <a:pt x="10655" y="9131"/>
                </a:lnTo>
                <a:lnTo>
                  <a:pt x="4559" y="9131"/>
                </a:lnTo>
                <a:lnTo>
                  <a:pt x="10655" y="4559"/>
                </a:lnTo>
                <a:lnTo>
                  <a:pt x="848794" y="4559"/>
                </a:lnTo>
                <a:lnTo>
                  <a:pt x="848794" y="0"/>
                </a:lnTo>
                <a:close/>
              </a:path>
              <a:path w="848995" h="390525">
                <a:moveTo>
                  <a:pt x="10655" y="380963"/>
                </a:moveTo>
                <a:lnTo>
                  <a:pt x="4559" y="380963"/>
                </a:lnTo>
                <a:lnTo>
                  <a:pt x="10655" y="385535"/>
                </a:lnTo>
                <a:lnTo>
                  <a:pt x="10655" y="380963"/>
                </a:lnTo>
                <a:close/>
              </a:path>
              <a:path w="848995" h="390525">
                <a:moveTo>
                  <a:pt x="838126" y="380963"/>
                </a:moveTo>
                <a:lnTo>
                  <a:pt x="10655" y="380963"/>
                </a:lnTo>
                <a:lnTo>
                  <a:pt x="10655" y="385535"/>
                </a:lnTo>
                <a:lnTo>
                  <a:pt x="838126" y="385535"/>
                </a:lnTo>
                <a:lnTo>
                  <a:pt x="838126" y="380963"/>
                </a:lnTo>
                <a:close/>
              </a:path>
              <a:path w="848995" h="390525">
                <a:moveTo>
                  <a:pt x="838126" y="4559"/>
                </a:moveTo>
                <a:lnTo>
                  <a:pt x="838126" y="385535"/>
                </a:lnTo>
                <a:lnTo>
                  <a:pt x="842698" y="380963"/>
                </a:lnTo>
                <a:lnTo>
                  <a:pt x="848794" y="380963"/>
                </a:lnTo>
                <a:lnTo>
                  <a:pt x="848794" y="9131"/>
                </a:lnTo>
                <a:lnTo>
                  <a:pt x="842698" y="9131"/>
                </a:lnTo>
                <a:lnTo>
                  <a:pt x="838126" y="4559"/>
                </a:lnTo>
                <a:close/>
              </a:path>
              <a:path w="848995" h="390525">
                <a:moveTo>
                  <a:pt x="848794" y="380963"/>
                </a:moveTo>
                <a:lnTo>
                  <a:pt x="842698" y="380963"/>
                </a:lnTo>
                <a:lnTo>
                  <a:pt x="838126" y="385535"/>
                </a:lnTo>
                <a:lnTo>
                  <a:pt x="848794" y="385535"/>
                </a:lnTo>
                <a:lnTo>
                  <a:pt x="848794" y="380963"/>
                </a:lnTo>
                <a:close/>
              </a:path>
              <a:path w="848995" h="390525">
                <a:moveTo>
                  <a:pt x="10655" y="4559"/>
                </a:moveTo>
                <a:lnTo>
                  <a:pt x="4559" y="9131"/>
                </a:lnTo>
                <a:lnTo>
                  <a:pt x="10655" y="9131"/>
                </a:lnTo>
                <a:lnTo>
                  <a:pt x="10655" y="4559"/>
                </a:lnTo>
                <a:close/>
              </a:path>
              <a:path w="848995" h="390525">
                <a:moveTo>
                  <a:pt x="838126" y="4559"/>
                </a:moveTo>
                <a:lnTo>
                  <a:pt x="10655" y="4559"/>
                </a:lnTo>
                <a:lnTo>
                  <a:pt x="10655" y="9131"/>
                </a:lnTo>
                <a:lnTo>
                  <a:pt x="838126" y="9131"/>
                </a:lnTo>
                <a:lnTo>
                  <a:pt x="838126" y="4559"/>
                </a:lnTo>
                <a:close/>
              </a:path>
              <a:path w="848995" h="390525">
                <a:moveTo>
                  <a:pt x="848794" y="4559"/>
                </a:moveTo>
                <a:lnTo>
                  <a:pt x="838126" y="4559"/>
                </a:lnTo>
                <a:lnTo>
                  <a:pt x="842698" y="9131"/>
                </a:lnTo>
                <a:lnTo>
                  <a:pt x="848794" y="9131"/>
                </a:lnTo>
                <a:lnTo>
                  <a:pt x="848794" y="45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3983918" y="5693712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37" y="0"/>
                </a:moveTo>
                <a:lnTo>
                  <a:pt x="0" y="0"/>
                </a:lnTo>
                <a:lnTo>
                  <a:pt x="0" y="390107"/>
                </a:lnTo>
                <a:lnTo>
                  <a:pt x="544037" y="390107"/>
                </a:lnTo>
                <a:lnTo>
                  <a:pt x="544037" y="385535"/>
                </a:lnTo>
                <a:lnTo>
                  <a:pt x="10668" y="385535"/>
                </a:lnTo>
                <a:lnTo>
                  <a:pt x="4572" y="380963"/>
                </a:lnTo>
                <a:lnTo>
                  <a:pt x="10668" y="380963"/>
                </a:lnTo>
                <a:lnTo>
                  <a:pt x="10668" y="9131"/>
                </a:lnTo>
                <a:lnTo>
                  <a:pt x="4572" y="9131"/>
                </a:lnTo>
                <a:lnTo>
                  <a:pt x="10668" y="4559"/>
                </a:lnTo>
                <a:lnTo>
                  <a:pt x="544037" y="4559"/>
                </a:lnTo>
                <a:lnTo>
                  <a:pt x="544037" y="0"/>
                </a:lnTo>
                <a:close/>
              </a:path>
              <a:path w="544195" h="390525">
                <a:moveTo>
                  <a:pt x="10668" y="380963"/>
                </a:moveTo>
                <a:lnTo>
                  <a:pt x="4572" y="380963"/>
                </a:lnTo>
                <a:lnTo>
                  <a:pt x="10668" y="385535"/>
                </a:lnTo>
                <a:lnTo>
                  <a:pt x="10668" y="380963"/>
                </a:lnTo>
                <a:close/>
              </a:path>
              <a:path w="544195" h="390525">
                <a:moveTo>
                  <a:pt x="533369" y="380963"/>
                </a:moveTo>
                <a:lnTo>
                  <a:pt x="10668" y="380963"/>
                </a:lnTo>
                <a:lnTo>
                  <a:pt x="10668" y="385535"/>
                </a:lnTo>
                <a:lnTo>
                  <a:pt x="533369" y="385535"/>
                </a:lnTo>
                <a:lnTo>
                  <a:pt x="533369" y="380963"/>
                </a:lnTo>
                <a:close/>
              </a:path>
              <a:path w="544195" h="390525">
                <a:moveTo>
                  <a:pt x="533369" y="4559"/>
                </a:moveTo>
                <a:lnTo>
                  <a:pt x="533369" y="385535"/>
                </a:lnTo>
                <a:lnTo>
                  <a:pt x="537941" y="380963"/>
                </a:lnTo>
                <a:lnTo>
                  <a:pt x="544037" y="380963"/>
                </a:lnTo>
                <a:lnTo>
                  <a:pt x="544037" y="9131"/>
                </a:lnTo>
                <a:lnTo>
                  <a:pt x="537941" y="9131"/>
                </a:lnTo>
                <a:lnTo>
                  <a:pt x="533369" y="4559"/>
                </a:lnTo>
                <a:close/>
              </a:path>
              <a:path w="544195" h="390525">
                <a:moveTo>
                  <a:pt x="544037" y="380963"/>
                </a:moveTo>
                <a:lnTo>
                  <a:pt x="537941" y="380963"/>
                </a:lnTo>
                <a:lnTo>
                  <a:pt x="533369" y="385535"/>
                </a:lnTo>
                <a:lnTo>
                  <a:pt x="544037" y="385535"/>
                </a:lnTo>
                <a:lnTo>
                  <a:pt x="544037" y="380963"/>
                </a:lnTo>
                <a:close/>
              </a:path>
              <a:path w="544195" h="390525">
                <a:moveTo>
                  <a:pt x="10668" y="4559"/>
                </a:moveTo>
                <a:lnTo>
                  <a:pt x="4572" y="9131"/>
                </a:lnTo>
                <a:lnTo>
                  <a:pt x="10668" y="9131"/>
                </a:lnTo>
                <a:lnTo>
                  <a:pt x="10668" y="4559"/>
                </a:lnTo>
                <a:close/>
              </a:path>
              <a:path w="544195" h="390525">
                <a:moveTo>
                  <a:pt x="533369" y="4559"/>
                </a:moveTo>
                <a:lnTo>
                  <a:pt x="10668" y="4559"/>
                </a:lnTo>
                <a:lnTo>
                  <a:pt x="10668" y="9131"/>
                </a:lnTo>
                <a:lnTo>
                  <a:pt x="533369" y="9131"/>
                </a:lnTo>
                <a:lnTo>
                  <a:pt x="533369" y="4559"/>
                </a:lnTo>
                <a:close/>
              </a:path>
              <a:path w="544195" h="390525">
                <a:moveTo>
                  <a:pt x="544037" y="4559"/>
                </a:moveTo>
                <a:lnTo>
                  <a:pt x="533369" y="4559"/>
                </a:lnTo>
                <a:lnTo>
                  <a:pt x="537941" y="9131"/>
                </a:lnTo>
                <a:lnTo>
                  <a:pt x="544037" y="9131"/>
                </a:lnTo>
                <a:lnTo>
                  <a:pt x="544037" y="45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5583997" y="5693712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07" y="0"/>
                </a:moveTo>
                <a:lnTo>
                  <a:pt x="0" y="0"/>
                </a:lnTo>
                <a:lnTo>
                  <a:pt x="0" y="390107"/>
                </a:lnTo>
                <a:lnTo>
                  <a:pt x="544007" y="390107"/>
                </a:lnTo>
                <a:lnTo>
                  <a:pt x="544007" y="385535"/>
                </a:lnTo>
                <a:lnTo>
                  <a:pt x="10668" y="385535"/>
                </a:lnTo>
                <a:lnTo>
                  <a:pt x="4572" y="380963"/>
                </a:lnTo>
                <a:lnTo>
                  <a:pt x="10668" y="380963"/>
                </a:lnTo>
                <a:lnTo>
                  <a:pt x="10668" y="9131"/>
                </a:lnTo>
                <a:lnTo>
                  <a:pt x="4572" y="9131"/>
                </a:lnTo>
                <a:lnTo>
                  <a:pt x="10668" y="4559"/>
                </a:lnTo>
                <a:lnTo>
                  <a:pt x="544007" y="4559"/>
                </a:lnTo>
                <a:lnTo>
                  <a:pt x="544007" y="0"/>
                </a:lnTo>
                <a:close/>
              </a:path>
              <a:path w="544195" h="390525">
                <a:moveTo>
                  <a:pt x="10668" y="380963"/>
                </a:moveTo>
                <a:lnTo>
                  <a:pt x="4572" y="380963"/>
                </a:lnTo>
                <a:lnTo>
                  <a:pt x="10668" y="385535"/>
                </a:lnTo>
                <a:lnTo>
                  <a:pt x="10668" y="380963"/>
                </a:lnTo>
                <a:close/>
              </a:path>
              <a:path w="544195" h="390525">
                <a:moveTo>
                  <a:pt x="533339" y="380963"/>
                </a:moveTo>
                <a:lnTo>
                  <a:pt x="10668" y="380963"/>
                </a:lnTo>
                <a:lnTo>
                  <a:pt x="10668" y="385535"/>
                </a:lnTo>
                <a:lnTo>
                  <a:pt x="533339" y="385535"/>
                </a:lnTo>
                <a:lnTo>
                  <a:pt x="533339" y="380963"/>
                </a:lnTo>
                <a:close/>
              </a:path>
              <a:path w="544195" h="390525">
                <a:moveTo>
                  <a:pt x="533339" y="4559"/>
                </a:moveTo>
                <a:lnTo>
                  <a:pt x="533339" y="385535"/>
                </a:lnTo>
                <a:lnTo>
                  <a:pt x="537911" y="380963"/>
                </a:lnTo>
                <a:lnTo>
                  <a:pt x="544007" y="380963"/>
                </a:lnTo>
                <a:lnTo>
                  <a:pt x="544007" y="9131"/>
                </a:lnTo>
                <a:lnTo>
                  <a:pt x="537911" y="9131"/>
                </a:lnTo>
                <a:lnTo>
                  <a:pt x="533339" y="4559"/>
                </a:lnTo>
                <a:close/>
              </a:path>
              <a:path w="544195" h="390525">
                <a:moveTo>
                  <a:pt x="544007" y="380963"/>
                </a:moveTo>
                <a:lnTo>
                  <a:pt x="537911" y="380963"/>
                </a:lnTo>
                <a:lnTo>
                  <a:pt x="533339" y="385535"/>
                </a:lnTo>
                <a:lnTo>
                  <a:pt x="544007" y="385535"/>
                </a:lnTo>
                <a:lnTo>
                  <a:pt x="544007" y="380963"/>
                </a:lnTo>
                <a:close/>
              </a:path>
              <a:path w="544195" h="390525">
                <a:moveTo>
                  <a:pt x="10668" y="4559"/>
                </a:moveTo>
                <a:lnTo>
                  <a:pt x="4572" y="9131"/>
                </a:lnTo>
                <a:lnTo>
                  <a:pt x="10668" y="9131"/>
                </a:lnTo>
                <a:lnTo>
                  <a:pt x="10668" y="4559"/>
                </a:lnTo>
                <a:close/>
              </a:path>
              <a:path w="544195" h="390525">
                <a:moveTo>
                  <a:pt x="533339" y="4559"/>
                </a:moveTo>
                <a:lnTo>
                  <a:pt x="10668" y="4559"/>
                </a:lnTo>
                <a:lnTo>
                  <a:pt x="10668" y="9131"/>
                </a:lnTo>
                <a:lnTo>
                  <a:pt x="533339" y="9131"/>
                </a:lnTo>
                <a:lnTo>
                  <a:pt x="533339" y="4559"/>
                </a:lnTo>
                <a:close/>
              </a:path>
              <a:path w="544195" h="390525">
                <a:moveTo>
                  <a:pt x="544007" y="4559"/>
                </a:moveTo>
                <a:lnTo>
                  <a:pt x="533339" y="4559"/>
                </a:lnTo>
                <a:lnTo>
                  <a:pt x="537911" y="9131"/>
                </a:lnTo>
                <a:lnTo>
                  <a:pt x="544007" y="9131"/>
                </a:lnTo>
                <a:lnTo>
                  <a:pt x="544007" y="45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4745857" y="5693712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07" y="0"/>
                </a:moveTo>
                <a:lnTo>
                  <a:pt x="0" y="0"/>
                </a:lnTo>
                <a:lnTo>
                  <a:pt x="0" y="390107"/>
                </a:lnTo>
                <a:lnTo>
                  <a:pt x="544007" y="390107"/>
                </a:lnTo>
                <a:lnTo>
                  <a:pt x="544007" y="385535"/>
                </a:lnTo>
                <a:lnTo>
                  <a:pt x="10668" y="385535"/>
                </a:lnTo>
                <a:lnTo>
                  <a:pt x="4572" y="380963"/>
                </a:lnTo>
                <a:lnTo>
                  <a:pt x="10668" y="380963"/>
                </a:lnTo>
                <a:lnTo>
                  <a:pt x="10668" y="9131"/>
                </a:lnTo>
                <a:lnTo>
                  <a:pt x="4572" y="9131"/>
                </a:lnTo>
                <a:lnTo>
                  <a:pt x="10668" y="4559"/>
                </a:lnTo>
                <a:lnTo>
                  <a:pt x="544007" y="4559"/>
                </a:lnTo>
                <a:lnTo>
                  <a:pt x="544007" y="0"/>
                </a:lnTo>
                <a:close/>
              </a:path>
              <a:path w="544195" h="390525">
                <a:moveTo>
                  <a:pt x="10668" y="380963"/>
                </a:moveTo>
                <a:lnTo>
                  <a:pt x="4572" y="380963"/>
                </a:lnTo>
                <a:lnTo>
                  <a:pt x="10668" y="385535"/>
                </a:lnTo>
                <a:lnTo>
                  <a:pt x="10668" y="380963"/>
                </a:lnTo>
                <a:close/>
              </a:path>
              <a:path w="544195" h="390525">
                <a:moveTo>
                  <a:pt x="533339" y="380963"/>
                </a:moveTo>
                <a:lnTo>
                  <a:pt x="10668" y="380963"/>
                </a:lnTo>
                <a:lnTo>
                  <a:pt x="10668" y="385535"/>
                </a:lnTo>
                <a:lnTo>
                  <a:pt x="533339" y="385535"/>
                </a:lnTo>
                <a:lnTo>
                  <a:pt x="533339" y="380963"/>
                </a:lnTo>
                <a:close/>
              </a:path>
              <a:path w="544195" h="390525">
                <a:moveTo>
                  <a:pt x="533339" y="4559"/>
                </a:moveTo>
                <a:lnTo>
                  <a:pt x="533339" y="385535"/>
                </a:lnTo>
                <a:lnTo>
                  <a:pt x="537911" y="380963"/>
                </a:lnTo>
                <a:lnTo>
                  <a:pt x="544007" y="380963"/>
                </a:lnTo>
                <a:lnTo>
                  <a:pt x="544007" y="9131"/>
                </a:lnTo>
                <a:lnTo>
                  <a:pt x="537911" y="9131"/>
                </a:lnTo>
                <a:lnTo>
                  <a:pt x="533339" y="4559"/>
                </a:lnTo>
                <a:close/>
              </a:path>
              <a:path w="544195" h="390525">
                <a:moveTo>
                  <a:pt x="544007" y="380963"/>
                </a:moveTo>
                <a:lnTo>
                  <a:pt x="537911" y="380963"/>
                </a:lnTo>
                <a:lnTo>
                  <a:pt x="533339" y="385535"/>
                </a:lnTo>
                <a:lnTo>
                  <a:pt x="544007" y="385535"/>
                </a:lnTo>
                <a:lnTo>
                  <a:pt x="544007" y="380963"/>
                </a:lnTo>
                <a:close/>
              </a:path>
              <a:path w="544195" h="390525">
                <a:moveTo>
                  <a:pt x="10668" y="4559"/>
                </a:moveTo>
                <a:lnTo>
                  <a:pt x="4572" y="9131"/>
                </a:lnTo>
                <a:lnTo>
                  <a:pt x="10668" y="9131"/>
                </a:lnTo>
                <a:lnTo>
                  <a:pt x="10668" y="4559"/>
                </a:lnTo>
                <a:close/>
              </a:path>
              <a:path w="544195" h="390525">
                <a:moveTo>
                  <a:pt x="533339" y="4559"/>
                </a:moveTo>
                <a:lnTo>
                  <a:pt x="10668" y="4559"/>
                </a:lnTo>
                <a:lnTo>
                  <a:pt x="10668" y="9131"/>
                </a:lnTo>
                <a:lnTo>
                  <a:pt x="533339" y="9131"/>
                </a:lnTo>
                <a:lnTo>
                  <a:pt x="533339" y="4559"/>
                </a:lnTo>
                <a:close/>
              </a:path>
              <a:path w="544195" h="390525">
                <a:moveTo>
                  <a:pt x="544007" y="4559"/>
                </a:moveTo>
                <a:lnTo>
                  <a:pt x="533339" y="4559"/>
                </a:lnTo>
                <a:lnTo>
                  <a:pt x="537911" y="9131"/>
                </a:lnTo>
                <a:lnTo>
                  <a:pt x="544007" y="9131"/>
                </a:lnTo>
                <a:lnTo>
                  <a:pt x="544007" y="45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6345936" y="5693712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07" y="0"/>
                </a:moveTo>
                <a:lnTo>
                  <a:pt x="0" y="0"/>
                </a:lnTo>
                <a:lnTo>
                  <a:pt x="0" y="390107"/>
                </a:lnTo>
                <a:lnTo>
                  <a:pt x="544007" y="390107"/>
                </a:lnTo>
                <a:lnTo>
                  <a:pt x="544007" y="385535"/>
                </a:lnTo>
                <a:lnTo>
                  <a:pt x="10668" y="385535"/>
                </a:lnTo>
                <a:lnTo>
                  <a:pt x="4572" y="380963"/>
                </a:lnTo>
                <a:lnTo>
                  <a:pt x="10668" y="380963"/>
                </a:lnTo>
                <a:lnTo>
                  <a:pt x="10668" y="9131"/>
                </a:lnTo>
                <a:lnTo>
                  <a:pt x="4572" y="9131"/>
                </a:lnTo>
                <a:lnTo>
                  <a:pt x="10668" y="4559"/>
                </a:lnTo>
                <a:lnTo>
                  <a:pt x="544007" y="4559"/>
                </a:lnTo>
                <a:lnTo>
                  <a:pt x="544007" y="0"/>
                </a:lnTo>
                <a:close/>
              </a:path>
              <a:path w="544195" h="390525">
                <a:moveTo>
                  <a:pt x="10668" y="380963"/>
                </a:moveTo>
                <a:lnTo>
                  <a:pt x="4572" y="380963"/>
                </a:lnTo>
                <a:lnTo>
                  <a:pt x="10668" y="385535"/>
                </a:lnTo>
                <a:lnTo>
                  <a:pt x="10668" y="380963"/>
                </a:lnTo>
                <a:close/>
              </a:path>
              <a:path w="544195" h="390525">
                <a:moveTo>
                  <a:pt x="533339" y="380963"/>
                </a:moveTo>
                <a:lnTo>
                  <a:pt x="10668" y="380963"/>
                </a:lnTo>
                <a:lnTo>
                  <a:pt x="10668" y="385535"/>
                </a:lnTo>
                <a:lnTo>
                  <a:pt x="533339" y="385535"/>
                </a:lnTo>
                <a:lnTo>
                  <a:pt x="533339" y="380963"/>
                </a:lnTo>
                <a:close/>
              </a:path>
              <a:path w="544195" h="390525">
                <a:moveTo>
                  <a:pt x="533339" y="4559"/>
                </a:moveTo>
                <a:lnTo>
                  <a:pt x="533339" y="385535"/>
                </a:lnTo>
                <a:lnTo>
                  <a:pt x="537911" y="380963"/>
                </a:lnTo>
                <a:lnTo>
                  <a:pt x="544007" y="380963"/>
                </a:lnTo>
                <a:lnTo>
                  <a:pt x="544007" y="9131"/>
                </a:lnTo>
                <a:lnTo>
                  <a:pt x="537911" y="9131"/>
                </a:lnTo>
                <a:lnTo>
                  <a:pt x="533339" y="4559"/>
                </a:lnTo>
                <a:close/>
              </a:path>
              <a:path w="544195" h="390525">
                <a:moveTo>
                  <a:pt x="544007" y="380963"/>
                </a:moveTo>
                <a:lnTo>
                  <a:pt x="537911" y="380963"/>
                </a:lnTo>
                <a:lnTo>
                  <a:pt x="533339" y="385535"/>
                </a:lnTo>
                <a:lnTo>
                  <a:pt x="544007" y="385535"/>
                </a:lnTo>
                <a:lnTo>
                  <a:pt x="544007" y="380963"/>
                </a:lnTo>
                <a:close/>
              </a:path>
              <a:path w="544195" h="390525">
                <a:moveTo>
                  <a:pt x="10668" y="4559"/>
                </a:moveTo>
                <a:lnTo>
                  <a:pt x="4572" y="9131"/>
                </a:lnTo>
                <a:lnTo>
                  <a:pt x="10668" y="9131"/>
                </a:lnTo>
                <a:lnTo>
                  <a:pt x="10668" y="4559"/>
                </a:lnTo>
                <a:close/>
              </a:path>
              <a:path w="544195" h="390525">
                <a:moveTo>
                  <a:pt x="533339" y="4559"/>
                </a:moveTo>
                <a:lnTo>
                  <a:pt x="10668" y="4559"/>
                </a:lnTo>
                <a:lnTo>
                  <a:pt x="10668" y="9131"/>
                </a:lnTo>
                <a:lnTo>
                  <a:pt x="533339" y="9131"/>
                </a:lnTo>
                <a:lnTo>
                  <a:pt x="533339" y="4559"/>
                </a:lnTo>
                <a:close/>
              </a:path>
              <a:path w="544195" h="390525">
                <a:moveTo>
                  <a:pt x="544007" y="4559"/>
                </a:moveTo>
                <a:lnTo>
                  <a:pt x="533339" y="4559"/>
                </a:lnTo>
                <a:lnTo>
                  <a:pt x="537911" y="9131"/>
                </a:lnTo>
                <a:lnTo>
                  <a:pt x="544007" y="9131"/>
                </a:lnTo>
                <a:lnTo>
                  <a:pt x="544007" y="45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7107875" y="5693712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07" y="0"/>
                </a:moveTo>
                <a:lnTo>
                  <a:pt x="0" y="0"/>
                </a:lnTo>
                <a:lnTo>
                  <a:pt x="0" y="390107"/>
                </a:lnTo>
                <a:lnTo>
                  <a:pt x="544007" y="390107"/>
                </a:lnTo>
                <a:lnTo>
                  <a:pt x="544007" y="385535"/>
                </a:lnTo>
                <a:lnTo>
                  <a:pt x="10668" y="385535"/>
                </a:lnTo>
                <a:lnTo>
                  <a:pt x="4572" y="380963"/>
                </a:lnTo>
                <a:lnTo>
                  <a:pt x="10668" y="380963"/>
                </a:lnTo>
                <a:lnTo>
                  <a:pt x="10668" y="9131"/>
                </a:lnTo>
                <a:lnTo>
                  <a:pt x="4572" y="9131"/>
                </a:lnTo>
                <a:lnTo>
                  <a:pt x="10668" y="4559"/>
                </a:lnTo>
                <a:lnTo>
                  <a:pt x="544007" y="4559"/>
                </a:lnTo>
                <a:lnTo>
                  <a:pt x="544007" y="0"/>
                </a:lnTo>
                <a:close/>
              </a:path>
              <a:path w="544195" h="390525">
                <a:moveTo>
                  <a:pt x="10668" y="380963"/>
                </a:moveTo>
                <a:lnTo>
                  <a:pt x="4572" y="380963"/>
                </a:lnTo>
                <a:lnTo>
                  <a:pt x="10668" y="385535"/>
                </a:lnTo>
                <a:lnTo>
                  <a:pt x="10668" y="380963"/>
                </a:lnTo>
                <a:close/>
              </a:path>
              <a:path w="544195" h="390525">
                <a:moveTo>
                  <a:pt x="533339" y="380963"/>
                </a:moveTo>
                <a:lnTo>
                  <a:pt x="10668" y="380963"/>
                </a:lnTo>
                <a:lnTo>
                  <a:pt x="10668" y="385535"/>
                </a:lnTo>
                <a:lnTo>
                  <a:pt x="533339" y="385535"/>
                </a:lnTo>
                <a:lnTo>
                  <a:pt x="533339" y="380963"/>
                </a:lnTo>
                <a:close/>
              </a:path>
              <a:path w="544195" h="390525">
                <a:moveTo>
                  <a:pt x="533339" y="4559"/>
                </a:moveTo>
                <a:lnTo>
                  <a:pt x="533339" y="385535"/>
                </a:lnTo>
                <a:lnTo>
                  <a:pt x="537911" y="380963"/>
                </a:lnTo>
                <a:lnTo>
                  <a:pt x="544007" y="380963"/>
                </a:lnTo>
                <a:lnTo>
                  <a:pt x="544007" y="9131"/>
                </a:lnTo>
                <a:lnTo>
                  <a:pt x="537911" y="9131"/>
                </a:lnTo>
                <a:lnTo>
                  <a:pt x="533339" y="4559"/>
                </a:lnTo>
                <a:close/>
              </a:path>
              <a:path w="544195" h="390525">
                <a:moveTo>
                  <a:pt x="544007" y="380963"/>
                </a:moveTo>
                <a:lnTo>
                  <a:pt x="537911" y="380963"/>
                </a:lnTo>
                <a:lnTo>
                  <a:pt x="533339" y="385535"/>
                </a:lnTo>
                <a:lnTo>
                  <a:pt x="544007" y="385535"/>
                </a:lnTo>
                <a:lnTo>
                  <a:pt x="544007" y="380963"/>
                </a:lnTo>
                <a:close/>
              </a:path>
              <a:path w="544195" h="390525">
                <a:moveTo>
                  <a:pt x="10668" y="4559"/>
                </a:moveTo>
                <a:lnTo>
                  <a:pt x="4572" y="9131"/>
                </a:lnTo>
                <a:lnTo>
                  <a:pt x="10668" y="9131"/>
                </a:lnTo>
                <a:lnTo>
                  <a:pt x="10668" y="4559"/>
                </a:lnTo>
                <a:close/>
              </a:path>
              <a:path w="544195" h="390525">
                <a:moveTo>
                  <a:pt x="533339" y="4559"/>
                </a:moveTo>
                <a:lnTo>
                  <a:pt x="10668" y="4559"/>
                </a:lnTo>
                <a:lnTo>
                  <a:pt x="10668" y="9131"/>
                </a:lnTo>
                <a:lnTo>
                  <a:pt x="533339" y="9131"/>
                </a:lnTo>
                <a:lnTo>
                  <a:pt x="533339" y="4559"/>
                </a:lnTo>
                <a:close/>
              </a:path>
              <a:path w="544195" h="390525">
                <a:moveTo>
                  <a:pt x="544007" y="4559"/>
                </a:moveTo>
                <a:lnTo>
                  <a:pt x="533339" y="4559"/>
                </a:lnTo>
                <a:lnTo>
                  <a:pt x="537911" y="9131"/>
                </a:lnTo>
                <a:lnTo>
                  <a:pt x="544007" y="9131"/>
                </a:lnTo>
                <a:lnTo>
                  <a:pt x="544007" y="45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7869783" y="5693712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37" y="0"/>
                </a:moveTo>
                <a:lnTo>
                  <a:pt x="0" y="0"/>
                </a:lnTo>
                <a:lnTo>
                  <a:pt x="0" y="390107"/>
                </a:lnTo>
                <a:lnTo>
                  <a:pt x="544037" y="390107"/>
                </a:lnTo>
                <a:lnTo>
                  <a:pt x="544037" y="385535"/>
                </a:lnTo>
                <a:lnTo>
                  <a:pt x="10668" y="385535"/>
                </a:lnTo>
                <a:lnTo>
                  <a:pt x="4572" y="380963"/>
                </a:lnTo>
                <a:lnTo>
                  <a:pt x="10668" y="380963"/>
                </a:lnTo>
                <a:lnTo>
                  <a:pt x="10668" y="9131"/>
                </a:lnTo>
                <a:lnTo>
                  <a:pt x="4572" y="9131"/>
                </a:lnTo>
                <a:lnTo>
                  <a:pt x="10668" y="4559"/>
                </a:lnTo>
                <a:lnTo>
                  <a:pt x="544037" y="4559"/>
                </a:lnTo>
                <a:lnTo>
                  <a:pt x="544037" y="0"/>
                </a:lnTo>
                <a:close/>
              </a:path>
              <a:path w="544195" h="390525">
                <a:moveTo>
                  <a:pt x="10668" y="380963"/>
                </a:moveTo>
                <a:lnTo>
                  <a:pt x="4572" y="380963"/>
                </a:lnTo>
                <a:lnTo>
                  <a:pt x="10668" y="385535"/>
                </a:lnTo>
                <a:lnTo>
                  <a:pt x="10668" y="380963"/>
                </a:lnTo>
                <a:close/>
              </a:path>
              <a:path w="544195" h="390525">
                <a:moveTo>
                  <a:pt x="533369" y="380963"/>
                </a:moveTo>
                <a:lnTo>
                  <a:pt x="10668" y="380963"/>
                </a:lnTo>
                <a:lnTo>
                  <a:pt x="10668" y="385535"/>
                </a:lnTo>
                <a:lnTo>
                  <a:pt x="533369" y="385535"/>
                </a:lnTo>
                <a:lnTo>
                  <a:pt x="533369" y="380963"/>
                </a:lnTo>
                <a:close/>
              </a:path>
              <a:path w="544195" h="390525">
                <a:moveTo>
                  <a:pt x="533369" y="4559"/>
                </a:moveTo>
                <a:lnTo>
                  <a:pt x="533369" y="385535"/>
                </a:lnTo>
                <a:lnTo>
                  <a:pt x="537941" y="380963"/>
                </a:lnTo>
                <a:lnTo>
                  <a:pt x="544037" y="380963"/>
                </a:lnTo>
                <a:lnTo>
                  <a:pt x="544037" y="9131"/>
                </a:lnTo>
                <a:lnTo>
                  <a:pt x="537941" y="9131"/>
                </a:lnTo>
                <a:lnTo>
                  <a:pt x="533369" y="4559"/>
                </a:lnTo>
                <a:close/>
              </a:path>
              <a:path w="544195" h="390525">
                <a:moveTo>
                  <a:pt x="544037" y="380963"/>
                </a:moveTo>
                <a:lnTo>
                  <a:pt x="537941" y="380963"/>
                </a:lnTo>
                <a:lnTo>
                  <a:pt x="533369" y="385535"/>
                </a:lnTo>
                <a:lnTo>
                  <a:pt x="544037" y="385535"/>
                </a:lnTo>
                <a:lnTo>
                  <a:pt x="544037" y="380963"/>
                </a:lnTo>
                <a:close/>
              </a:path>
              <a:path w="544195" h="390525">
                <a:moveTo>
                  <a:pt x="10668" y="4559"/>
                </a:moveTo>
                <a:lnTo>
                  <a:pt x="4572" y="9131"/>
                </a:lnTo>
                <a:lnTo>
                  <a:pt x="10668" y="9131"/>
                </a:lnTo>
                <a:lnTo>
                  <a:pt x="10668" y="4559"/>
                </a:lnTo>
                <a:close/>
              </a:path>
              <a:path w="544195" h="390525">
                <a:moveTo>
                  <a:pt x="533369" y="4559"/>
                </a:moveTo>
                <a:lnTo>
                  <a:pt x="10668" y="4559"/>
                </a:lnTo>
                <a:lnTo>
                  <a:pt x="10668" y="9131"/>
                </a:lnTo>
                <a:lnTo>
                  <a:pt x="533369" y="9131"/>
                </a:lnTo>
                <a:lnTo>
                  <a:pt x="533369" y="4559"/>
                </a:lnTo>
                <a:close/>
              </a:path>
              <a:path w="544195" h="390525">
                <a:moveTo>
                  <a:pt x="544037" y="4559"/>
                </a:moveTo>
                <a:lnTo>
                  <a:pt x="533369" y="4559"/>
                </a:lnTo>
                <a:lnTo>
                  <a:pt x="537941" y="9131"/>
                </a:lnTo>
                <a:lnTo>
                  <a:pt x="544037" y="9131"/>
                </a:lnTo>
                <a:lnTo>
                  <a:pt x="544037" y="45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8631722" y="5693712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37" y="0"/>
                </a:moveTo>
                <a:lnTo>
                  <a:pt x="0" y="0"/>
                </a:lnTo>
                <a:lnTo>
                  <a:pt x="0" y="390107"/>
                </a:lnTo>
                <a:lnTo>
                  <a:pt x="544037" y="390107"/>
                </a:lnTo>
                <a:lnTo>
                  <a:pt x="544037" y="385535"/>
                </a:lnTo>
                <a:lnTo>
                  <a:pt x="10668" y="385535"/>
                </a:lnTo>
                <a:lnTo>
                  <a:pt x="4572" y="380963"/>
                </a:lnTo>
                <a:lnTo>
                  <a:pt x="10668" y="380963"/>
                </a:lnTo>
                <a:lnTo>
                  <a:pt x="10668" y="9131"/>
                </a:lnTo>
                <a:lnTo>
                  <a:pt x="4572" y="9131"/>
                </a:lnTo>
                <a:lnTo>
                  <a:pt x="10668" y="4559"/>
                </a:lnTo>
                <a:lnTo>
                  <a:pt x="544037" y="4559"/>
                </a:lnTo>
                <a:lnTo>
                  <a:pt x="544037" y="0"/>
                </a:lnTo>
                <a:close/>
              </a:path>
              <a:path w="544195" h="390525">
                <a:moveTo>
                  <a:pt x="10668" y="380963"/>
                </a:moveTo>
                <a:lnTo>
                  <a:pt x="4572" y="380963"/>
                </a:lnTo>
                <a:lnTo>
                  <a:pt x="10668" y="385535"/>
                </a:lnTo>
                <a:lnTo>
                  <a:pt x="10668" y="380963"/>
                </a:lnTo>
                <a:close/>
              </a:path>
              <a:path w="544195" h="390525">
                <a:moveTo>
                  <a:pt x="533369" y="380963"/>
                </a:moveTo>
                <a:lnTo>
                  <a:pt x="10668" y="380963"/>
                </a:lnTo>
                <a:lnTo>
                  <a:pt x="10668" y="385535"/>
                </a:lnTo>
                <a:lnTo>
                  <a:pt x="533369" y="385535"/>
                </a:lnTo>
                <a:lnTo>
                  <a:pt x="533369" y="380963"/>
                </a:lnTo>
                <a:close/>
              </a:path>
              <a:path w="544195" h="390525">
                <a:moveTo>
                  <a:pt x="533369" y="4559"/>
                </a:moveTo>
                <a:lnTo>
                  <a:pt x="533369" y="385535"/>
                </a:lnTo>
                <a:lnTo>
                  <a:pt x="537941" y="380963"/>
                </a:lnTo>
                <a:lnTo>
                  <a:pt x="544037" y="380963"/>
                </a:lnTo>
                <a:lnTo>
                  <a:pt x="544037" y="9131"/>
                </a:lnTo>
                <a:lnTo>
                  <a:pt x="537941" y="9131"/>
                </a:lnTo>
                <a:lnTo>
                  <a:pt x="533369" y="4559"/>
                </a:lnTo>
                <a:close/>
              </a:path>
              <a:path w="544195" h="390525">
                <a:moveTo>
                  <a:pt x="544037" y="380963"/>
                </a:moveTo>
                <a:lnTo>
                  <a:pt x="537941" y="380963"/>
                </a:lnTo>
                <a:lnTo>
                  <a:pt x="533369" y="385535"/>
                </a:lnTo>
                <a:lnTo>
                  <a:pt x="544037" y="385535"/>
                </a:lnTo>
                <a:lnTo>
                  <a:pt x="544037" y="380963"/>
                </a:lnTo>
                <a:close/>
              </a:path>
              <a:path w="544195" h="390525">
                <a:moveTo>
                  <a:pt x="10668" y="4559"/>
                </a:moveTo>
                <a:lnTo>
                  <a:pt x="4572" y="9131"/>
                </a:lnTo>
                <a:lnTo>
                  <a:pt x="10668" y="9131"/>
                </a:lnTo>
                <a:lnTo>
                  <a:pt x="10668" y="4559"/>
                </a:lnTo>
                <a:close/>
              </a:path>
              <a:path w="544195" h="390525">
                <a:moveTo>
                  <a:pt x="533369" y="4559"/>
                </a:moveTo>
                <a:lnTo>
                  <a:pt x="10668" y="4559"/>
                </a:lnTo>
                <a:lnTo>
                  <a:pt x="10668" y="9131"/>
                </a:lnTo>
                <a:lnTo>
                  <a:pt x="533369" y="9131"/>
                </a:lnTo>
                <a:lnTo>
                  <a:pt x="533369" y="4559"/>
                </a:lnTo>
                <a:close/>
              </a:path>
              <a:path w="544195" h="390525">
                <a:moveTo>
                  <a:pt x="544037" y="4559"/>
                </a:moveTo>
                <a:lnTo>
                  <a:pt x="533369" y="4559"/>
                </a:lnTo>
                <a:lnTo>
                  <a:pt x="537941" y="9131"/>
                </a:lnTo>
                <a:lnTo>
                  <a:pt x="544037" y="9131"/>
                </a:lnTo>
                <a:lnTo>
                  <a:pt x="544037" y="455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76" name="object 7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388320"/>
              </p:ext>
            </p:extLst>
          </p:nvPr>
        </p:nvGraphicFramePr>
        <p:xfrm>
          <a:off x="1000427" y="3031487"/>
          <a:ext cx="7846695" cy="391846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579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09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6940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227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1989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1227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9298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1227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1989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1227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1989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1227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19892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512270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19892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512270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</a:tblGrid>
              <a:tr h="495848">
                <a:tc>
                  <a:txBody>
                    <a:bodyPr/>
                    <a:lstStyle/>
                    <a:p>
                      <a:pPr marL="31750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01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/>
                </a:tc>
                <a:tc>
                  <a:txBody>
                    <a:bodyPr/>
                    <a:lstStyle/>
                    <a:p>
                      <a:pPr marR="262255" algn="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RO</a:t>
                      </a:r>
                      <a:r>
                        <a:rPr sz="1600" spc="-95" dirty="0">
                          <a:latin typeface="Liberation Sans Narrow"/>
                          <a:cs typeface="Liberation Sans Narrow"/>
                        </a:rPr>
                        <a:t>T</a:t>
                      </a: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A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/>
                </a:tc>
                <a:tc>
                  <a:txBody>
                    <a:bodyPr/>
                    <a:lstStyle/>
                    <a:p>
                      <a:pPr marL="26987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001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/>
                </a:tc>
                <a:tc>
                  <a:txBody>
                    <a:bodyPr/>
                    <a:lstStyle/>
                    <a:p>
                      <a:pPr marL="81280" algn="ct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EARL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1280" algn="ct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EARL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3265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10795" algn="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M</a:t>
                      </a: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I</a:t>
                      </a: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DD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98326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10795" algn="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M</a:t>
                      </a: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I</a:t>
                      </a: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DD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98326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19685" algn="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N</a:t>
                      </a: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I</a:t>
                      </a: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GH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BAE0E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OFF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F4A60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OFF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F4A60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456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5848">
                <a:tc>
                  <a:txBody>
                    <a:bodyPr/>
                    <a:lstStyle/>
                    <a:p>
                      <a:pPr marL="31750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01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/>
                </a:tc>
                <a:tc>
                  <a:txBody>
                    <a:bodyPr/>
                    <a:lstStyle/>
                    <a:p>
                      <a:pPr marR="262255" algn="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RO</a:t>
                      </a:r>
                      <a:r>
                        <a:rPr sz="1600" spc="-95" dirty="0">
                          <a:latin typeface="Liberation Sans Narrow"/>
                          <a:cs typeface="Liberation Sans Narrow"/>
                        </a:rPr>
                        <a:t>T</a:t>
                      </a: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A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/>
                </a:tc>
                <a:tc>
                  <a:txBody>
                    <a:bodyPr/>
                    <a:lstStyle/>
                    <a:p>
                      <a:pPr marL="26987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002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/>
                </a:tc>
                <a:tc>
                  <a:txBody>
                    <a:bodyPr/>
                    <a:lstStyle/>
                    <a:p>
                      <a:pPr marL="61594" algn="ct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NIGH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BAE0E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1280" algn="ct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EARL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3265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EARL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3265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10795" algn="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M</a:t>
                      </a: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I</a:t>
                      </a: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DD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98326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10795" algn="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M</a:t>
                      </a: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I</a:t>
                      </a: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DD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98326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OFF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F4A60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OFF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F4A60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458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5848">
                <a:tc>
                  <a:txBody>
                    <a:bodyPr/>
                    <a:lstStyle/>
                    <a:p>
                      <a:pPr marL="31750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01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/>
                </a:tc>
                <a:tc>
                  <a:txBody>
                    <a:bodyPr/>
                    <a:lstStyle/>
                    <a:p>
                      <a:pPr marR="262255" algn="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RO</a:t>
                      </a:r>
                      <a:r>
                        <a:rPr sz="1600" spc="-95" dirty="0">
                          <a:latin typeface="Liberation Sans Narrow"/>
                          <a:cs typeface="Liberation Sans Narrow"/>
                        </a:rPr>
                        <a:t>T</a:t>
                      </a: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A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/>
                </a:tc>
                <a:tc>
                  <a:txBody>
                    <a:bodyPr/>
                    <a:lstStyle/>
                    <a:p>
                      <a:pPr marL="26987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003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/>
                </a:tc>
                <a:tc>
                  <a:txBody>
                    <a:bodyPr/>
                    <a:lstStyle/>
                    <a:p>
                      <a:pPr marL="61594" algn="ct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NIGH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BAE0E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1594" algn="ct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NIGH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BAE0E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EARL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3265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EARL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3265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10795" algn="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M</a:t>
                      </a: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I</a:t>
                      </a: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DD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98326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OFF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F4A60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OFF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F4A60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2455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5848">
                <a:tc>
                  <a:txBody>
                    <a:bodyPr/>
                    <a:lstStyle/>
                    <a:p>
                      <a:pPr marL="31750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01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/>
                </a:tc>
                <a:tc>
                  <a:txBody>
                    <a:bodyPr/>
                    <a:lstStyle/>
                    <a:p>
                      <a:pPr marR="262255" algn="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RO</a:t>
                      </a:r>
                      <a:r>
                        <a:rPr sz="1600" spc="-95" dirty="0">
                          <a:latin typeface="Liberation Sans Narrow"/>
                          <a:cs typeface="Liberation Sans Narrow"/>
                        </a:rPr>
                        <a:t>T</a:t>
                      </a: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A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/>
                </a:tc>
                <a:tc>
                  <a:txBody>
                    <a:bodyPr/>
                    <a:lstStyle/>
                    <a:p>
                      <a:pPr marL="26987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004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/>
                </a:tc>
                <a:tc>
                  <a:txBody>
                    <a:bodyPr/>
                    <a:lstStyle/>
                    <a:p>
                      <a:pPr marL="71120" algn="ct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MIDD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98326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1594" algn="ct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NIGH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BAE0E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19685" algn="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N</a:t>
                      </a: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I</a:t>
                      </a: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GH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BAE0E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EARL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3265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EARL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3265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OFF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F4A60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OFF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F4A60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2456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5848">
                <a:tc>
                  <a:txBody>
                    <a:bodyPr/>
                    <a:lstStyle/>
                    <a:p>
                      <a:pPr marL="31750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01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/>
                </a:tc>
                <a:tc>
                  <a:txBody>
                    <a:bodyPr/>
                    <a:lstStyle/>
                    <a:p>
                      <a:pPr marR="262255" algn="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RO</a:t>
                      </a:r>
                      <a:r>
                        <a:rPr sz="1600" spc="-95" dirty="0">
                          <a:latin typeface="Liberation Sans Narrow"/>
                          <a:cs typeface="Liberation Sans Narrow"/>
                        </a:rPr>
                        <a:t>T</a:t>
                      </a: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A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/>
                </a:tc>
                <a:tc>
                  <a:txBody>
                    <a:bodyPr/>
                    <a:lstStyle/>
                    <a:p>
                      <a:pPr marL="26987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005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/>
                </a:tc>
                <a:tc>
                  <a:txBody>
                    <a:bodyPr/>
                    <a:lstStyle/>
                    <a:p>
                      <a:pPr marL="71120" algn="ct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MIDD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98326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71120" algn="ct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MIDD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98326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19685" algn="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N</a:t>
                      </a: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I</a:t>
                      </a: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GH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BAE0E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19685" algn="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N</a:t>
                      </a: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I</a:t>
                      </a: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GH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BAE0E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EARL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3265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OFF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F4A60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OFF</a:t>
                      </a:r>
                      <a:endParaRPr sz="1600" dirty="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F4A60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2455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95848">
                <a:tc>
                  <a:txBody>
                    <a:bodyPr/>
                    <a:lstStyle/>
                    <a:p>
                      <a:pPr marL="31750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01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/>
                </a:tc>
                <a:tc>
                  <a:txBody>
                    <a:bodyPr/>
                    <a:lstStyle/>
                    <a:p>
                      <a:pPr marR="262255" algn="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RO</a:t>
                      </a:r>
                      <a:r>
                        <a:rPr sz="1600" spc="-95" dirty="0">
                          <a:latin typeface="Liberation Sans Narrow"/>
                          <a:cs typeface="Liberation Sans Narrow"/>
                        </a:rPr>
                        <a:t>T</a:t>
                      </a: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A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/>
                </a:tc>
                <a:tc>
                  <a:txBody>
                    <a:bodyPr/>
                    <a:lstStyle/>
                    <a:p>
                      <a:pPr marL="26987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006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/>
                </a:tc>
                <a:tc>
                  <a:txBody>
                    <a:bodyPr/>
                    <a:lstStyle/>
                    <a:p>
                      <a:pPr marL="81280" algn="ct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EARL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3265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71120" algn="ct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MIDD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98326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10795" algn="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M</a:t>
                      </a: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I</a:t>
                      </a: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DD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98326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19685" algn="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N</a:t>
                      </a: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I</a:t>
                      </a: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GH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BAE0E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19685" algn="r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N</a:t>
                      </a: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I</a:t>
                      </a:r>
                      <a:r>
                        <a:rPr sz="1600" dirty="0">
                          <a:latin typeface="Liberation Sans Narrow"/>
                          <a:cs typeface="Liberation Sans Narrow"/>
                        </a:rPr>
                        <a:t>GH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BAE0E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OFF</a:t>
                      </a:r>
                      <a:endParaRPr sz="16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F4A60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sz="1600" spc="-5" dirty="0">
                          <a:latin typeface="Liberation Sans Narrow"/>
                          <a:cs typeface="Liberation Sans Narrow"/>
                        </a:rPr>
                        <a:t>OFF</a:t>
                      </a:r>
                      <a:endParaRPr sz="1600" dirty="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61594" marB="0">
                    <a:solidFill>
                      <a:srgbClr val="F4A60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91473" y="789329"/>
            <a:ext cx="6056630" cy="68929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200" spc="-5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Public Holiday </a:t>
            </a:r>
            <a:r>
              <a:rPr sz="2200" spc="-10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Calendar attached </a:t>
            </a:r>
            <a:r>
              <a:rPr sz="2200" spc="-5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to </a:t>
            </a:r>
            <a:r>
              <a:rPr sz="2200" spc="-10" dirty="0">
                <a:latin typeface="Liberation Sans Narrow"/>
                <a:cs typeface="Liberation Sans Narrow"/>
              </a:rPr>
              <a:t>Personnel</a:t>
            </a:r>
            <a:r>
              <a:rPr sz="2200" spc="25" dirty="0">
                <a:latin typeface="Liberation Sans Narrow"/>
                <a:cs typeface="Liberation Sans Narrow"/>
              </a:rPr>
              <a:t> </a:t>
            </a:r>
            <a:r>
              <a:rPr sz="2200" spc="-10" dirty="0">
                <a:latin typeface="Liberation Sans Narrow"/>
                <a:cs typeface="Liberation Sans Narrow"/>
              </a:rPr>
              <a:t>Subarea</a:t>
            </a:r>
            <a:endParaRPr sz="2200" dirty="0">
              <a:latin typeface="Liberation Sans Narrow"/>
              <a:cs typeface="Liberation Sans Narrow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005760" y="1813409"/>
            <a:ext cx="624078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The public holiday calendar has to be attached to </a:t>
            </a:r>
            <a:r>
              <a:rPr sz="1800" dirty="0">
                <a:latin typeface="Liberation Sans Narrow"/>
                <a:cs typeface="Liberation Sans Narrow"/>
              </a:rPr>
              <a:t>each </a:t>
            </a:r>
            <a:r>
              <a:rPr sz="1800" spc="-5" dirty="0">
                <a:latin typeface="Liberation Sans Narrow"/>
                <a:cs typeface="Liberation Sans Narrow"/>
              </a:rPr>
              <a:t>Personnel Subarea  which would be bound by these</a:t>
            </a:r>
            <a:r>
              <a:rPr sz="1800" spc="105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holidays</a:t>
            </a:r>
            <a:endParaRPr sz="1800">
              <a:latin typeface="Liberation Sans Narrow"/>
              <a:cs typeface="Liberation Sans Narrow"/>
            </a:endParaRPr>
          </a:p>
        </p:txBody>
      </p:sp>
      <p:graphicFrame>
        <p:nvGraphicFramePr>
          <p:cNvPr id="4" name="object 4"/>
          <p:cNvGraphicFramePr>
            <a:graphicFrameLocks noGrp="1"/>
          </p:cNvGraphicFramePr>
          <p:nvPr/>
        </p:nvGraphicFramePr>
        <p:xfrm>
          <a:off x="1139099" y="3136135"/>
          <a:ext cx="5539104" cy="166775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856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028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506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36866">
                <a:tc>
                  <a:txBody>
                    <a:bodyPr/>
                    <a:lstStyle/>
                    <a:p>
                      <a:pPr marL="31750">
                        <a:lnSpc>
                          <a:spcPts val="2045"/>
                        </a:lnSpc>
                      </a:pPr>
                      <a:r>
                        <a:rPr sz="1800" spc="-5" dirty="0">
                          <a:latin typeface="Liberation Sans Narrow"/>
                          <a:cs typeface="Liberation Sans Narrow"/>
                        </a:rPr>
                        <a:t>Personnel</a:t>
                      </a:r>
                      <a:r>
                        <a:rPr sz="1800" spc="-70" dirty="0">
                          <a:latin typeface="Liberation Sans Narrow"/>
                          <a:cs typeface="Liberation Sans Narrow"/>
                        </a:rPr>
                        <a:t> </a:t>
                      </a:r>
                      <a:r>
                        <a:rPr sz="1800" spc="-5" dirty="0">
                          <a:latin typeface="Liberation Sans Narrow"/>
                          <a:cs typeface="Liberation Sans Narrow"/>
                        </a:rPr>
                        <a:t>Area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471805">
                        <a:lnSpc>
                          <a:spcPts val="2045"/>
                        </a:lnSpc>
                      </a:pPr>
                      <a:r>
                        <a:rPr sz="1800" spc="-5" dirty="0">
                          <a:latin typeface="Liberation Sans Narrow"/>
                          <a:cs typeface="Liberation Sans Narrow"/>
                        </a:rPr>
                        <a:t>Personnel</a:t>
                      </a:r>
                      <a:r>
                        <a:rPr sz="1800" spc="30" dirty="0">
                          <a:latin typeface="Liberation Sans Narrow"/>
                          <a:cs typeface="Liberation Sans Narrow"/>
                        </a:rPr>
                        <a:t> </a:t>
                      </a:r>
                      <a:r>
                        <a:rPr sz="1800" spc="-5" dirty="0">
                          <a:latin typeface="Liberation Sans Narrow"/>
                          <a:cs typeface="Liberation Sans Narrow"/>
                        </a:rPr>
                        <a:t>Subarea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494030" algn="ctr">
                        <a:lnSpc>
                          <a:spcPts val="2045"/>
                        </a:lnSpc>
                      </a:pPr>
                      <a:r>
                        <a:rPr sz="1800" spc="-5" dirty="0">
                          <a:latin typeface="Liberation Sans Narrow"/>
                          <a:cs typeface="Liberation Sans Narrow"/>
                        </a:rPr>
                        <a:t>PH</a:t>
                      </a:r>
                      <a:r>
                        <a:rPr sz="1800" spc="-55" dirty="0">
                          <a:latin typeface="Liberation Sans Narrow"/>
                          <a:cs typeface="Liberation Sans Narrow"/>
                        </a:rPr>
                        <a:t> </a:t>
                      </a:r>
                      <a:r>
                        <a:rPr sz="1800" spc="-5" dirty="0">
                          <a:latin typeface="Liberation Sans Narrow"/>
                          <a:cs typeface="Liberation Sans Narrow"/>
                        </a:rPr>
                        <a:t>Cal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1445">
                <a:tc>
                  <a:txBody>
                    <a:bodyPr/>
                    <a:lstStyle/>
                    <a:p>
                      <a:pPr marL="31750">
                        <a:lnSpc>
                          <a:spcPct val="100000"/>
                        </a:lnSpc>
                        <a:spcBef>
                          <a:spcPts val="470"/>
                        </a:spcBef>
                      </a:pPr>
                      <a:r>
                        <a:rPr sz="1800" spc="-5" dirty="0">
                          <a:latin typeface="Liberation Sans Narrow"/>
                          <a:cs typeface="Liberation Sans Narrow"/>
                        </a:rPr>
                        <a:t>CHEN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59690" marB="0"/>
                </a:tc>
                <a:tc>
                  <a:txBody>
                    <a:bodyPr/>
                    <a:lstStyle/>
                    <a:p>
                      <a:pPr marL="807085">
                        <a:lnSpc>
                          <a:spcPct val="100000"/>
                        </a:lnSpc>
                        <a:spcBef>
                          <a:spcPts val="470"/>
                        </a:spcBef>
                      </a:pPr>
                      <a:r>
                        <a:rPr sz="1800" spc="-5" dirty="0">
                          <a:latin typeface="Liberation Sans Narrow"/>
                          <a:cs typeface="Liberation Sans Narrow"/>
                        </a:rPr>
                        <a:t>ADMN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59690" marB="0"/>
                </a:tc>
                <a:tc>
                  <a:txBody>
                    <a:bodyPr/>
                    <a:lstStyle/>
                    <a:p>
                      <a:pPr marL="526415" algn="ctr">
                        <a:lnSpc>
                          <a:spcPct val="100000"/>
                        </a:lnSpc>
                        <a:spcBef>
                          <a:spcPts val="470"/>
                        </a:spcBef>
                      </a:pPr>
                      <a:r>
                        <a:rPr sz="1800" spc="-5" dirty="0">
                          <a:latin typeface="Liberation Sans Narrow"/>
                          <a:cs typeface="Liberation Sans Narrow"/>
                        </a:rPr>
                        <a:t>IN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5969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1445">
                <a:tc>
                  <a:txBody>
                    <a:bodyPr/>
                    <a:lstStyle/>
                    <a:p>
                      <a:pPr marL="31750">
                        <a:lnSpc>
                          <a:spcPct val="100000"/>
                        </a:lnSpc>
                        <a:spcBef>
                          <a:spcPts val="470"/>
                        </a:spcBef>
                      </a:pPr>
                      <a:r>
                        <a:rPr sz="1800" spc="-5" dirty="0">
                          <a:latin typeface="Liberation Sans Narrow"/>
                          <a:cs typeface="Liberation Sans Narrow"/>
                        </a:rPr>
                        <a:t>CHEN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59690" marB="0"/>
                </a:tc>
                <a:tc>
                  <a:txBody>
                    <a:bodyPr/>
                    <a:lstStyle/>
                    <a:p>
                      <a:pPr marL="807085">
                        <a:lnSpc>
                          <a:spcPct val="100000"/>
                        </a:lnSpc>
                        <a:spcBef>
                          <a:spcPts val="470"/>
                        </a:spcBef>
                      </a:pPr>
                      <a:r>
                        <a:rPr sz="1800" dirty="0">
                          <a:latin typeface="Liberation Sans Narrow"/>
                          <a:cs typeface="Liberation Sans Narrow"/>
                        </a:rPr>
                        <a:t>ACCT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59690" marB="0"/>
                </a:tc>
                <a:tc>
                  <a:txBody>
                    <a:bodyPr/>
                    <a:lstStyle/>
                    <a:p>
                      <a:pPr marL="541655" algn="ctr">
                        <a:lnSpc>
                          <a:spcPct val="100000"/>
                        </a:lnSpc>
                        <a:spcBef>
                          <a:spcPts val="470"/>
                        </a:spcBef>
                      </a:pPr>
                      <a:r>
                        <a:rPr sz="1800" spc="-5" dirty="0">
                          <a:latin typeface="Liberation Sans Narrow"/>
                          <a:cs typeface="Liberation Sans Narrow"/>
                        </a:rPr>
                        <a:t>IN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5969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6866">
                <a:tc>
                  <a:txBody>
                    <a:bodyPr/>
                    <a:lstStyle/>
                    <a:p>
                      <a:pPr marL="31750">
                        <a:lnSpc>
                          <a:spcPts val="2080"/>
                        </a:lnSpc>
                        <a:spcBef>
                          <a:spcPts val="470"/>
                        </a:spcBef>
                      </a:pPr>
                      <a:r>
                        <a:rPr sz="1800" spc="-5" dirty="0">
                          <a:latin typeface="Liberation Sans Narrow"/>
                          <a:cs typeface="Liberation Sans Narrow"/>
                        </a:rPr>
                        <a:t>CHEN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59690" marB="0"/>
                </a:tc>
                <a:tc>
                  <a:txBody>
                    <a:bodyPr/>
                    <a:lstStyle/>
                    <a:p>
                      <a:pPr marL="817880">
                        <a:lnSpc>
                          <a:spcPts val="2080"/>
                        </a:lnSpc>
                        <a:spcBef>
                          <a:spcPts val="470"/>
                        </a:spcBef>
                      </a:pPr>
                      <a:r>
                        <a:rPr sz="1800" spc="-5" dirty="0">
                          <a:latin typeface="Liberation Sans Narrow"/>
                          <a:cs typeface="Liberation Sans Narrow"/>
                        </a:rPr>
                        <a:t>PROD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59690" marB="0"/>
                </a:tc>
                <a:tc>
                  <a:txBody>
                    <a:bodyPr/>
                    <a:lstStyle/>
                    <a:p>
                      <a:pPr marL="589280" algn="ctr">
                        <a:lnSpc>
                          <a:spcPts val="2080"/>
                        </a:lnSpc>
                        <a:spcBef>
                          <a:spcPts val="470"/>
                        </a:spcBef>
                      </a:pPr>
                      <a:r>
                        <a:rPr sz="1800" spc="-5" dirty="0">
                          <a:latin typeface="Liberation Sans Narrow"/>
                          <a:cs typeface="Liberation Sans Narrow"/>
                        </a:rPr>
                        <a:t>ZN</a:t>
                      </a:r>
                      <a:endParaRPr sz="1800">
                        <a:latin typeface="Liberation Sans Narrow"/>
                        <a:cs typeface="Liberation Sans Narrow"/>
                      </a:endParaRPr>
                    </a:p>
                  </a:txBody>
                  <a:tcPr marL="0" marR="0" marT="5969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67089" y="972322"/>
            <a:ext cx="4162111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200" spc="-10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Day</a:t>
            </a:r>
            <a:r>
              <a:rPr sz="2200" spc="-65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 </a:t>
            </a:r>
            <a:r>
              <a:rPr sz="2200" spc="-10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Types</a:t>
            </a:r>
            <a:endParaRPr sz="2200" dirty="0">
              <a:solidFill>
                <a:schemeClr val="accent1"/>
              </a:solidFill>
              <a:latin typeface="Liberation Sans Narrow"/>
              <a:cs typeface="Liberation Sans Narrow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981376" y="1827125"/>
            <a:ext cx="6690359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Day types are meant for public holiday </a:t>
            </a:r>
            <a:r>
              <a:rPr sz="1800" dirty="0">
                <a:latin typeface="Liberation Sans Narrow"/>
                <a:cs typeface="Liberation Sans Narrow"/>
              </a:rPr>
              <a:t>classes. </a:t>
            </a:r>
            <a:r>
              <a:rPr sz="1800" spc="-5" dirty="0">
                <a:latin typeface="Liberation Sans Narrow"/>
                <a:cs typeface="Liberation Sans Narrow"/>
              </a:rPr>
              <a:t>Whether the employee will </a:t>
            </a:r>
            <a:r>
              <a:rPr sz="1800" spc="-10" dirty="0">
                <a:latin typeface="Liberation Sans Narrow"/>
                <a:cs typeface="Liberation Sans Narrow"/>
              </a:rPr>
              <a:t>Work  </a:t>
            </a:r>
            <a:r>
              <a:rPr sz="1800" spc="-5" dirty="0">
                <a:latin typeface="Liberation Sans Narrow"/>
                <a:cs typeface="Liberation Sans Narrow"/>
              </a:rPr>
              <a:t>on Public Holidays and whether he will be paid or</a:t>
            </a:r>
            <a:r>
              <a:rPr sz="1800" spc="175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not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33764" y="2985270"/>
            <a:ext cx="905510" cy="2082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5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Day</a:t>
            </a:r>
            <a:r>
              <a:rPr sz="1800" spc="-120" dirty="0">
                <a:latin typeface="Liberation Sans Narrow"/>
                <a:cs typeface="Liberation Sans Narrow"/>
              </a:rPr>
              <a:t> </a:t>
            </a:r>
            <a:r>
              <a:rPr sz="1800" spc="-20" dirty="0">
                <a:latin typeface="Liberation Sans Narrow"/>
                <a:cs typeface="Liberation Sans Narrow"/>
              </a:rPr>
              <a:t>Types  </a:t>
            </a:r>
            <a:r>
              <a:rPr sz="1800" spc="-5" dirty="0">
                <a:latin typeface="Liberation Sans Narrow"/>
                <a:cs typeface="Liberation Sans Narrow"/>
              </a:rPr>
              <a:t>Blank</a:t>
            </a:r>
            <a:endParaRPr sz="1800">
              <a:latin typeface="Liberation Sans Narrow"/>
              <a:cs typeface="Liberation Sans Narrow"/>
            </a:endParaRPr>
          </a:p>
          <a:p>
            <a:pPr marL="167640">
              <a:lnSpc>
                <a:spcPct val="100000"/>
              </a:lnSpc>
              <a:spcBef>
                <a:spcPts val="1080"/>
              </a:spcBef>
            </a:pPr>
            <a:r>
              <a:rPr sz="1800" dirty="0">
                <a:latin typeface="Liberation Sans Narrow"/>
                <a:cs typeface="Liberation Sans Narrow"/>
              </a:rPr>
              <a:t>1</a:t>
            </a:r>
            <a:endParaRPr sz="1800">
              <a:latin typeface="Liberation Sans Narrow"/>
              <a:cs typeface="Liberation Sans Narrow"/>
            </a:endParaRPr>
          </a:p>
          <a:p>
            <a:pPr marL="167640">
              <a:lnSpc>
                <a:spcPct val="100000"/>
              </a:lnSpc>
              <a:spcBef>
                <a:spcPts val="1080"/>
              </a:spcBef>
            </a:pPr>
            <a:r>
              <a:rPr sz="1800" dirty="0">
                <a:latin typeface="Liberation Sans Narrow"/>
                <a:cs typeface="Liberation Sans Narrow"/>
              </a:rPr>
              <a:t>2</a:t>
            </a:r>
            <a:endParaRPr sz="1800">
              <a:latin typeface="Liberation Sans Narrow"/>
              <a:cs typeface="Liberation Sans Narrow"/>
            </a:endParaRPr>
          </a:p>
          <a:p>
            <a:pPr marL="167640">
              <a:lnSpc>
                <a:spcPct val="100000"/>
              </a:lnSpc>
              <a:spcBef>
                <a:spcPts val="1075"/>
              </a:spcBef>
            </a:pPr>
            <a:r>
              <a:rPr sz="1800" dirty="0">
                <a:latin typeface="Liberation Sans Narrow"/>
                <a:cs typeface="Liberation Sans Narrow"/>
              </a:rPr>
              <a:t>3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434532" y="3396714"/>
            <a:ext cx="1424305" cy="16713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5240" marR="5080" indent="-3175">
              <a:lnSpc>
                <a:spcPct val="15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Work/Paid  </a:t>
            </a:r>
            <a:r>
              <a:rPr sz="1800" spc="-10" dirty="0">
                <a:latin typeface="Liberation Sans Narrow"/>
                <a:cs typeface="Liberation Sans Narrow"/>
              </a:rPr>
              <a:t>Off/Paid  Off/Unpaid  Off/Special</a:t>
            </a:r>
            <a:r>
              <a:rPr sz="1800" spc="-20" dirty="0">
                <a:latin typeface="Liberation Sans Narrow"/>
                <a:cs typeface="Liberation Sans Narrow"/>
              </a:rPr>
              <a:t> </a:t>
            </a:r>
            <a:r>
              <a:rPr sz="1800" dirty="0">
                <a:latin typeface="Liberation Sans Narrow"/>
                <a:cs typeface="Liberation Sans Narrow"/>
              </a:rPr>
              <a:t>Days</a:t>
            </a:r>
            <a:endParaRPr sz="1800">
              <a:latin typeface="Liberation Sans Narrow"/>
              <a:cs typeface="Liberation Sans Narrow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85376" y="868982"/>
            <a:ext cx="3830799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200" spc="-10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Day </a:t>
            </a:r>
            <a:r>
              <a:rPr sz="2200" spc="-5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Type</a:t>
            </a:r>
            <a:r>
              <a:rPr sz="2200" spc="-90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 </a:t>
            </a:r>
            <a:r>
              <a:rPr sz="2200" spc="-5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Rule</a:t>
            </a:r>
            <a:endParaRPr sz="2200" dirty="0">
              <a:solidFill>
                <a:schemeClr val="accent1"/>
              </a:solidFill>
              <a:latin typeface="Liberation Sans Narrow"/>
              <a:cs typeface="Liberation Sans Narrow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999664" y="1711313"/>
            <a:ext cx="542226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Day </a:t>
            </a:r>
            <a:r>
              <a:rPr sz="1800" spc="-25" dirty="0">
                <a:latin typeface="Liberation Sans Narrow"/>
                <a:cs typeface="Liberation Sans Narrow"/>
              </a:rPr>
              <a:t>Type </a:t>
            </a:r>
            <a:r>
              <a:rPr sz="1800" spc="-5" dirty="0">
                <a:latin typeface="Liberation Sans Narrow"/>
                <a:cs typeface="Liberation Sans Narrow"/>
              </a:rPr>
              <a:t>Rule specifies the Day </a:t>
            </a:r>
            <a:r>
              <a:rPr sz="1800" spc="-25" dirty="0">
                <a:latin typeface="Liberation Sans Narrow"/>
                <a:cs typeface="Liberation Sans Narrow"/>
              </a:rPr>
              <a:t>Type </a:t>
            </a:r>
            <a:r>
              <a:rPr sz="1800" spc="-5" dirty="0">
                <a:latin typeface="Liberation Sans Narrow"/>
                <a:cs typeface="Liberation Sans Narrow"/>
              </a:rPr>
              <a:t>for Public Holiday</a:t>
            </a:r>
            <a:r>
              <a:rPr sz="1800" spc="165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Classes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523551" y="3235187"/>
            <a:ext cx="154241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Liberation Sans Narrow"/>
                <a:cs typeface="Liberation Sans Narrow"/>
              </a:rPr>
              <a:t>b 1 2 3 4 5 6 7 8</a:t>
            </a:r>
            <a:r>
              <a:rPr sz="1800" spc="-95" dirty="0">
                <a:latin typeface="Liberation Sans Narrow"/>
                <a:cs typeface="Liberation Sans Narrow"/>
              </a:rPr>
              <a:t> </a:t>
            </a:r>
            <a:r>
              <a:rPr sz="1800" dirty="0">
                <a:latin typeface="Liberation Sans Narrow"/>
                <a:cs typeface="Liberation Sans Narrow"/>
              </a:rPr>
              <a:t>9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4355030" y="3235187"/>
            <a:ext cx="154368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Liberation Sans Narrow"/>
                <a:cs typeface="Liberation Sans Narrow"/>
              </a:rPr>
              <a:t>b 1 2 3 4 5 6 7 8</a:t>
            </a:r>
            <a:r>
              <a:rPr sz="1800" spc="-85" dirty="0">
                <a:latin typeface="Liberation Sans Narrow"/>
                <a:cs typeface="Liberation Sans Narrow"/>
              </a:rPr>
              <a:t> </a:t>
            </a:r>
            <a:r>
              <a:rPr sz="1800" dirty="0">
                <a:latin typeface="Liberation Sans Narrow"/>
                <a:cs typeface="Liberation Sans Narrow"/>
              </a:rPr>
              <a:t>9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345421" y="3235187"/>
            <a:ext cx="154559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Liberation Sans Narrow"/>
                <a:cs typeface="Liberation Sans Narrow"/>
              </a:rPr>
              <a:t>b 1 2 3 4 5 6 7 8</a:t>
            </a:r>
            <a:r>
              <a:rPr sz="1800" spc="-70" dirty="0">
                <a:latin typeface="Liberation Sans Narrow"/>
                <a:cs typeface="Liberation Sans Narrow"/>
              </a:rPr>
              <a:t> </a:t>
            </a:r>
            <a:r>
              <a:rPr sz="1800" dirty="0">
                <a:latin typeface="Liberation Sans Narrow"/>
                <a:cs typeface="Liberation Sans Narrow"/>
              </a:rPr>
              <a:t>9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2784143" y="2625634"/>
            <a:ext cx="80200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25" dirty="0">
                <a:latin typeface="Liberation Sans Narrow"/>
                <a:cs typeface="Liberation Sans Narrow"/>
              </a:rPr>
              <a:t>W</a:t>
            </a:r>
            <a:r>
              <a:rPr sz="1800" spc="-5" dirty="0">
                <a:latin typeface="Liberation Sans Narrow"/>
                <a:cs typeface="Liberation Sans Narrow"/>
              </a:rPr>
              <a:t>ee</a:t>
            </a:r>
            <a:r>
              <a:rPr sz="1800" spc="5" dirty="0">
                <a:latin typeface="Liberation Sans Narrow"/>
                <a:cs typeface="Liberation Sans Narrow"/>
              </a:rPr>
              <a:t>k</a:t>
            </a:r>
            <a:r>
              <a:rPr sz="1800" spc="-5" dirty="0">
                <a:latin typeface="Liberation Sans Narrow"/>
                <a:cs typeface="Liberation Sans Narrow"/>
              </a:rPr>
              <a:t>da</a:t>
            </a:r>
            <a:r>
              <a:rPr sz="1800" dirty="0">
                <a:latin typeface="Liberation Sans Narrow"/>
                <a:cs typeface="Liberation Sans Narrow"/>
              </a:rPr>
              <a:t>y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4716176" y="2625634"/>
            <a:ext cx="77343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Satu</a:t>
            </a:r>
            <a:r>
              <a:rPr sz="1800" dirty="0">
                <a:latin typeface="Liberation Sans Narrow"/>
                <a:cs typeface="Liberation Sans Narrow"/>
              </a:rPr>
              <a:t>r</a:t>
            </a:r>
            <a:r>
              <a:rPr sz="1800" spc="-5" dirty="0">
                <a:latin typeface="Liberation Sans Narrow"/>
                <a:cs typeface="Liberation Sans Narrow"/>
              </a:rPr>
              <a:t>da</a:t>
            </a:r>
            <a:r>
              <a:rPr sz="1800" dirty="0">
                <a:latin typeface="Liberation Sans Narrow"/>
                <a:cs typeface="Liberation Sans Narrow"/>
              </a:rPr>
              <a:t>y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6621215" y="2625634"/>
            <a:ext cx="65913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Sunda</a:t>
            </a:r>
            <a:r>
              <a:rPr sz="1800" dirty="0">
                <a:latin typeface="Liberation Sans Narrow"/>
                <a:cs typeface="Liberation Sans Narrow"/>
              </a:rPr>
              <a:t>y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1286661" y="4896718"/>
            <a:ext cx="7477759" cy="847725"/>
          </a:xfrm>
          <a:custGeom>
            <a:avLst/>
            <a:gdLst/>
            <a:ahLst/>
            <a:cxnLst/>
            <a:rect l="l" t="t" r="r" b="b"/>
            <a:pathLst>
              <a:path w="7477759" h="847725">
                <a:moveTo>
                  <a:pt x="7477649" y="0"/>
                </a:moveTo>
                <a:lnTo>
                  <a:pt x="0" y="0"/>
                </a:lnTo>
                <a:lnTo>
                  <a:pt x="0" y="847273"/>
                </a:lnTo>
                <a:lnTo>
                  <a:pt x="7477649" y="847273"/>
                </a:lnTo>
                <a:lnTo>
                  <a:pt x="7477649" y="842701"/>
                </a:lnTo>
                <a:lnTo>
                  <a:pt x="10668" y="842701"/>
                </a:lnTo>
                <a:lnTo>
                  <a:pt x="6096" y="838129"/>
                </a:lnTo>
                <a:lnTo>
                  <a:pt x="10668" y="838129"/>
                </a:lnTo>
                <a:lnTo>
                  <a:pt x="10668" y="9144"/>
                </a:lnTo>
                <a:lnTo>
                  <a:pt x="6096" y="9144"/>
                </a:lnTo>
                <a:lnTo>
                  <a:pt x="10668" y="4572"/>
                </a:lnTo>
                <a:lnTo>
                  <a:pt x="7477649" y="4572"/>
                </a:lnTo>
                <a:lnTo>
                  <a:pt x="7477649" y="0"/>
                </a:lnTo>
                <a:close/>
              </a:path>
              <a:path w="7477759" h="847725">
                <a:moveTo>
                  <a:pt x="10668" y="838129"/>
                </a:moveTo>
                <a:lnTo>
                  <a:pt x="6096" y="838129"/>
                </a:lnTo>
                <a:lnTo>
                  <a:pt x="10668" y="842701"/>
                </a:lnTo>
                <a:lnTo>
                  <a:pt x="10668" y="838129"/>
                </a:lnTo>
                <a:close/>
              </a:path>
              <a:path w="7477759" h="847725">
                <a:moveTo>
                  <a:pt x="7466981" y="838129"/>
                </a:moveTo>
                <a:lnTo>
                  <a:pt x="10668" y="838129"/>
                </a:lnTo>
                <a:lnTo>
                  <a:pt x="10668" y="842701"/>
                </a:lnTo>
                <a:lnTo>
                  <a:pt x="7466981" y="842701"/>
                </a:lnTo>
                <a:lnTo>
                  <a:pt x="7466981" y="838129"/>
                </a:lnTo>
                <a:close/>
              </a:path>
              <a:path w="7477759" h="847725">
                <a:moveTo>
                  <a:pt x="7466981" y="4572"/>
                </a:moveTo>
                <a:lnTo>
                  <a:pt x="7466981" y="842701"/>
                </a:lnTo>
                <a:lnTo>
                  <a:pt x="7473077" y="838129"/>
                </a:lnTo>
                <a:lnTo>
                  <a:pt x="7477649" y="838129"/>
                </a:lnTo>
                <a:lnTo>
                  <a:pt x="7477649" y="9144"/>
                </a:lnTo>
                <a:lnTo>
                  <a:pt x="7473077" y="9144"/>
                </a:lnTo>
                <a:lnTo>
                  <a:pt x="7466981" y="4572"/>
                </a:lnTo>
                <a:close/>
              </a:path>
              <a:path w="7477759" h="847725">
                <a:moveTo>
                  <a:pt x="7477649" y="838129"/>
                </a:moveTo>
                <a:lnTo>
                  <a:pt x="7473077" y="838129"/>
                </a:lnTo>
                <a:lnTo>
                  <a:pt x="7466981" y="842701"/>
                </a:lnTo>
                <a:lnTo>
                  <a:pt x="7477649" y="842701"/>
                </a:lnTo>
                <a:lnTo>
                  <a:pt x="7477649" y="838129"/>
                </a:lnTo>
                <a:close/>
              </a:path>
              <a:path w="7477759" h="847725">
                <a:moveTo>
                  <a:pt x="10668" y="4572"/>
                </a:moveTo>
                <a:lnTo>
                  <a:pt x="6096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7477759" h="847725">
                <a:moveTo>
                  <a:pt x="7466981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7466981" y="9144"/>
                </a:lnTo>
                <a:lnTo>
                  <a:pt x="7466981" y="4572"/>
                </a:lnTo>
                <a:close/>
              </a:path>
              <a:path w="7477759" h="847725">
                <a:moveTo>
                  <a:pt x="7477649" y="4572"/>
                </a:moveTo>
                <a:lnTo>
                  <a:pt x="7466981" y="4572"/>
                </a:lnTo>
                <a:lnTo>
                  <a:pt x="7473077" y="9144"/>
                </a:lnTo>
                <a:lnTo>
                  <a:pt x="7477649" y="9144"/>
                </a:lnTo>
                <a:lnTo>
                  <a:pt x="7477649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1369975" y="4891637"/>
            <a:ext cx="6822440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Liberation Sans Narrow"/>
                <a:cs typeface="Liberation Sans Narrow"/>
              </a:rPr>
              <a:t>On </a:t>
            </a:r>
            <a:r>
              <a:rPr sz="1800" spc="-5" dirty="0">
                <a:latin typeface="Liberation Sans Narrow"/>
                <a:cs typeface="Liberation Sans Narrow"/>
              </a:rPr>
              <a:t>Working day the employee has to </a:t>
            </a:r>
            <a:r>
              <a:rPr sz="1800" spc="-10" dirty="0">
                <a:latin typeface="Liberation Sans Narrow"/>
                <a:cs typeface="Liberation Sans Narrow"/>
              </a:rPr>
              <a:t>Work </a:t>
            </a:r>
            <a:r>
              <a:rPr sz="1800" spc="-5" dirty="0">
                <a:latin typeface="Liberation Sans Narrow"/>
                <a:cs typeface="Liberation Sans Narrow"/>
              </a:rPr>
              <a:t>to get paid, on Full Day Public Holiday  Day </a:t>
            </a:r>
            <a:r>
              <a:rPr sz="1800" spc="-25" dirty="0">
                <a:latin typeface="Liberation Sans Narrow"/>
                <a:cs typeface="Liberation Sans Narrow"/>
              </a:rPr>
              <a:t>Type </a:t>
            </a:r>
            <a:r>
              <a:rPr sz="1800" spc="-5" dirty="0">
                <a:latin typeface="Liberation Sans Narrow"/>
                <a:cs typeface="Liberation Sans Narrow"/>
              </a:rPr>
              <a:t>is </a:t>
            </a:r>
            <a:r>
              <a:rPr sz="1800" dirty="0">
                <a:latin typeface="Liberation Sans Narrow"/>
                <a:cs typeface="Liberation Sans Narrow"/>
              </a:rPr>
              <a:t>1 – </a:t>
            </a:r>
            <a:r>
              <a:rPr sz="1800" spc="-10" dirty="0">
                <a:latin typeface="Liberation Sans Narrow"/>
                <a:cs typeface="Liberation Sans Narrow"/>
              </a:rPr>
              <a:t>Off </a:t>
            </a:r>
            <a:r>
              <a:rPr sz="1800" spc="-5" dirty="0">
                <a:latin typeface="Liberation Sans Narrow"/>
                <a:cs typeface="Liberation Sans Narrow"/>
              </a:rPr>
              <a:t>and paid. This rule will be referred in </a:t>
            </a:r>
            <a:r>
              <a:rPr sz="1800" spc="-10" dirty="0">
                <a:latin typeface="Liberation Sans Narrow"/>
                <a:cs typeface="Liberation Sans Narrow"/>
              </a:rPr>
              <a:t>Work </a:t>
            </a:r>
            <a:r>
              <a:rPr sz="1800" spc="-5" dirty="0">
                <a:latin typeface="Liberation Sans Narrow"/>
                <a:cs typeface="Liberation Sans Narrow"/>
              </a:rPr>
              <a:t>Schedule Rule. In  this example, the same rule is applicable for </a:t>
            </a:r>
            <a:r>
              <a:rPr sz="1800" spc="-20" dirty="0">
                <a:latin typeface="Liberation Sans Narrow"/>
                <a:cs typeface="Liberation Sans Narrow"/>
              </a:rPr>
              <a:t>Weekday, </a:t>
            </a:r>
            <a:r>
              <a:rPr sz="1800" spc="-5" dirty="0">
                <a:latin typeface="Liberation Sans Narrow"/>
                <a:cs typeface="Liberation Sans Narrow"/>
              </a:rPr>
              <a:t>Saturday and</a:t>
            </a:r>
            <a:r>
              <a:rPr sz="1800" spc="265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Sunday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1147992" y="3677613"/>
            <a:ext cx="7704703" cy="93565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85376" y="798873"/>
            <a:ext cx="5439223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200" spc="-5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Work Schedule Rule -</a:t>
            </a:r>
            <a:r>
              <a:rPr sz="2200" spc="-105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 </a:t>
            </a:r>
            <a:r>
              <a:rPr sz="2200" spc="-5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Continued</a:t>
            </a:r>
            <a:endParaRPr sz="2200" dirty="0">
              <a:solidFill>
                <a:schemeClr val="accent1"/>
              </a:solidFill>
              <a:latin typeface="Liberation Sans Narrow"/>
              <a:cs typeface="Liberation Sans Narrow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999664" y="1711313"/>
            <a:ext cx="666686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Working hours entered in </a:t>
            </a:r>
            <a:r>
              <a:rPr sz="1800" spc="-10" dirty="0">
                <a:latin typeface="Liberation Sans Narrow"/>
                <a:cs typeface="Liberation Sans Narrow"/>
              </a:rPr>
              <a:t>Work </a:t>
            </a:r>
            <a:r>
              <a:rPr sz="1800" spc="-5" dirty="0">
                <a:latin typeface="Liberation Sans Narrow"/>
                <a:cs typeface="Liberation Sans Narrow"/>
              </a:rPr>
              <a:t>Schedule Rule will be defaulted in Infotype 0007  when </a:t>
            </a:r>
            <a:r>
              <a:rPr sz="1800" spc="-10" dirty="0">
                <a:latin typeface="Liberation Sans Narrow"/>
                <a:cs typeface="Liberation Sans Narrow"/>
              </a:rPr>
              <a:t>Work </a:t>
            </a:r>
            <a:r>
              <a:rPr sz="1800" spc="-5" dirty="0">
                <a:latin typeface="Liberation Sans Narrow"/>
                <a:cs typeface="Liberation Sans Narrow"/>
              </a:rPr>
              <a:t>Schedule Rule name is</a:t>
            </a:r>
            <a:r>
              <a:rPr sz="1800" spc="90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entered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52053" y="3463764"/>
            <a:ext cx="63627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25" dirty="0">
                <a:latin typeface="Liberation Sans Narrow"/>
                <a:cs typeface="Liberation Sans Narrow"/>
              </a:rPr>
              <a:t>W</a:t>
            </a:r>
            <a:r>
              <a:rPr sz="1800" spc="-5" dirty="0">
                <a:latin typeface="Liberation Sans Narrow"/>
                <a:cs typeface="Liberation Sans Narrow"/>
              </a:rPr>
              <a:t>ee</a:t>
            </a:r>
            <a:r>
              <a:rPr sz="1800" spc="5" dirty="0">
                <a:latin typeface="Liberation Sans Narrow"/>
                <a:cs typeface="Liberation Sans Narrow"/>
              </a:rPr>
              <a:t>k</a:t>
            </a:r>
            <a:r>
              <a:rPr sz="1800" spc="-5" dirty="0">
                <a:latin typeface="Liberation Sans Narrow"/>
                <a:cs typeface="Liberation Sans Narrow"/>
              </a:rPr>
              <a:t>l</a:t>
            </a:r>
            <a:r>
              <a:rPr sz="1800" dirty="0">
                <a:latin typeface="Liberation Sans Narrow"/>
                <a:cs typeface="Liberation Sans Narrow"/>
              </a:rPr>
              <a:t>y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52053" y="2930410"/>
            <a:ext cx="44069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Liberation Sans Narrow"/>
                <a:cs typeface="Liberation Sans Narrow"/>
              </a:rPr>
              <a:t>D</a:t>
            </a:r>
            <a:r>
              <a:rPr sz="1800" spc="-5" dirty="0">
                <a:latin typeface="Liberation Sans Narrow"/>
                <a:cs typeface="Liberation Sans Narrow"/>
              </a:rPr>
              <a:t>ail</a:t>
            </a:r>
            <a:r>
              <a:rPr sz="1800" dirty="0">
                <a:latin typeface="Liberation Sans Narrow"/>
                <a:cs typeface="Liberation Sans Narrow"/>
              </a:rPr>
              <a:t>y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961571" y="2930410"/>
            <a:ext cx="60706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Liberation Sans Narrow"/>
                <a:cs typeface="Liberation Sans Narrow"/>
              </a:rPr>
              <a:t>A</a:t>
            </a:r>
            <a:r>
              <a:rPr sz="1800" spc="-5" dirty="0">
                <a:latin typeface="Liberation Sans Narrow"/>
                <a:cs typeface="Liberation Sans Narrow"/>
              </a:rPr>
              <a:t>nnua</a:t>
            </a:r>
            <a:r>
              <a:rPr sz="1800" dirty="0">
                <a:latin typeface="Liberation Sans Narrow"/>
                <a:cs typeface="Liberation Sans Narrow"/>
              </a:rPr>
              <a:t>l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3278368" y="2973598"/>
            <a:ext cx="772795" cy="315595"/>
          </a:xfrm>
          <a:custGeom>
            <a:avLst/>
            <a:gdLst/>
            <a:ahLst/>
            <a:cxnLst/>
            <a:rect l="l" t="t" r="r" b="b"/>
            <a:pathLst>
              <a:path w="772795" h="315595">
                <a:moveTo>
                  <a:pt x="772607" y="0"/>
                </a:moveTo>
                <a:lnTo>
                  <a:pt x="0" y="0"/>
                </a:lnTo>
                <a:lnTo>
                  <a:pt x="0" y="315437"/>
                </a:lnTo>
                <a:lnTo>
                  <a:pt x="772607" y="315437"/>
                </a:lnTo>
                <a:lnTo>
                  <a:pt x="772607" y="309341"/>
                </a:lnTo>
                <a:lnTo>
                  <a:pt x="10668" y="309341"/>
                </a:lnTo>
                <a:lnTo>
                  <a:pt x="4572" y="304769"/>
                </a:lnTo>
                <a:lnTo>
                  <a:pt x="10668" y="304769"/>
                </a:lnTo>
                <a:lnTo>
                  <a:pt x="10668" y="10668"/>
                </a:lnTo>
                <a:lnTo>
                  <a:pt x="4572" y="10668"/>
                </a:lnTo>
                <a:lnTo>
                  <a:pt x="10668" y="4572"/>
                </a:lnTo>
                <a:lnTo>
                  <a:pt x="772607" y="4572"/>
                </a:lnTo>
                <a:lnTo>
                  <a:pt x="772607" y="0"/>
                </a:lnTo>
                <a:close/>
              </a:path>
              <a:path w="772795" h="315595">
                <a:moveTo>
                  <a:pt x="10668" y="304769"/>
                </a:moveTo>
                <a:lnTo>
                  <a:pt x="4572" y="304769"/>
                </a:lnTo>
                <a:lnTo>
                  <a:pt x="10668" y="309341"/>
                </a:lnTo>
                <a:lnTo>
                  <a:pt x="10668" y="304769"/>
                </a:lnTo>
                <a:close/>
              </a:path>
              <a:path w="772795" h="315595">
                <a:moveTo>
                  <a:pt x="761939" y="304769"/>
                </a:moveTo>
                <a:lnTo>
                  <a:pt x="10668" y="304769"/>
                </a:lnTo>
                <a:lnTo>
                  <a:pt x="10668" y="309341"/>
                </a:lnTo>
                <a:lnTo>
                  <a:pt x="761939" y="309341"/>
                </a:lnTo>
                <a:lnTo>
                  <a:pt x="761939" y="304769"/>
                </a:lnTo>
                <a:close/>
              </a:path>
              <a:path w="772795" h="315595">
                <a:moveTo>
                  <a:pt x="761939" y="4572"/>
                </a:moveTo>
                <a:lnTo>
                  <a:pt x="761939" y="309341"/>
                </a:lnTo>
                <a:lnTo>
                  <a:pt x="766511" y="304769"/>
                </a:lnTo>
                <a:lnTo>
                  <a:pt x="772607" y="304769"/>
                </a:lnTo>
                <a:lnTo>
                  <a:pt x="772607" y="10668"/>
                </a:lnTo>
                <a:lnTo>
                  <a:pt x="766511" y="10668"/>
                </a:lnTo>
                <a:lnTo>
                  <a:pt x="761939" y="4572"/>
                </a:lnTo>
                <a:close/>
              </a:path>
              <a:path w="772795" h="315595">
                <a:moveTo>
                  <a:pt x="772607" y="304769"/>
                </a:moveTo>
                <a:lnTo>
                  <a:pt x="766511" y="304769"/>
                </a:lnTo>
                <a:lnTo>
                  <a:pt x="761939" y="309341"/>
                </a:lnTo>
                <a:lnTo>
                  <a:pt x="772607" y="309341"/>
                </a:lnTo>
                <a:lnTo>
                  <a:pt x="772607" y="304769"/>
                </a:lnTo>
                <a:close/>
              </a:path>
              <a:path w="772795" h="315595">
                <a:moveTo>
                  <a:pt x="10668" y="4572"/>
                </a:moveTo>
                <a:lnTo>
                  <a:pt x="4572" y="10668"/>
                </a:lnTo>
                <a:lnTo>
                  <a:pt x="10668" y="10668"/>
                </a:lnTo>
                <a:lnTo>
                  <a:pt x="10668" y="4572"/>
                </a:lnTo>
                <a:close/>
              </a:path>
              <a:path w="772795" h="315595">
                <a:moveTo>
                  <a:pt x="761939" y="4572"/>
                </a:moveTo>
                <a:lnTo>
                  <a:pt x="10668" y="4572"/>
                </a:lnTo>
                <a:lnTo>
                  <a:pt x="10668" y="10668"/>
                </a:lnTo>
                <a:lnTo>
                  <a:pt x="761939" y="10668"/>
                </a:lnTo>
                <a:lnTo>
                  <a:pt x="761939" y="4572"/>
                </a:lnTo>
                <a:close/>
              </a:path>
              <a:path w="772795" h="315595">
                <a:moveTo>
                  <a:pt x="772607" y="4572"/>
                </a:moveTo>
                <a:lnTo>
                  <a:pt x="761939" y="4572"/>
                </a:lnTo>
                <a:lnTo>
                  <a:pt x="766511" y="10668"/>
                </a:lnTo>
                <a:lnTo>
                  <a:pt x="772607" y="10668"/>
                </a:lnTo>
                <a:lnTo>
                  <a:pt x="7726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3361680" y="2976133"/>
            <a:ext cx="13017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Liberation Sans Narrow"/>
                <a:cs typeface="Liberation Sans Narrow"/>
              </a:rPr>
              <a:t>8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3278368" y="3506937"/>
            <a:ext cx="772795" cy="315595"/>
          </a:xfrm>
          <a:custGeom>
            <a:avLst/>
            <a:gdLst/>
            <a:ahLst/>
            <a:cxnLst/>
            <a:rect l="l" t="t" r="r" b="b"/>
            <a:pathLst>
              <a:path w="772795" h="315595">
                <a:moveTo>
                  <a:pt x="772607" y="0"/>
                </a:moveTo>
                <a:lnTo>
                  <a:pt x="0" y="0"/>
                </a:lnTo>
                <a:lnTo>
                  <a:pt x="0" y="315468"/>
                </a:lnTo>
                <a:lnTo>
                  <a:pt x="772607" y="315468"/>
                </a:lnTo>
                <a:lnTo>
                  <a:pt x="772607" y="309372"/>
                </a:lnTo>
                <a:lnTo>
                  <a:pt x="10668" y="309372"/>
                </a:lnTo>
                <a:lnTo>
                  <a:pt x="4572" y="304800"/>
                </a:lnTo>
                <a:lnTo>
                  <a:pt x="10668" y="304800"/>
                </a:lnTo>
                <a:lnTo>
                  <a:pt x="10668" y="10668"/>
                </a:lnTo>
                <a:lnTo>
                  <a:pt x="4572" y="10668"/>
                </a:lnTo>
                <a:lnTo>
                  <a:pt x="10668" y="4572"/>
                </a:lnTo>
                <a:lnTo>
                  <a:pt x="772607" y="4572"/>
                </a:lnTo>
                <a:lnTo>
                  <a:pt x="772607" y="0"/>
                </a:lnTo>
                <a:close/>
              </a:path>
              <a:path w="772795" h="315595">
                <a:moveTo>
                  <a:pt x="10668" y="304800"/>
                </a:moveTo>
                <a:lnTo>
                  <a:pt x="4572" y="304800"/>
                </a:lnTo>
                <a:lnTo>
                  <a:pt x="10668" y="309372"/>
                </a:lnTo>
                <a:lnTo>
                  <a:pt x="10668" y="304800"/>
                </a:lnTo>
                <a:close/>
              </a:path>
              <a:path w="772795" h="315595">
                <a:moveTo>
                  <a:pt x="761939" y="304800"/>
                </a:moveTo>
                <a:lnTo>
                  <a:pt x="10668" y="304800"/>
                </a:lnTo>
                <a:lnTo>
                  <a:pt x="10668" y="309372"/>
                </a:lnTo>
                <a:lnTo>
                  <a:pt x="761939" y="309372"/>
                </a:lnTo>
                <a:lnTo>
                  <a:pt x="761939" y="304800"/>
                </a:lnTo>
                <a:close/>
              </a:path>
              <a:path w="772795" h="315595">
                <a:moveTo>
                  <a:pt x="761939" y="4572"/>
                </a:moveTo>
                <a:lnTo>
                  <a:pt x="761939" y="309372"/>
                </a:lnTo>
                <a:lnTo>
                  <a:pt x="766511" y="304800"/>
                </a:lnTo>
                <a:lnTo>
                  <a:pt x="772607" y="304800"/>
                </a:lnTo>
                <a:lnTo>
                  <a:pt x="772607" y="10668"/>
                </a:lnTo>
                <a:lnTo>
                  <a:pt x="766511" y="10668"/>
                </a:lnTo>
                <a:lnTo>
                  <a:pt x="761939" y="4572"/>
                </a:lnTo>
                <a:close/>
              </a:path>
              <a:path w="772795" h="315595">
                <a:moveTo>
                  <a:pt x="772607" y="304800"/>
                </a:moveTo>
                <a:lnTo>
                  <a:pt x="766511" y="304800"/>
                </a:lnTo>
                <a:lnTo>
                  <a:pt x="761939" y="309372"/>
                </a:lnTo>
                <a:lnTo>
                  <a:pt x="772607" y="309372"/>
                </a:lnTo>
                <a:lnTo>
                  <a:pt x="772607" y="304800"/>
                </a:lnTo>
                <a:close/>
              </a:path>
              <a:path w="772795" h="315595">
                <a:moveTo>
                  <a:pt x="10668" y="4572"/>
                </a:moveTo>
                <a:lnTo>
                  <a:pt x="4572" y="10668"/>
                </a:lnTo>
                <a:lnTo>
                  <a:pt x="10668" y="10668"/>
                </a:lnTo>
                <a:lnTo>
                  <a:pt x="10668" y="4572"/>
                </a:lnTo>
                <a:close/>
              </a:path>
              <a:path w="772795" h="315595">
                <a:moveTo>
                  <a:pt x="761939" y="4572"/>
                </a:moveTo>
                <a:lnTo>
                  <a:pt x="10668" y="4572"/>
                </a:lnTo>
                <a:lnTo>
                  <a:pt x="10668" y="10668"/>
                </a:lnTo>
                <a:lnTo>
                  <a:pt x="761939" y="10668"/>
                </a:lnTo>
                <a:lnTo>
                  <a:pt x="761939" y="4572"/>
                </a:lnTo>
                <a:close/>
              </a:path>
              <a:path w="772795" h="315595">
                <a:moveTo>
                  <a:pt x="772607" y="4572"/>
                </a:moveTo>
                <a:lnTo>
                  <a:pt x="761939" y="4572"/>
                </a:lnTo>
                <a:lnTo>
                  <a:pt x="766511" y="10668"/>
                </a:lnTo>
                <a:lnTo>
                  <a:pt x="772607" y="10668"/>
                </a:lnTo>
                <a:lnTo>
                  <a:pt x="7726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3361680" y="3509483"/>
            <a:ext cx="233679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4</a:t>
            </a:r>
            <a:r>
              <a:rPr sz="1800" dirty="0">
                <a:latin typeface="Liberation Sans Narrow"/>
                <a:cs typeface="Liberation Sans Narrow"/>
              </a:rPr>
              <a:t>0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7011863" y="2973598"/>
            <a:ext cx="772795" cy="315595"/>
          </a:xfrm>
          <a:custGeom>
            <a:avLst/>
            <a:gdLst/>
            <a:ahLst/>
            <a:cxnLst/>
            <a:rect l="l" t="t" r="r" b="b"/>
            <a:pathLst>
              <a:path w="772795" h="315595">
                <a:moveTo>
                  <a:pt x="772607" y="0"/>
                </a:moveTo>
                <a:lnTo>
                  <a:pt x="0" y="0"/>
                </a:lnTo>
                <a:lnTo>
                  <a:pt x="0" y="315437"/>
                </a:lnTo>
                <a:lnTo>
                  <a:pt x="772607" y="315437"/>
                </a:lnTo>
                <a:lnTo>
                  <a:pt x="772607" y="309341"/>
                </a:lnTo>
                <a:lnTo>
                  <a:pt x="10668" y="309341"/>
                </a:lnTo>
                <a:lnTo>
                  <a:pt x="4572" y="304769"/>
                </a:lnTo>
                <a:lnTo>
                  <a:pt x="10668" y="304769"/>
                </a:lnTo>
                <a:lnTo>
                  <a:pt x="10668" y="10668"/>
                </a:lnTo>
                <a:lnTo>
                  <a:pt x="4572" y="10668"/>
                </a:lnTo>
                <a:lnTo>
                  <a:pt x="10668" y="4572"/>
                </a:lnTo>
                <a:lnTo>
                  <a:pt x="772607" y="4572"/>
                </a:lnTo>
                <a:lnTo>
                  <a:pt x="772607" y="0"/>
                </a:lnTo>
                <a:close/>
              </a:path>
              <a:path w="772795" h="315595">
                <a:moveTo>
                  <a:pt x="10668" y="304769"/>
                </a:moveTo>
                <a:lnTo>
                  <a:pt x="4572" y="304769"/>
                </a:lnTo>
                <a:lnTo>
                  <a:pt x="10668" y="309341"/>
                </a:lnTo>
                <a:lnTo>
                  <a:pt x="10668" y="304769"/>
                </a:lnTo>
                <a:close/>
              </a:path>
              <a:path w="772795" h="315595">
                <a:moveTo>
                  <a:pt x="761939" y="304769"/>
                </a:moveTo>
                <a:lnTo>
                  <a:pt x="10668" y="304769"/>
                </a:lnTo>
                <a:lnTo>
                  <a:pt x="10668" y="309341"/>
                </a:lnTo>
                <a:lnTo>
                  <a:pt x="761939" y="309341"/>
                </a:lnTo>
                <a:lnTo>
                  <a:pt x="761939" y="304769"/>
                </a:lnTo>
                <a:close/>
              </a:path>
              <a:path w="772795" h="315595">
                <a:moveTo>
                  <a:pt x="761939" y="4572"/>
                </a:moveTo>
                <a:lnTo>
                  <a:pt x="761939" y="309341"/>
                </a:lnTo>
                <a:lnTo>
                  <a:pt x="766511" y="304769"/>
                </a:lnTo>
                <a:lnTo>
                  <a:pt x="772607" y="304769"/>
                </a:lnTo>
                <a:lnTo>
                  <a:pt x="772607" y="10668"/>
                </a:lnTo>
                <a:lnTo>
                  <a:pt x="766511" y="10668"/>
                </a:lnTo>
                <a:lnTo>
                  <a:pt x="761939" y="4572"/>
                </a:lnTo>
                <a:close/>
              </a:path>
              <a:path w="772795" h="315595">
                <a:moveTo>
                  <a:pt x="772607" y="304769"/>
                </a:moveTo>
                <a:lnTo>
                  <a:pt x="766511" y="304769"/>
                </a:lnTo>
                <a:lnTo>
                  <a:pt x="761939" y="309341"/>
                </a:lnTo>
                <a:lnTo>
                  <a:pt x="772607" y="309341"/>
                </a:lnTo>
                <a:lnTo>
                  <a:pt x="772607" y="304769"/>
                </a:lnTo>
                <a:close/>
              </a:path>
              <a:path w="772795" h="315595">
                <a:moveTo>
                  <a:pt x="10668" y="4572"/>
                </a:moveTo>
                <a:lnTo>
                  <a:pt x="4572" y="10668"/>
                </a:lnTo>
                <a:lnTo>
                  <a:pt x="10668" y="10668"/>
                </a:lnTo>
                <a:lnTo>
                  <a:pt x="10668" y="4572"/>
                </a:lnTo>
                <a:close/>
              </a:path>
              <a:path w="772795" h="315595">
                <a:moveTo>
                  <a:pt x="761939" y="4572"/>
                </a:moveTo>
                <a:lnTo>
                  <a:pt x="10668" y="4572"/>
                </a:lnTo>
                <a:lnTo>
                  <a:pt x="10668" y="10668"/>
                </a:lnTo>
                <a:lnTo>
                  <a:pt x="761939" y="10668"/>
                </a:lnTo>
                <a:lnTo>
                  <a:pt x="761939" y="4572"/>
                </a:lnTo>
                <a:close/>
              </a:path>
              <a:path w="772795" h="315595">
                <a:moveTo>
                  <a:pt x="772607" y="4572"/>
                </a:moveTo>
                <a:lnTo>
                  <a:pt x="761939" y="4572"/>
                </a:lnTo>
                <a:lnTo>
                  <a:pt x="766511" y="10668"/>
                </a:lnTo>
                <a:lnTo>
                  <a:pt x="772607" y="10668"/>
                </a:lnTo>
                <a:lnTo>
                  <a:pt x="7726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7095165" y="2976133"/>
            <a:ext cx="44069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192</a:t>
            </a:r>
            <a:r>
              <a:rPr sz="1800" dirty="0">
                <a:latin typeface="Liberation Sans Narrow"/>
                <a:cs typeface="Liberation Sans Narrow"/>
              </a:rPr>
              <a:t>0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152053" y="4073312"/>
            <a:ext cx="67881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10" dirty="0">
                <a:latin typeface="Liberation Sans Narrow"/>
                <a:cs typeface="Liberation Sans Narrow"/>
              </a:rPr>
              <a:t>M</a:t>
            </a:r>
            <a:r>
              <a:rPr sz="1800" spc="-5" dirty="0">
                <a:latin typeface="Liberation Sans Narrow"/>
                <a:cs typeface="Liberation Sans Narrow"/>
              </a:rPr>
              <a:t>onthl</a:t>
            </a:r>
            <a:r>
              <a:rPr sz="1800" dirty="0">
                <a:latin typeface="Liberation Sans Narrow"/>
                <a:cs typeface="Liberation Sans Narrow"/>
              </a:rPr>
              <a:t>y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152053" y="4606666"/>
            <a:ext cx="156845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No. of workdays</a:t>
            </a:r>
            <a:r>
              <a:rPr sz="1800" spc="-25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in  </a:t>
            </a:r>
            <a:r>
              <a:rPr sz="1800" dirty="0">
                <a:latin typeface="Liberation Sans Narrow"/>
                <a:cs typeface="Liberation Sans Narrow"/>
              </a:rPr>
              <a:t>a</a:t>
            </a:r>
            <a:r>
              <a:rPr sz="1800" spc="-15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week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3278368" y="4116506"/>
            <a:ext cx="772795" cy="315595"/>
          </a:xfrm>
          <a:custGeom>
            <a:avLst/>
            <a:gdLst/>
            <a:ahLst/>
            <a:cxnLst/>
            <a:rect l="l" t="t" r="r" b="b"/>
            <a:pathLst>
              <a:path w="772795" h="315595">
                <a:moveTo>
                  <a:pt x="772607" y="0"/>
                </a:moveTo>
                <a:lnTo>
                  <a:pt x="0" y="0"/>
                </a:lnTo>
                <a:lnTo>
                  <a:pt x="0" y="315437"/>
                </a:lnTo>
                <a:lnTo>
                  <a:pt x="772607" y="315437"/>
                </a:lnTo>
                <a:lnTo>
                  <a:pt x="772607" y="309341"/>
                </a:lnTo>
                <a:lnTo>
                  <a:pt x="10668" y="309341"/>
                </a:lnTo>
                <a:lnTo>
                  <a:pt x="4572" y="304769"/>
                </a:lnTo>
                <a:lnTo>
                  <a:pt x="10668" y="304769"/>
                </a:lnTo>
                <a:lnTo>
                  <a:pt x="10668" y="10637"/>
                </a:lnTo>
                <a:lnTo>
                  <a:pt x="4572" y="10637"/>
                </a:lnTo>
                <a:lnTo>
                  <a:pt x="10668" y="4572"/>
                </a:lnTo>
                <a:lnTo>
                  <a:pt x="772607" y="4572"/>
                </a:lnTo>
                <a:lnTo>
                  <a:pt x="772607" y="0"/>
                </a:lnTo>
                <a:close/>
              </a:path>
              <a:path w="772795" h="315595">
                <a:moveTo>
                  <a:pt x="10668" y="304769"/>
                </a:moveTo>
                <a:lnTo>
                  <a:pt x="4572" y="304769"/>
                </a:lnTo>
                <a:lnTo>
                  <a:pt x="10668" y="309341"/>
                </a:lnTo>
                <a:lnTo>
                  <a:pt x="10668" y="304769"/>
                </a:lnTo>
                <a:close/>
              </a:path>
              <a:path w="772795" h="315595">
                <a:moveTo>
                  <a:pt x="761939" y="304769"/>
                </a:moveTo>
                <a:lnTo>
                  <a:pt x="10668" y="304769"/>
                </a:lnTo>
                <a:lnTo>
                  <a:pt x="10668" y="309341"/>
                </a:lnTo>
                <a:lnTo>
                  <a:pt x="761939" y="309341"/>
                </a:lnTo>
                <a:lnTo>
                  <a:pt x="761939" y="304769"/>
                </a:lnTo>
                <a:close/>
              </a:path>
              <a:path w="772795" h="315595">
                <a:moveTo>
                  <a:pt x="761939" y="4572"/>
                </a:moveTo>
                <a:lnTo>
                  <a:pt x="761939" y="309341"/>
                </a:lnTo>
                <a:lnTo>
                  <a:pt x="766511" y="304769"/>
                </a:lnTo>
                <a:lnTo>
                  <a:pt x="772607" y="304769"/>
                </a:lnTo>
                <a:lnTo>
                  <a:pt x="772607" y="10637"/>
                </a:lnTo>
                <a:lnTo>
                  <a:pt x="766511" y="10637"/>
                </a:lnTo>
                <a:lnTo>
                  <a:pt x="761939" y="4572"/>
                </a:lnTo>
                <a:close/>
              </a:path>
              <a:path w="772795" h="315595">
                <a:moveTo>
                  <a:pt x="772607" y="304769"/>
                </a:moveTo>
                <a:lnTo>
                  <a:pt x="766511" y="304769"/>
                </a:lnTo>
                <a:lnTo>
                  <a:pt x="761939" y="309341"/>
                </a:lnTo>
                <a:lnTo>
                  <a:pt x="772607" y="309341"/>
                </a:lnTo>
                <a:lnTo>
                  <a:pt x="772607" y="304769"/>
                </a:lnTo>
                <a:close/>
              </a:path>
              <a:path w="772795" h="315595">
                <a:moveTo>
                  <a:pt x="10668" y="4572"/>
                </a:moveTo>
                <a:lnTo>
                  <a:pt x="4572" y="10637"/>
                </a:lnTo>
                <a:lnTo>
                  <a:pt x="10668" y="10637"/>
                </a:lnTo>
                <a:lnTo>
                  <a:pt x="10668" y="4572"/>
                </a:lnTo>
                <a:close/>
              </a:path>
              <a:path w="772795" h="315595">
                <a:moveTo>
                  <a:pt x="761939" y="4572"/>
                </a:moveTo>
                <a:lnTo>
                  <a:pt x="10668" y="4572"/>
                </a:lnTo>
                <a:lnTo>
                  <a:pt x="10668" y="10637"/>
                </a:lnTo>
                <a:lnTo>
                  <a:pt x="761939" y="10637"/>
                </a:lnTo>
                <a:lnTo>
                  <a:pt x="761939" y="4572"/>
                </a:lnTo>
                <a:close/>
              </a:path>
              <a:path w="772795" h="315595">
                <a:moveTo>
                  <a:pt x="772607" y="4572"/>
                </a:moveTo>
                <a:lnTo>
                  <a:pt x="761939" y="4572"/>
                </a:lnTo>
                <a:lnTo>
                  <a:pt x="766511" y="10637"/>
                </a:lnTo>
                <a:lnTo>
                  <a:pt x="772607" y="10637"/>
                </a:lnTo>
                <a:lnTo>
                  <a:pt x="7726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3361680" y="4119032"/>
            <a:ext cx="33718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16</a:t>
            </a:r>
            <a:r>
              <a:rPr sz="1800" dirty="0">
                <a:latin typeface="Liberation Sans Narrow"/>
                <a:cs typeface="Liberation Sans Narrow"/>
              </a:rPr>
              <a:t>0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3278368" y="4649845"/>
            <a:ext cx="772795" cy="315595"/>
          </a:xfrm>
          <a:custGeom>
            <a:avLst/>
            <a:gdLst/>
            <a:ahLst/>
            <a:cxnLst/>
            <a:rect l="l" t="t" r="r" b="b"/>
            <a:pathLst>
              <a:path w="772795" h="315595">
                <a:moveTo>
                  <a:pt x="772607" y="0"/>
                </a:moveTo>
                <a:lnTo>
                  <a:pt x="0" y="0"/>
                </a:lnTo>
                <a:lnTo>
                  <a:pt x="0" y="315452"/>
                </a:lnTo>
                <a:lnTo>
                  <a:pt x="772607" y="315452"/>
                </a:lnTo>
                <a:lnTo>
                  <a:pt x="772607" y="309356"/>
                </a:lnTo>
                <a:lnTo>
                  <a:pt x="10668" y="309356"/>
                </a:lnTo>
                <a:lnTo>
                  <a:pt x="4572" y="304784"/>
                </a:lnTo>
                <a:lnTo>
                  <a:pt x="10668" y="304784"/>
                </a:lnTo>
                <a:lnTo>
                  <a:pt x="10668" y="10668"/>
                </a:lnTo>
                <a:lnTo>
                  <a:pt x="4572" y="10668"/>
                </a:lnTo>
                <a:lnTo>
                  <a:pt x="10668" y="4572"/>
                </a:lnTo>
                <a:lnTo>
                  <a:pt x="772607" y="4572"/>
                </a:lnTo>
                <a:lnTo>
                  <a:pt x="772607" y="0"/>
                </a:lnTo>
                <a:close/>
              </a:path>
              <a:path w="772795" h="315595">
                <a:moveTo>
                  <a:pt x="10668" y="304784"/>
                </a:moveTo>
                <a:lnTo>
                  <a:pt x="4572" y="304784"/>
                </a:lnTo>
                <a:lnTo>
                  <a:pt x="10668" y="309356"/>
                </a:lnTo>
                <a:lnTo>
                  <a:pt x="10668" y="304784"/>
                </a:lnTo>
                <a:close/>
              </a:path>
              <a:path w="772795" h="315595">
                <a:moveTo>
                  <a:pt x="761939" y="304784"/>
                </a:moveTo>
                <a:lnTo>
                  <a:pt x="10668" y="304784"/>
                </a:lnTo>
                <a:lnTo>
                  <a:pt x="10668" y="309356"/>
                </a:lnTo>
                <a:lnTo>
                  <a:pt x="761939" y="309356"/>
                </a:lnTo>
                <a:lnTo>
                  <a:pt x="761939" y="304784"/>
                </a:lnTo>
                <a:close/>
              </a:path>
              <a:path w="772795" h="315595">
                <a:moveTo>
                  <a:pt x="761939" y="4572"/>
                </a:moveTo>
                <a:lnTo>
                  <a:pt x="761939" y="309356"/>
                </a:lnTo>
                <a:lnTo>
                  <a:pt x="766511" y="304784"/>
                </a:lnTo>
                <a:lnTo>
                  <a:pt x="772607" y="304784"/>
                </a:lnTo>
                <a:lnTo>
                  <a:pt x="772607" y="10668"/>
                </a:lnTo>
                <a:lnTo>
                  <a:pt x="766511" y="10668"/>
                </a:lnTo>
                <a:lnTo>
                  <a:pt x="761939" y="4572"/>
                </a:lnTo>
                <a:close/>
              </a:path>
              <a:path w="772795" h="315595">
                <a:moveTo>
                  <a:pt x="772607" y="304784"/>
                </a:moveTo>
                <a:lnTo>
                  <a:pt x="766511" y="304784"/>
                </a:lnTo>
                <a:lnTo>
                  <a:pt x="761939" y="309356"/>
                </a:lnTo>
                <a:lnTo>
                  <a:pt x="772607" y="309356"/>
                </a:lnTo>
                <a:lnTo>
                  <a:pt x="772607" y="304784"/>
                </a:lnTo>
                <a:close/>
              </a:path>
              <a:path w="772795" h="315595">
                <a:moveTo>
                  <a:pt x="10668" y="4572"/>
                </a:moveTo>
                <a:lnTo>
                  <a:pt x="4572" y="10668"/>
                </a:lnTo>
                <a:lnTo>
                  <a:pt x="10668" y="10668"/>
                </a:lnTo>
                <a:lnTo>
                  <a:pt x="10668" y="4572"/>
                </a:lnTo>
                <a:close/>
              </a:path>
              <a:path w="772795" h="315595">
                <a:moveTo>
                  <a:pt x="761939" y="4572"/>
                </a:moveTo>
                <a:lnTo>
                  <a:pt x="10668" y="4572"/>
                </a:lnTo>
                <a:lnTo>
                  <a:pt x="10668" y="10668"/>
                </a:lnTo>
                <a:lnTo>
                  <a:pt x="761939" y="10668"/>
                </a:lnTo>
                <a:lnTo>
                  <a:pt x="761939" y="4572"/>
                </a:lnTo>
                <a:close/>
              </a:path>
              <a:path w="772795" h="315595">
                <a:moveTo>
                  <a:pt x="772607" y="4572"/>
                </a:moveTo>
                <a:lnTo>
                  <a:pt x="761939" y="4572"/>
                </a:lnTo>
                <a:lnTo>
                  <a:pt x="766511" y="10668"/>
                </a:lnTo>
                <a:lnTo>
                  <a:pt x="772607" y="10668"/>
                </a:lnTo>
                <a:lnTo>
                  <a:pt x="7726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3361680" y="4652382"/>
            <a:ext cx="13017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Liberation Sans Narrow"/>
                <a:cs typeface="Liberation Sans Narrow"/>
              </a:rPr>
              <a:t>5</a:t>
            </a:r>
            <a:endParaRPr sz="1800">
              <a:latin typeface="Liberation Sans Narrow"/>
              <a:cs typeface="Liberation Sans Narrow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85376" y="856498"/>
            <a:ext cx="7115623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200" spc="-5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Work Schedule Rule -</a:t>
            </a:r>
            <a:r>
              <a:rPr sz="2200" spc="-105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 </a:t>
            </a:r>
            <a:r>
              <a:rPr sz="2200" spc="-5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Continued</a:t>
            </a:r>
            <a:endParaRPr sz="2200" dirty="0">
              <a:solidFill>
                <a:schemeClr val="accent1"/>
              </a:solidFill>
              <a:latin typeface="Liberation Sans Narrow"/>
              <a:cs typeface="Liberation Sans Narrow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999664" y="1711313"/>
            <a:ext cx="661225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The Period </a:t>
            </a:r>
            <a:r>
              <a:rPr sz="1800" spc="-10" dirty="0">
                <a:latin typeface="Liberation Sans Narrow"/>
                <a:cs typeface="Liberation Sans Narrow"/>
              </a:rPr>
              <a:t>Work </a:t>
            </a:r>
            <a:r>
              <a:rPr sz="1800" spc="-5" dirty="0">
                <a:latin typeface="Liberation Sans Narrow"/>
                <a:cs typeface="Liberation Sans Narrow"/>
              </a:rPr>
              <a:t>Schedule, Starting point, Reference day and day type rule will  also be referred in </a:t>
            </a:r>
            <a:r>
              <a:rPr sz="1800" spc="-10" dirty="0">
                <a:latin typeface="Liberation Sans Narrow"/>
                <a:cs typeface="Liberation Sans Narrow"/>
              </a:rPr>
              <a:t>Work </a:t>
            </a:r>
            <a:r>
              <a:rPr sz="1800" spc="-5" dirty="0">
                <a:latin typeface="Liberation Sans Narrow"/>
                <a:cs typeface="Liberation Sans Narrow"/>
              </a:rPr>
              <a:t>Schedule</a:t>
            </a:r>
            <a:r>
              <a:rPr sz="1800" spc="95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Rule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52053" y="3539964"/>
            <a:ext cx="133858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Reference</a:t>
            </a:r>
            <a:r>
              <a:rPr sz="1800" spc="-40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Date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52053" y="2701834"/>
            <a:ext cx="105346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Period</a:t>
            </a:r>
            <a:r>
              <a:rPr sz="1800" spc="-65" dirty="0">
                <a:latin typeface="Liberation Sans Narrow"/>
                <a:cs typeface="Liberation Sans Narrow"/>
              </a:rPr>
              <a:t> </a:t>
            </a:r>
            <a:r>
              <a:rPr sz="1800" spc="-10" dirty="0">
                <a:latin typeface="Liberation Sans Narrow"/>
                <a:cs typeface="Liberation Sans Narrow"/>
              </a:rPr>
              <a:t>Work  </a:t>
            </a:r>
            <a:r>
              <a:rPr sz="1800" spc="-5" dirty="0">
                <a:latin typeface="Liberation Sans Narrow"/>
                <a:cs typeface="Liberation Sans Narrow"/>
              </a:rPr>
              <a:t>Schedule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3278368" y="2744998"/>
            <a:ext cx="772795" cy="315595"/>
          </a:xfrm>
          <a:custGeom>
            <a:avLst/>
            <a:gdLst/>
            <a:ahLst/>
            <a:cxnLst/>
            <a:rect l="l" t="t" r="r" b="b"/>
            <a:pathLst>
              <a:path w="772795" h="315594">
                <a:moveTo>
                  <a:pt x="772607" y="0"/>
                </a:moveTo>
                <a:lnTo>
                  <a:pt x="0" y="0"/>
                </a:lnTo>
                <a:lnTo>
                  <a:pt x="0" y="315468"/>
                </a:lnTo>
                <a:lnTo>
                  <a:pt x="772607" y="315468"/>
                </a:lnTo>
                <a:lnTo>
                  <a:pt x="772607" y="309372"/>
                </a:lnTo>
                <a:lnTo>
                  <a:pt x="10668" y="309372"/>
                </a:lnTo>
                <a:lnTo>
                  <a:pt x="4572" y="304800"/>
                </a:lnTo>
                <a:lnTo>
                  <a:pt x="10668" y="304800"/>
                </a:lnTo>
                <a:lnTo>
                  <a:pt x="10668" y="10668"/>
                </a:lnTo>
                <a:lnTo>
                  <a:pt x="4572" y="10668"/>
                </a:lnTo>
                <a:lnTo>
                  <a:pt x="10668" y="4572"/>
                </a:lnTo>
                <a:lnTo>
                  <a:pt x="772607" y="4572"/>
                </a:lnTo>
                <a:lnTo>
                  <a:pt x="772607" y="0"/>
                </a:lnTo>
                <a:close/>
              </a:path>
              <a:path w="772795" h="315594">
                <a:moveTo>
                  <a:pt x="10668" y="304800"/>
                </a:moveTo>
                <a:lnTo>
                  <a:pt x="4572" y="304800"/>
                </a:lnTo>
                <a:lnTo>
                  <a:pt x="10668" y="309372"/>
                </a:lnTo>
                <a:lnTo>
                  <a:pt x="10668" y="304800"/>
                </a:lnTo>
                <a:close/>
              </a:path>
              <a:path w="772795" h="315594">
                <a:moveTo>
                  <a:pt x="761939" y="304800"/>
                </a:moveTo>
                <a:lnTo>
                  <a:pt x="10668" y="304800"/>
                </a:lnTo>
                <a:lnTo>
                  <a:pt x="10668" y="309372"/>
                </a:lnTo>
                <a:lnTo>
                  <a:pt x="761939" y="309372"/>
                </a:lnTo>
                <a:lnTo>
                  <a:pt x="761939" y="304800"/>
                </a:lnTo>
                <a:close/>
              </a:path>
              <a:path w="772795" h="315594">
                <a:moveTo>
                  <a:pt x="761939" y="4572"/>
                </a:moveTo>
                <a:lnTo>
                  <a:pt x="761939" y="309372"/>
                </a:lnTo>
                <a:lnTo>
                  <a:pt x="766511" y="304800"/>
                </a:lnTo>
                <a:lnTo>
                  <a:pt x="772607" y="304800"/>
                </a:lnTo>
                <a:lnTo>
                  <a:pt x="772607" y="10668"/>
                </a:lnTo>
                <a:lnTo>
                  <a:pt x="766511" y="10668"/>
                </a:lnTo>
                <a:lnTo>
                  <a:pt x="761939" y="4572"/>
                </a:lnTo>
                <a:close/>
              </a:path>
              <a:path w="772795" h="315594">
                <a:moveTo>
                  <a:pt x="772607" y="304800"/>
                </a:moveTo>
                <a:lnTo>
                  <a:pt x="766511" y="304800"/>
                </a:lnTo>
                <a:lnTo>
                  <a:pt x="761939" y="309372"/>
                </a:lnTo>
                <a:lnTo>
                  <a:pt x="772607" y="309372"/>
                </a:lnTo>
                <a:lnTo>
                  <a:pt x="772607" y="304800"/>
                </a:lnTo>
                <a:close/>
              </a:path>
              <a:path w="772795" h="315594">
                <a:moveTo>
                  <a:pt x="10668" y="4572"/>
                </a:moveTo>
                <a:lnTo>
                  <a:pt x="4572" y="10668"/>
                </a:lnTo>
                <a:lnTo>
                  <a:pt x="10668" y="10668"/>
                </a:lnTo>
                <a:lnTo>
                  <a:pt x="10668" y="4572"/>
                </a:lnTo>
                <a:close/>
              </a:path>
              <a:path w="772795" h="315594">
                <a:moveTo>
                  <a:pt x="761939" y="4572"/>
                </a:moveTo>
                <a:lnTo>
                  <a:pt x="10668" y="4572"/>
                </a:lnTo>
                <a:lnTo>
                  <a:pt x="10668" y="10668"/>
                </a:lnTo>
                <a:lnTo>
                  <a:pt x="761939" y="10668"/>
                </a:lnTo>
                <a:lnTo>
                  <a:pt x="761939" y="4572"/>
                </a:lnTo>
                <a:close/>
              </a:path>
              <a:path w="772795" h="315594">
                <a:moveTo>
                  <a:pt x="772607" y="4572"/>
                </a:moveTo>
                <a:lnTo>
                  <a:pt x="761939" y="4572"/>
                </a:lnTo>
                <a:lnTo>
                  <a:pt x="766511" y="10668"/>
                </a:lnTo>
                <a:lnTo>
                  <a:pt x="772607" y="10668"/>
                </a:lnTo>
                <a:lnTo>
                  <a:pt x="7726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3361679" y="2797526"/>
            <a:ext cx="961897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Liberation Sans Narrow"/>
                <a:cs typeface="Liberation Sans Narrow"/>
              </a:rPr>
              <a:t>NORM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3278368" y="3583137"/>
            <a:ext cx="1153795" cy="309880"/>
          </a:xfrm>
          <a:custGeom>
            <a:avLst/>
            <a:gdLst/>
            <a:ahLst/>
            <a:cxnLst/>
            <a:rect l="l" t="t" r="r" b="b"/>
            <a:pathLst>
              <a:path w="1153795" h="309879">
                <a:moveTo>
                  <a:pt x="1153576" y="0"/>
                </a:moveTo>
                <a:lnTo>
                  <a:pt x="0" y="0"/>
                </a:lnTo>
                <a:lnTo>
                  <a:pt x="0" y="309341"/>
                </a:lnTo>
                <a:lnTo>
                  <a:pt x="1153576" y="309341"/>
                </a:lnTo>
                <a:lnTo>
                  <a:pt x="10668" y="309341"/>
                </a:lnTo>
                <a:lnTo>
                  <a:pt x="4572" y="304769"/>
                </a:lnTo>
                <a:lnTo>
                  <a:pt x="10668" y="304769"/>
                </a:lnTo>
                <a:lnTo>
                  <a:pt x="10668" y="10668"/>
                </a:lnTo>
                <a:lnTo>
                  <a:pt x="4572" y="10668"/>
                </a:lnTo>
                <a:lnTo>
                  <a:pt x="10668" y="4572"/>
                </a:lnTo>
                <a:lnTo>
                  <a:pt x="1153576" y="4572"/>
                </a:lnTo>
                <a:lnTo>
                  <a:pt x="1153576" y="0"/>
                </a:lnTo>
                <a:close/>
              </a:path>
              <a:path w="1153795" h="309879">
                <a:moveTo>
                  <a:pt x="10668" y="304769"/>
                </a:moveTo>
                <a:lnTo>
                  <a:pt x="4572" y="304769"/>
                </a:lnTo>
                <a:lnTo>
                  <a:pt x="10668" y="309341"/>
                </a:lnTo>
                <a:lnTo>
                  <a:pt x="10668" y="304769"/>
                </a:lnTo>
                <a:close/>
              </a:path>
              <a:path w="1153795" h="309879">
                <a:moveTo>
                  <a:pt x="1142908" y="304769"/>
                </a:moveTo>
                <a:lnTo>
                  <a:pt x="10668" y="304769"/>
                </a:lnTo>
                <a:lnTo>
                  <a:pt x="10668" y="309341"/>
                </a:lnTo>
                <a:lnTo>
                  <a:pt x="1142908" y="309341"/>
                </a:lnTo>
                <a:lnTo>
                  <a:pt x="1142908" y="304769"/>
                </a:lnTo>
                <a:close/>
              </a:path>
              <a:path w="1153795" h="309879">
                <a:moveTo>
                  <a:pt x="1142908" y="4572"/>
                </a:moveTo>
                <a:lnTo>
                  <a:pt x="1142908" y="309341"/>
                </a:lnTo>
                <a:lnTo>
                  <a:pt x="1147480" y="304769"/>
                </a:lnTo>
                <a:lnTo>
                  <a:pt x="1153576" y="304769"/>
                </a:lnTo>
                <a:lnTo>
                  <a:pt x="1153576" y="10668"/>
                </a:lnTo>
                <a:lnTo>
                  <a:pt x="1147480" y="10668"/>
                </a:lnTo>
                <a:lnTo>
                  <a:pt x="1142908" y="4572"/>
                </a:lnTo>
                <a:close/>
              </a:path>
              <a:path w="1153795" h="309879">
                <a:moveTo>
                  <a:pt x="1153576" y="304769"/>
                </a:moveTo>
                <a:lnTo>
                  <a:pt x="1147480" y="304769"/>
                </a:lnTo>
                <a:lnTo>
                  <a:pt x="1142908" y="309341"/>
                </a:lnTo>
                <a:lnTo>
                  <a:pt x="1153576" y="309341"/>
                </a:lnTo>
                <a:lnTo>
                  <a:pt x="1153576" y="304769"/>
                </a:lnTo>
                <a:close/>
              </a:path>
              <a:path w="1153795" h="309879">
                <a:moveTo>
                  <a:pt x="10668" y="4572"/>
                </a:moveTo>
                <a:lnTo>
                  <a:pt x="4572" y="10668"/>
                </a:lnTo>
                <a:lnTo>
                  <a:pt x="10668" y="10668"/>
                </a:lnTo>
                <a:lnTo>
                  <a:pt x="10668" y="4572"/>
                </a:lnTo>
                <a:close/>
              </a:path>
              <a:path w="1153795" h="309879">
                <a:moveTo>
                  <a:pt x="1142908" y="4572"/>
                </a:moveTo>
                <a:lnTo>
                  <a:pt x="10668" y="4572"/>
                </a:lnTo>
                <a:lnTo>
                  <a:pt x="10668" y="10668"/>
                </a:lnTo>
                <a:lnTo>
                  <a:pt x="1142908" y="10668"/>
                </a:lnTo>
                <a:lnTo>
                  <a:pt x="1142908" y="4572"/>
                </a:lnTo>
                <a:close/>
              </a:path>
              <a:path w="1153795" h="309879">
                <a:moveTo>
                  <a:pt x="1153576" y="4572"/>
                </a:moveTo>
                <a:lnTo>
                  <a:pt x="1142908" y="4572"/>
                </a:lnTo>
                <a:lnTo>
                  <a:pt x="1147480" y="10668"/>
                </a:lnTo>
                <a:lnTo>
                  <a:pt x="1153576" y="10668"/>
                </a:lnTo>
                <a:lnTo>
                  <a:pt x="1153576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3278368" y="3326195"/>
            <a:ext cx="1188410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u="sng" dirty="0">
                <a:uFill>
                  <a:solidFill>
                    <a:srgbClr val="000000"/>
                  </a:solidFill>
                </a:uFill>
                <a:latin typeface="Times New Roman"/>
                <a:cs typeface="Times New Roman"/>
              </a:rPr>
              <a:t> </a:t>
            </a:r>
            <a:r>
              <a:rPr sz="1800" u="sng" spc="-145" dirty="0">
                <a:uFill>
                  <a:solidFill>
                    <a:srgbClr val="000000"/>
                  </a:solidFill>
                </a:uFill>
                <a:latin typeface="Times New Roman"/>
                <a:cs typeface="Times New Roman"/>
              </a:rPr>
              <a:t> </a:t>
            </a:r>
            <a:r>
              <a:rPr sz="1800" u="sng" spc="-5" dirty="0">
                <a:uFill>
                  <a:solidFill>
                    <a:srgbClr val="000000"/>
                  </a:solidFill>
                </a:uFill>
                <a:latin typeface="Liberation Sans Narrow"/>
                <a:cs typeface="Liberation Sans Narrow"/>
              </a:rPr>
              <a:t>01.01.1</a:t>
            </a:r>
            <a:r>
              <a:rPr sz="1800" u="sng" spc="5" dirty="0">
                <a:uFill>
                  <a:solidFill>
                    <a:srgbClr val="000000"/>
                  </a:solidFill>
                </a:uFill>
                <a:latin typeface="Liberation Sans Narrow"/>
                <a:cs typeface="Liberation Sans Narrow"/>
              </a:rPr>
              <a:t>99</a:t>
            </a:r>
            <a:r>
              <a:rPr sz="1800" u="sng" dirty="0">
                <a:uFill>
                  <a:solidFill>
                    <a:srgbClr val="000000"/>
                  </a:solidFill>
                </a:uFill>
                <a:latin typeface="Liberation Sans Narrow"/>
                <a:cs typeface="Liberation Sans Narrow"/>
              </a:rPr>
              <a:t>0</a:t>
            </a:r>
            <a:endParaRPr sz="1800" dirty="0">
              <a:latin typeface="Liberation Sans Narrow"/>
              <a:cs typeface="Liberation Sans Narrow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52053" y="4301899"/>
            <a:ext cx="112776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Starting</a:t>
            </a:r>
            <a:r>
              <a:rPr sz="1800" spc="-55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point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152053" y="4835253"/>
            <a:ext cx="120269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Day type</a:t>
            </a:r>
            <a:r>
              <a:rPr sz="1800" spc="-50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Rule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3278368" y="4345076"/>
            <a:ext cx="772795" cy="315595"/>
          </a:xfrm>
          <a:custGeom>
            <a:avLst/>
            <a:gdLst/>
            <a:ahLst/>
            <a:cxnLst/>
            <a:rect l="l" t="t" r="r" b="b"/>
            <a:pathLst>
              <a:path w="772795" h="315595">
                <a:moveTo>
                  <a:pt x="772607" y="0"/>
                </a:moveTo>
                <a:lnTo>
                  <a:pt x="0" y="0"/>
                </a:lnTo>
                <a:lnTo>
                  <a:pt x="0" y="315437"/>
                </a:lnTo>
                <a:lnTo>
                  <a:pt x="772607" y="315437"/>
                </a:lnTo>
                <a:lnTo>
                  <a:pt x="772607" y="309341"/>
                </a:lnTo>
                <a:lnTo>
                  <a:pt x="10668" y="309341"/>
                </a:lnTo>
                <a:lnTo>
                  <a:pt x="4572" y="304769"/>
                </a:lnTo>
                <a:lnTo>
                  <a:pt x="10668" y="304769"/>
                </a:lnTo>
                <a:lnTo>
                  <a:pt x="10668" y="10668"/>
                </a:lnTo>
                <a:lnTo>
                  <a:pt x="4572" y="10668"/>
                </a:lnTo>
                <a:lnTo>
                  <a:pt x="10668" y="4572"/>
                </a:lnTo>
                <a:lnTo>
                  <a:pt x="772607" y="4572"/>
                </a:lnTo>
                <a:lnTo>
                  <a:pt x="772607" y="0"/>
                </a:lnTo>
                <a:close/>
              </a:path>
              <a:path w="772795" h="315595">
                <a:moveTo>
                  <a:pt x="10668" y="304769"/>
                </a:moveTo>
                <a:lnTo>
                  <a:pt x="4572" y="304769"/>
                </a:lnTo>
                <a:lnTo>
                  <a:pt x="10668" y="309341"/>
                </a:lnTo>
                <a:lnTo>
                  <a:pt x="10668" y="304769"/>
                </a:lnTo>
                <a:close/>
              </a:path>
              <a:path w="772795" h="315595">
                <a:moveTo>
                  <a:pt x="761939" y="304769"/>
                </a:moveTo>
                <a:lnTo>
                  <a:pt x="10668" y="304769"/>
                </a:lnTo>
                <a:lnTo>
                  <a:pt x="10668" y="309341"/>
                </a:lnTo>
                <a:lnTo>
                  <a:pt x="761939" y="309341"/>
                </a:lnTo>
                <a:lnTo>
                  <a:pt x="761939" y="304769"/>
                </a:lnTo>
                <a:close/>
              </a:path>
              <a:path w="772795" h="315595">
                <a:moveTo>
                  <a:pt x="761939" y="4572"/>
                </a:moveTo>
                <a:lnTo>
                  <a:pt x="761939" y="309341"/>
                </a:lnTo>
                <a:lnTo>
                  <a:pt x="766511" y="304769"/>
                </a:lnTo>
                <a:lnTo>
                  <a:pt x="772607" y="304769"/>
                </a:lnTo>
                <a:lnTo>
                  <a:pt x="772607" y="10668"/>
                </a:lnTo>
                <a:lnTo>
                  <a:pt x="766511" y="10668"/>
                </a:lnTo>
                <a:lnTo>
                  <a:pt x="761939" y="4572"/>
                </a:lnTo>
                <a:close/>
              </a:path>
              <a:path w="772795" h="315595">
                <a:moveTo>
                  <a:pt x="772607" y="304769"/>
                </a:moveTo>
                <a:lnTo>
                  <a:pt x="766511" y="304769"/>
                </a:lnTo>
                <a:lnTo>
                  <a:pt x="761939" y="309341"/>
                </a:lnTo>
                <a:lnTo>
                  <a:pt x="772607" y="309341"/>
                </a:lnTo>
                <a:lnTo>
                  <a:pt x="772607" y="304769"/>
                </a:lnTo>
                <a:close/>
              </a:path>
              <a:path w="772795" h="315595">
                <a:moveTo>
                  <a:pt x="10668" y="4572"/>
                </a:moveTo>
                <a:lnTo>
                  <a:pt x="4572" y="10668"/>
                </a:lnTo>
                <a:lnTo>
                  <a:pt x="10668" y="10668"/>
                </a:lnTo>
                <a:lnTo>
                  <a:pt x="10668" y="4572"/>
                </a:lnTo>
                <a:close/>
              </a:path>
              <a:path w="772795" h="315595">
                <a:moveTo>
                  <a:pt x="761939" y="4572"/>
                </a:moveTo>
                <a:lnTo>
                  <a:pt x="10668" y="4572"/>
                </a:lnTo>
                <a:lnTo>
                  <a:pt x="10668" y="10668"/>
                </a:lnTo>
                <a:lnTo>
                  <a:pt x="761939" y="10668"/>
                </a:lnTo>
                <a:lnTo>
                  <a:pt x="761939" y="4572"/>
                </a:lnTo>
                <a:close/>
              </a:path>
              <a:path w="772795" h="315595">
                <a:moveTo>
                  <a:pt x="772607" y="4572"/>
                </a:moveTo>
                <a:lnTo>
                  <a:pt x="761939" y="4572"/>
                </a:lnTo>
                <a:lnTo>
                  <a:pt x="766511" y="10668"/>
                </a:lnTo>
                <a:lnTo>
                  <a:pt x="772607" y="10668"/>
                </a:lnTo>
                <a:lnTo>
                  <a:pt x="7726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3278368" y="4331752"/>
            <a:ext cx="772795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00</a:t>
            </a:r>
            <a:r>
              <a:rPr sz="1800" dirty="0">
                <a:latin typeface="Liberation Sans Narrow"/>
                <a:cs typeface="Liberation Sans Narrow"/>
              </a:rPr>
              <a:t>1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3278368" y="4878430"/>
            <a:ext cx="772795" cy="315595"/>
          </a:xfrm>
          <a:custGeom>
            <a:avLst/>
            <a:gdLst/>
            <a:ahLst/>
            <a:cxnLst/>
            <a:rect l="l" t="t" r="r" b="b"/>
            <a:pathLst>
              <a:path w="772795" h="315595">
                <a:moveTo>
                  <a:pt x="772607" y="0"/>
                </a:moveTo>
                <a:lnTo>
                  <a:pt x="0" y="0"/>
                </a:lnTo>
                <a:lnTo>
                  <a:pt x="0" y="315443"/>
                </a:lnTo>
                <a:lnTo>
                  <a:pt x="772607" y="315443"/>
                </a:lnTo>
                <a:lnTo>
                  <a:pt x="772607" y="309347"/>
                </a:lnTo>
                <a:lnTo>
                  <a:pt x="10668" y="309347"/>
                </a:lnTo>
                <a:lnTo>
                  <a:pt x="4572" y="304775"/>
                </a:lnTo>
                <a:lnTo>
                  <a:pt x="10668" y="304775"/>
                </a:lnTo>
                <a:lnTo>
                  <a:pt x="10668" y="10668"/>
                </a:lnTo>
                <a:lnTo>
                  <a:pt x="4572" y="10668"/>
                </a:lnTo>
                <a:lnTo>
                  <a:pt x="10668" y="4572"/>
                </a:lnTo>
                <a:lnTo>
                  <a:pt x="772607" y="4572"/>
                </a:lnTo>
                <a:lnTo>
                  <a:pt x="772607" y="0"/>
                </a:lnTo>
                <a:close/>
              </a:path>
              <a:path w="772795" h="315595">
                <a:moveTo>
                  <a:pt x="10668" y="304775"/>
                </a:moveTo>
                <a:lnTo>
                  <a:pt x="4572" y="304775"/>
                </a:lnTo>
                <a:lnTo>
                  <a:pt x="10668" y="309347"/>
                </a:lnTo>
                <a:lnTo>
                  <a:pt x="10668" y="304775"/>
                </a:lnTo>
                <a:close/>
              </a:path>
              <a:path w="772795" h="315595">
                <a:moveTo>
                  <a:pt x="761939" y="304775"/>
                </a:moveTo>
                <a:lnTo>
                  <a:pt x="10668" y="304775"/>
                </a:lnTo>
                <a:lnTo>
                  <a:pt x="10668" y="309347"/>
                </a:lnTo>
                <a:lnTo>
                  <a:pt x="761939" y="309347"/>
                </a:lnTo>
                <a:lnTo>
                  <a:pt x="761939" y="304775"/>
                </a:lnTo>
                <a:close/>
              </a:path>
              <a:path w="772795" h="315595">
                <a:moveTo>
                  <a:pt x="761939" y="4572"/>
                </a:moveTo>
                <a:lnTo>
                  <a:pt x="761939" y="309347"/>
                </a:lnTo>
                <a:lnTo>
                  <a:pt x="766511" y="304775"/>
                </a:lnTo>
                <a:lnTo>
                  <a:pt x="772607" y="304775"/>
                </a:lnTo>
                <a:lnTo>
                  <a:pt x="772607" y="10668"/>
                </a:lnTo>
                <a:lnTo>
                  <a:pt x="766511" y="10668"/>
                </a:lnTo>
                <a:lnTo>
                  <a:pt x="761939" y="4572"/>
                </a:lnTo>
                <a:close/>
              </a:path>
              <a:path w="772795" h="315595">
                <a:moveTo>
                  <a:pt x="772607" y="304775"/>
                </a:moveTo>
                <a:lnTo>
                  <a:pt x="766511" y="304775"/>
                </a:lnTo>
                <a:lnTo>
                  <a:pt x="761939" y="309347"/>
                </a:lnTo>
                <a:lnTo>
                  <a:pt x="772607" y="309347"/>
                </a:lnTo>
                <a:lnTo>
                  <a:pt x="772607" y="304775"/>
                </a:lnTo>
                <a:close/>
              </a:path>
              <a:path w="772795" h="315595">
                <a:moveTo>
                  <a:pt x="10668" y="4572"/>
                </a:moveTo>
                <a:lnTo>
                  <a:pt x="4572" y="10668"/>
                </a:lnTo>
                <a:lnTo>
                  <a:pt x="10668" y="10668"/>
                </a:lnTo>
                <a:lnTo>
                  <a:pt x="10668" y="4572"/>
                </a:lnTo>
                <a:close/>
              </a:path>
              <a:path w="772795" h="315595">
                <a:moveTo>
                  <a:pt x="761939" y="4572"/>
                </a:moveTo>
                <a:lnTo>
                  <a:pt x="10668" y="4572"/>
                </a:lnTo>
                <a:lnTo>
                  <a:pt x="10668" y="10668"/>
                </a:lnTo>
                <a:lnTo>
                  <a:pt x="761939" y="10668"/>
                </a:lnTo>
                <a:lnTo>
                  <a:pt x="761939" y="4572"/>
                </a:lnTo>
                <a:close/>
              </a:path>
              <a:path w="772795" h="315595">
                <a:moveTo>
                  <a:pt x="772607" y="4572"/>
                </a:moveTo>
                <a:lnTo>
                  <a:pt x="761939" y="4572"/>
                </a:lnTo>
                <a:lnTo>
                  <a:pt x="766511" y="10668"/>
                </a:lnTo>
                <a:lnTo>
                  <a:pt x="772607" y="10668"/>
                </a:lnTo>
                <a:lnTo>
                  <a:pt x="7726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3361680" y="4880982"/>
            <a:ext cx="689483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0</a:t>
            </a:r>
            <a:r>
              <a:rPr sz="1800" dirty="0">
                <a:latin typeface="Liberation Sans Narrow"/>
                <a:cs typeface="Liberation Sans Narrow"/>
              </a:rPr>
              <a:t>1</a:t>
            </a: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85376" y="1060702"/>
            <a:ext cx="5058223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200" spc="-10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Generate </a:t>
            </a:r>
            <a:r>
              <a:rPr sz="2200" spc="-15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Work </a:t>
            </a:r>
            <a:r>
              <a:rPr sz="2200" spc="-10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Schedules</a:t>
            </a:r>
            <a:r>
              <a:rPr sz="2200" spc="-25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 </a:t>
            </a:r>
            <a:r>
              <a:rPr sz="2200" spc="-5" dirty="0">
                <a:latin typeface="Liberation Sans Narrow"/>
                <a:cs typeface="Liberation Sans Narrow"/>
              </a:rPr>
              <a:t>Manually</a:t>
            </a:r>
            <a:endParaRPr sz="2200" dirty="0">
              <a:latin typeface="Liberation Sans Narrow"/>
              <a:cs typeface="Liberation Sans Narrow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999664" y="1915504"/>
            <a:ext cx="6588125" cy="11379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The </a:t>
            </a:r>
            <a:r>
              <a:rPr sz="1800" spc="-10" dirty="0">
                <a:latin typeface="Liberation Sans Narrow"/>
                <a:cs typeface="Liberation Sans Narrow"/>
              </a:rPr>
              <a:t>Work </a:t>
            </a:r>
            <a:r>
              <a:rPr sz="1800" spc="-5" dirty="0">
                <a:latin typeface="Liberation Sans Narrow"/>
                <a:cs typeface="Liberation Sans Narrow"/>
              </a:rPr>
              <a:t>Schedule has to be generated and only then it </a:t>
            </a:r>
            <a:r>
              <a:rPr sz="1800" dirty="0">
                <a:latin typeface="Liberation Sans Narrow"/>
                <a:cs typeface="Liberation Sans Narrow"/>
              </a:rPr>
              <a:t>can </a:t>
            </a:r>
            <a:r>
              <a:rPr sz="1800" spc="-5" dirty="0">
                <a:latin typeface="Liberation Sans Narrow"/>
                <a:cs typeface="Liberation Sans Narrow"/>
              </a:rPr>
              <a:t>be attached to an  employee in Infotype</a:t>
            </a:r>
            <a:r>
              <a:rPr sz="1800" spc="70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0007</a:t>
            </a:r>
            <a:endParaRPr sz="1800">
              <a:latin typeface="Liberation Sans Narrow"/>
              <a:cs typeface="Liberation Sans Narrow"/>
            </a:endParaRPr>
          </a:p>
          <a:p>
            <a:pPr>
              <a:lnSpc>
                <a:spcPct val="100000"/>
              </a:lnSpc>
              <a:spcBef>
                <a:spcPts val="40"/>
              </a:spcBef>
            </a:pPr>
            <a:endParaRPr sz="1950">
              <a:latin typeface="Liberation Sans Narrow"/>
              <a:cs typeface="Liberation Sans Narrow"/>
            </a:endParaRPr>
          </a:p>
          <a:p>
            <a:pPr marL="164465">
              <a:lnSpc>
                <a:spcPct val="100000"/>
              </a:lnSpc>
              <a:tabLst>
                <a:tab pos="2881630" algn="l"/>
              </a:tabLst>
            </a:pPr>
            <a:r>
              <a:rPr sz="1800" spc="-5" dirty="0">
                <a:latin typeface="Liberation Sans Narrow"/>
                <a:cs typeface="Liberation Sans Narrow"/>
              </a:rPr>
              <a:t>ESG</a:t>
            </a:r>
            <a:r>
              <a:rPr sz="1800" spc="5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Grouping	</a:t>
            </a:r>
            <a:r>
              <a:rPr sz="1800" dirty="0">
                <a:latin typeface="Liberation Sans Narrow"/>
                <a:cs typeface="Liberation Sans Narrow"/>
              </a:rPr>
              <a:t>9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52053" y="3286997"/>
            <a:ext cx="121031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PSA</a:t>
            </a:r>
            <a:r>
              <a:rPr sz="1800" spc="-150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Grouping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818839" y="3363186"/>
            <a:ext cx="233679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4</a:t>
            </a:r>
            <a:r>
              <a:rPr sz="1800" dirty="0">
                <a:latin typeface="Liberation Sans Narrow"/>
                <a:cs typeface="Liberation Sans Narrow"/>
              </a:rPr>
              <a:t>0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3659337" y="2722138"/>
            <a:ext cx="544195" cy="390525"/>
          </a:xfrm>
          <a:custGeom>
            <a:avLst/>
            <a:gdLst/>
            <a:ahLst/>
            <a:cxnLst/>
            <a:rect l="l" t="t" r="r" b="b"/>
            <a:pathLst>
              <a:path w="544195" h="390525">
                <a:moveTo>
                  <a:pt x="544007" y="0"/>
                </a:moveTo>
                <a:lnTo>
                  <a:pt x="0" y="0"/>
                </a:lnTo>
                <a:lnTo>
                  <a:pt x="0" y="390144"/>
                </a:lnTo>
                <a:lnTo>
                  <a:pt x="544007" y="390144"/>
                </a:lnTo>
                <a:lnTo>
                  <a:pt x="544007" y="385572"/>
                </a:lnTo>
                <a:lnTo>
                  <a:pt x="10668" y="385572"/>
                </a:lnTo>
                <a:lnTo>
                  <a:pt x="4572" y="381000"/>
                </a:lnTo>
                <a:lnTo>
                  <a:pt x="10668" y="381000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544007" y="4572"/>
                </a:lnTo>
                <a:lnTo>
                  <a:pt x="544007" y="0"/>
                </a:lnTo>
                <a:close/>
              </a:path>
              <a:path w="544195" h="390525">
                <a:moveTo>
                  <a:pt x="10668" y="381000"/>
                </a:moveTo>
                <a:lnTo>
                  <a:pt x="4572" y="381000"/>
                </a:lnTo>
                <a:lnTo>
                  <a:pt x="10668" y="385572"/>
                </a:lnTo>
                <a:lnTo>
                  <a:pt x="10668" y="381000"/>
                </a:lnTo>
                <a:close/>
              </a:path>
              <a:path w="544195" h="390525">
                <a:moveTo>
                  <a:pt x="533339" y="381000"/>
                </a:moveTo>
                <a:lnTo>
                  <a:pt x="10668" y="381000"/>
                </a:lnTo>
                <a:lnTo>
                  <a:pt x="10668" y="385572"/>
                </a:lnTo>
                <a:lnTo>
                  <a:pt x="533339" y="385572"/>
                </a:lnTo>
                <a:lnTo>
                  <a:pt x="533339" y="381000"/>
                </a:lnTo>
                <a:close/>
              </a:path>
              <a:path w="544195" h="390525">
                <a:moveTo>
                  <a:pt x="533339" y="4572"/>
                </a:moveTo>
                <a:lnTo>
                  <a:pt x="533339" y="385572"/>
                </a:lnTo>
                <a:lnTo>
                  <a:pt x="537911" y="381000"/>
                </a:lnTo>
                <a:lnTo>
                  <a:pt x="544007" y="381000"/>
                </a:lnTo>
                <a:lnTo>
                  <a:pt x="544007" y="9144"/>
                </a:lnTo>
                <a:lnTo>
                  <a:pt x="537911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381000"/>
                </a:moveTo>
                <a:lnTo>
                  <a:pt x="537911" y="381000"/>
                </a:lnTo>
                <a:lnTo>
                  <a:pt x="533339" y="385572"/>
                </a:lnTo>
                <a:lnTo>
                  <a:pt x="544007" y="385572"/>
                </a:lnTo>
                <a:lnTo>
                  <a:pt x="544007" y="381000"/>
                </a:lnTo>
                <a:close/>
              </a:path>
              <a:path w="5441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544195" h="390525">
                <a:moveTo>
                  <a:pt x="53333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533339" y="9144"/>
                </a:lnTo>
                <a:lnTo>
                  <a:pt x="533339" y="4572"/>
                </a:lnTo>
                <a:close/>
              </a:path>
              <a:path w="544195" h="390525">
                <a:moveTo>
                  <a:pt x="544007" y="4572"/>
                </a:moveTo>
                <a:lnTo>
                  <a:pt x="533339" y="4572"/>
                </a:lnTo>
                <a:lnTo>
                  <a:pt x="537911" y="9144"/>
                </a:lnTo>
                <a:lnTo>
                  <a:pt x="544007" y="9144"/>
                </a:lnTo>
                <a:lnTo>
                  <a:pt x="5440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659337" y="3331707"/>
            <a:ext cx="620395" cy="314325"/>
          </a:xfrm>
          <a:custGeom>
            <a:avLst/>
            <a:gdLst/>
            <a:ahLst/>
            <a:cxnLst/>
            <a:rect l="l" t="t" r="r" b="b"/>
            <a:pathLst>
              <a:path w="620395" h="314325">
                <a:moveTo>
                  <a:pt x="620207" y="0"/>
                </a:moveTo>
                <a:lnTo>
                  <a:pt x="0" y="0"/>
                </a:lnTo>
                <a:lnTo>
                  <a:pt x="0" y="313913"/>
                </a:lnTo>
                <a:lnTo>
                  <a:pt x="620207" y="313913"/>
                </a:lnTo>
                <a:lnTo>
                  <a:pt x="620207" y="309341"/>
                </a:lnTo>
                <a:lnTo>
                  <a:pt x="10668" y="309341"/>
                </a:lnTo>
                <a:lnTo>
                  <a:pt x="4572" y="304769"/>
                </a:lnTo>
                <a:lnTo>
                  <a:pt x="10668" y="30476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620207" y="4572"/>
                </a:lnTo>
                <a:lnTo>
                  <a:pt x="620207" y="0"/>
                </a:lnTo>
                <a:close/>
              </a:path>
              <a:path w="620395" h="314325">
                <a:moveTo>
                  <a:pt x="10668" y="304769"/>
                </a:moveTo>
                <a:lnTo>
                  <a:pt x="4572" y="304769"/>
                </a:lnTo>
                <a:lnTo>
                  <a:pt x="10668" y="309341"/>
                </a:lnTo>
                <a:lnTo>
                  <a:pt x="10668" y="304769"/>
                </a:lnTo>
                <a:close/>
              </a:path>
              <a:path w="620395" h="314325">
                <a:moveTo>
                  <a:pt x="609539" y="304769"/>
                </a:moveTo>
                <a:lnTo>
                  <a:pt x="10668" y="304769"/>
                </a:lnTo>
                <a:lnTo>
                  <a:pt x="10668" y="309341"/>
                </a:lnTo>
                <a:lnTo>
                  <a:pt x="609539" y="309341"/>
                </a:lnTo>
                <a:lnTo>
                  <a:pt x="609539" y="304769"/>
                </a:lnTo>
                <a:close/>
              </a:path>
              <a:path w="620395" h="314325">
                <a:moveTo>
                  <a:pt x="609539" y="4572"/>
                </a:moveTo>
                <a:lnTo>
                  <a:pt x="609539" y="309341"/>
                </a:lnTo>
                <a:lnTo>
                  <a:pt x="614111" y="304769"/>
                </a:lnTo>
                <a:lnTo>
                  <a:pt x="620207" y="304769"/>
                </a:lnTo>
                <a:lnTo>
                  <a:pt x="620207" y="9144"/>
                </a:lnTo>
                <a:lnTo>
                  <a:pt x="614111" y="9144"/>
                </a:lnTo>
                <a:lnTo>
                  <a:pt x="609539" y="4572"/>
                </a:lnTo>
                <a:close/>
              </a:path>
              <a:path w="620395" h="314325">
                <a:moveTo>
                  <a:pt x="620207" y="304769"/>
                </a:moveTo>
                <a:lnTo>
                  <a:pt x="614111" y="304769"/>
                </a:lnTo>
                <a:lnTo>
                  <a:pt x="609539" y="309341"/>
                </a:lnTo>
                <a:lnTo>
                  <a:pt x="620207" y="309341"/>
                </a:lnTo>
                <a:lnTo>
                  <a:pt x="620207" y="304769"/>
                </a:lnTo>
                <a:close/>
              </a:path>
              <a:path w="620395" h="3143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620395" h="314325">
                <a:moveTo>
                  <a:pt x="60953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609539" y="9144"/>
                </a:lnTo>
                <a:lnTo>
                  <a:pt x="609539" y="4572"/>
                </a:lnTo>
                <a:close/>
              </a:path>
              <a:path w="620395" h="314325">
                <a:moveTo>
                  <a:pt x="620207" y="4572"/>
                </a:moveTo>
                <a:lnTo>
                  <a:pt x="609539" y="4572"/>
                </a:lnTo>
                <a:lnTo>
                  <a:pt x="614111" y="9144"/>
                </a:lnTo>
                <a:lnTo>
                  <a:pt x="620207" y="9144"/>
                </a:lnTo>
                <a:lnTo>
                  <a:pt x="6202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735537" y="3865046"/>
            <a:ext cx="467995" cy="27940"/>
          </a:xfrm>
          <a:custGeom>
            <a:avLst/>
            <a:gdLst/>
            <a:ahLst/>
            <a:cxnLst/>
            <a:rect l="l" t="t" r="r" b="b"/>
            <a:pathLst>
              <a:path w="467995" h="27939">
                <a:moveTo>
                  <a:pt x="467807" y="0"/>
                </a:moveTo>
                <a:lnTo>
                  <a:pt x="0" y="0"/>
                </a:lnTo>
                <a:lnTo>
                  <a:pt x="0" y="27432"/>
                </a:lnTo>
                <a:lnTo>
                  <a:pt x="10668" y="27432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467807" y="4572"/>
                </a:lnTo>
                <a:lnTo>
                  <a:pt x="467807" y="0"/>
                </a:lnTo>
                <a:close/>
              </a:path>
              <a:path w="467995" h="27939">
                <a:moveTo>
                  <a:pt x="457139" y="4572"/>
                </a:moveTo>
                <a:lnTo>
                  <a:pt x="457139" y="27432"/>
                </a:lnTo>
                <a:lnTo>
                  <a:pt x="467807" y="27432"/>
                </a:lnTo>
                <a:lnTo>
                  <a:pt x="467807" y="9144"/>
                </a:lnTo>
                <a:lnTo>
                  <a:pt x="461711" y="9144"/>
                </a:lnTo>
                <a:lnTo>
                  <a:pt x="457139" y="4572"/>
                </a:lnTo>
                <a:close/>
              </a:path>
              <a:path w="467995" h="27939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467995" h="27939">
                <a:moveTo>
                  <a:pt x="45713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457139" y="9144"/>
                </a:lnTo>
                <a:lnTo>
                  <a:pt x="457139" y="4572"/>
                </a:lnTo>
                <a:close/>
              </a:path>
              <a:path w="467995" h="27939">
                <a:moveTo>
                  <a:pt x="467807" y="4572"/>
                </a:moveTo>
                <a:lnTo>
                  <a:pt x="457139" y="4572"/>
                </a:lnTo>
                <a:lnTo>
                  <a:pt x="461711" y="9144"/>
                </a:lnTo>
                <a:lnTo>
                  <a:pt x="467807" y="9144"/>
                </a:lnTo>
                <a:lnTo>
                  <a:pt x="4678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1152053" y="3896541"/>
            <a:ext cx="145923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Holiday</a:t>
            </a:r>
            <a:r>
              <a:rPr sz="1800" spc="-55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Calendar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52053" y="4429905"/>
            <a:ext cx="1289685" cy="1442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spc="-10" dirty="0">
                <a:latin typeface="Liberation Sans Narrow"/>
                <a:cs typeface="Liberation Sans Narrow"/>
              </a:rPr>
              <a:t>Work</a:t>
            </a:r>
            <a:r>
              <a:rPr sz="1800" spc="-85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Schedule  Rule</a:t>
            </a:r>
            <a:endParaRPr sz="1800">
              <a:latin typeface="Liberation Sans Narrow"/>
              <a:cs typeface="Liberation Sans Narrow"/>
            </a:endParaRPr>
          </a:p>
          <a:p>
            <a:pPr marL="12700" marR="262255">
              <a:lnSpc>
                <a:spcPts val="3600"/>
              </a:lnSpc>
            </a:pPr>
            <a:r>
              <a:rPr sz="1800" spc="-5" dirty="0">
                <a:latin typeface="Liberation Sans Narrow"/>
                <a:cs typeface="Liberation Sans Narrow"/>
              </a:rPr>
              <a:t>From</a:t>
            </a:r>
            <a:r>
              <a:rPr sz="1800" spc="-90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period  </a:t>
            </a:r>
            <a:r>
              <a:rPr sz="1800" spc="-85" dirty="0">
                <a:latin typeface="Liberation Sans Narrow"/>
                <a:cs typeface="Liberation Sans Narrow"/>
              </a:rPr>
              <a:t>To</a:t>
            </a:r>
            <a:r>
              <a:rPr sz="1800" spc="-30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period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818839" y="3896541"/>
            <a:ext cx="21272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I</a:t>
            </a:r>
            <a:r>
              <a:rPr sz="1800" dirty="0">
                <a:latin typeface="Liberation Sans Narrow"/>
                <a:cs typeface="Liberation Sans Narrow"/>
              </a:rPr>
              <a:t>N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3735537" y="3892479"/>
            <a:ext cx="467995" cy="363220"/>
          </a:xfrm>
          <a:custGeom>
            <a:avLst/>
            <a:gdLst/>
            <a:ahLst/>
            <a:cxnLst/>
            <a:rect l="l" t="t" r="r" b="b"/>
            <a:pathLst>
              <a:path w="467995" h="363220">
                <a:moveTo>
                  <a:pt x="10668" y="0"/>
                </a:moveTo>
                <a:lnTo>
                  <a:pt x="0" y="0"/>
                </a:lnTo>
                <a:lnTo>
                  <a:pt x="0" y="362681"/>
                </a:lnTo>
                <a:lnTo>
                  <a:pt x="467807" y="362681"/>
                </a:lnTo>
                <a:lnTo>
                  <a:pt x="467807" y="358109"/>
                </a:lnTo>
                <a:lnTo>
                  <a:pt x="10668" y="358109"/>
                </a:lnTo>
                <a:lnTo>
                  <a:pt x="4572" y="353537"/>
                </a:lnTo>
                <a:lnTo>
                  <a:pt x="10668" y="353537"/>
                </a:lnTo>
                <a:lnTo>
                  <a:pt x="10668" y="0"/>
                </a:lnTo>
                <a:close/>
              </a:path>
              <a:path w="467995" h="363220">
                <a:moveTo>
                  <a:pt x="10668" y="353537"/>
                </a:moveTo>
                <a:lnTo>
                  <a:pt x="4572" y="353537"/>
                </a:lnTo>
                <a:lnTo>
                  <a:pt x="10668" y="358109"/>
                </a:lnTo>
                <a:lnTo>
                  <a:pt x="10668" y="353537"/>
                </a:lnTo>
                <a:close/>
              </a:path>
              <a:path w="467995" h="363220">
                <a:moveTo>
                  <a:pt x="457139" y="353537"/>
                </a:moveTo>
                <a:lnTo>
                  <a:pt x="10668" y="353537"/>
                </a:lnTo>
                <a:lnTo>
                  <a:pt x="10668" y="358109"/>
                </a:lnTo>
                <a:lnTo>
                  <a:pt x="457139" y="358109"/>
                </a:lnTo>
                <a:lnTo>
                  <a:pt x="457139" y="353537"/>
                </a:lnTo>
                <a:close/>
              </a:path>
              <a:path w="467995" h="363220">
                <a:moveTo>
                  <a:pt x="467807" y="0"/>
                </a:moveTo>
                <a:lnTo>
                  <a:pt x="457139" y="0"/>
                </a:lnTo>
                <a:lnTo>
                  <a:pt x="457139" y="358109"/>
                </a:lnTo>
                <a:lnTo>
                  <a:pt x="461711" y="353537"/>
                </a:lnTo>
                <a:lnTo>
                  <a:pt x="467807" y="353537"/>
                </a:lnTo>
                <a:lnTo>
                  <a:pt x="467807" y="0"/>
                </a:lnTo>
                <a:close/>
              </a:path>
              <a:path w="467995" h="363220">
                <a:moveTo>
                  <a:pt x="467807" y="353537"/>
                </a:moveTo>
                <a:lnTo>
                  <a:pt x="461711" y="353537"/>
                </a:lnTo>
                <a:lnTo>
                  <a:pt x="457139" y="358109"/>
                </a:lnTo>
                <a:lnTo>
                  <a:pt x="467807" y="358109"/>
                </a:lnTo>
                <a:lnTo>
                  <a:pt x="467807" y="3535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659337" y="4474616"/>
            <a:ext cx="1094740" cy="390525"/>
          </a:xfrm>
          <a:custGeom>
            <a:avLst/>
            <a:gdLst/>
            <a:ahLst/>
            <a:cxnLst/>
            <a:rect l="l" t="t" r="r" b="b"/>
            <a:pathLst>
              <a:path w="1094739" h="390525">
                <a:moveTo>
                  <a:pt x="1094140" y="0"/>
                </a:moveTo>
                <a:lnTo>
                  <a:pt x="0" y="0"/>
                </a:lnTo>
                <a:lnTo>
                  <a:pt x="0" y="390098"/>
                </a:lnTo>
                <a:lnTo>
                  <a:pt x="1094140" y="390098"/>
                </a:lnTo>
                <a:lnTo>
                  <a:pt x="1094140" y="385526"/>
                </a:lnTo>
                <a:lnTo>
                  <a:pt x="10668" y="385526"/>
                </a:lnTo>
                <a:lnTo>
                  <a:pt x="4572" y="380954"/>
                </a:lnTo>
                <a:lnTo>
                  <a:pt x="10668" y="380954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1094140" y="4572"/>
                </a:lnTo>
                <a:lnTo>
                  <a:pt x="1094140" y="0"/>
                </a:lnTo>
                <a:close/>
              </a:path>
              <a:path w="1094739" h="390525">
                <a:moveTo>
                  <a:pt x="10668" y="380954"/>
                </a:moveTo>
                <a:lnTo>
                  <a:pt x="4572" y="380954"/>
                </a:lnTo>
                <a:lnTo>
                  <a:pt x="10668" y="385526"/>
                </a:lnTo>
                <a:lnTo>
                  <a:pt x="10668" y="380954"/>
                </a:lnTo>
                <a:close/>
              </a:path>
              <a:path w="1094739" h="390525">
                <a:moveTo>
                  <a:pt x="1083472" y="380954"/>
                </a:moveTo>
                <a:lnTo>
                  <a:pt x="10668" y="380954"/>
                </a:lnTo>
                <a:lnTo>
                  <a:pt x="10668" y="385526"/>
                </a:lnTo>
                <a:lnTo>
                  <a:pt x="1083472" y="385526"/>
                </a:lnTo>
                <a:lnTo>
                  <a:pt x="1083472" y="380954"/>
                </a:lnTo>
                <a:close/>
              </a:path>
              <a:path w="1094739" h="390525">
                <a:moveTo>
                  <a:pt x="1083472" y="4572"/>
                </a:moveTo>
                <a:lnTo>
                  <a:pt x="1083472" y="385526"/>
                </a:lnTo>
                <a:lnTo>
                  <a:pt x="1088044" y="380954"/>
                </a:lnTo>
                <a:lnTo>
                  <a:pt x="1094140" y="380954"/>
                </a:lnTo>
                <a:lnTo>
                  <a:pt x="1094140" y="9144"/>
                </a:lnTo>
                <a:lnTo>
                  <a:pt x="1088044" y="9144"/>
                </a:lnTo>
                <a:lnTo>
                  <a:pt x="1083472" y="4572"/>
                </a:lnTo>
                <a:close/>
              </a:path>
              <a:path w="1094739" h="390525">
                <a:moveTo>
                  <a:pt x="1094140" y="380954"/>
                </a:moveTo>
                <a:lnTo>
                  <a:pt x="1088044" y="380954"/>
                </a:lnTo>
                <a:lnTo>
                  <a:pt x="1083472" y="385526"/>
                </a:lnTo>
                <a:lnTo>
                  <a:pt x="1094140" y="385526"/>
                </a:lnTo>
                <a:lnTo>
                  <a:pt x="1094140" y="380954"/>
                </a:lnTo>
                <a:close/>
              </a:path>
              <a:path w="1094739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1094739" h="390525">
                <a:moveTo>
                  <a:pt x="1083472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1083472" y="9144"/>
                </a:lnTo>
                <a:lnTo>
                  <a:pt x="1083472" y="4572"/>
                </a:lnTo>
                <a:close/>
              </a:path>
              <a:path w="1094739" h="390525">
                <a:moveTo>
                  <a:pt x="1094140" y="4572"/>
                </a:moveTo>
                <a:lnTo>
                  <a:pt x="1083472" y="4572"/>
                </a:lnTo>
                <a:lnTo>
                  <a:pt x="1088044" y="9144"/>
                </a:lnTo>
                <a:lnTo>
                  <a:pt x="1094140" y="9144"/>
                </a:lnTo>
                <a:lnTo>
                  <a:pt x="1094140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3742642" y="4512186"/>
            <a:ext cx="83693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10" dirty="0">
                <a:latin typeface="Arial"/>
                <a:cs typeface="Arial"/>
              </a:rPr>
              <a:t>General</a:t>
            </a:r>
            <a:endParaRPr sz="1800">
              <a:latin typeface="Arial"/>
              <a:cs typeface="Arial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3659337" y="5084158"/>
            <a:ext cx="848994" cy="390525"/>
          </a:xfrm>
          <a:custGeom>
            <a:avLst/>
            <a:gdLst/>
            <a:ahLst/>
            <a:cxnLst/>
            <a:rect l="l" t="t" r="r" b="b"/>
            <a:pathLst>
              <a:path w="848995" h="390525">
                <a:moveTo>
                  <a:pt x="848807" y="0"/>
                </a:moveTo>
                <a:lnTo>
                  <a:pt x="0" y="0"/>
                </a:lnTo>
                <a:lnTo>
                  <a:pt x="0" y="390110"/>
                </a:lnTo>
                <a:lnTo>
                  <a:pt x="848807" y="390110"/>
                </a:lnTo>
                <a:lnTo>
                  <a:pt x="848807" y="385538"/>
                </a:lnTo>
                <a:lnTo>
                  <a:pt x="10668" y="385538"/>
                </a:lnTo>
                <a:lnTo>
                  <a:pt x="4572" y="380966"/>
                </a:lnTo>
                <a:lnTo>
                  <a:pt x="10668" y="380966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848807" y="4572"/>
                </a:lnTo>
                <a:lnTo>
                  <a:pt x="848807" y="0"/>
                </a:lnTo>
                <a:close/>
              </a:path>
              <a:path w="848995" h="390525">
                <a:moveTo>
                  <a:pt x="10668" y="380966"/>
                </a:moveTo>
                <a:lnTo>
                  <a:pt x="4572" y="380966"/>
                </a:lnTo>
                <a:lnTo>
                  <a:pt x="10668" y="385538"/>
                </a:lnTo>
                <a:lnTo>
                  <a:pt x="10668" y="380966"/>
                </a:lnTo>
                <a:close/>
              </a:path>
              <a:path w="848995" h="390525">
                <a:moveTo>
                  <a:pt x="838139" y="380966"/>
                </a:moveTo>
                <a:lnTo>
                  <a:pt x="10668" y="380966"/>
                </a:lnTo>
                <a:lnTo>
                  <a:pt x="10668" y="385538"/>
                </a:lnTo>
                <a:lnTo>
                  <a:pt x="838139" y="385538"/>
                </a:lnTo>
                <a:lnTo>
                  <a:pt x="838139" y="380966"/>
                </a:lnTo>
                <a:close/>
              </a:path>
              <a:path w="848995" h="390525">
                <a:moveTo>
                  <a:pt x="838139" y="4572"/>
                </a:moveTo>
                <a:lnTo>
                  <a:pt x="838139" y="385538"/>
                </a:lnTo>
                <a:lnTo>
                  <a:pt x="842711" y="380966"/>
                </a:lnTo>
                <a:lnTo>
                  <a:pt x="848807" y="380966"/>
                </a:lnTo>
                <a:lnTo>
                  <a:pt x="848807" y="9144"/>
                </a:lnTo>
                <a:lnTo>
                  <a:pt x="842711" y="9144"/>
                </a:lnTo>
                <a:lnTo>
                  <a:pt x="838139" y="4572"/>
                </a:lnTo>
                <a:close/>
              </a:path>
              <a:path w="848995" h="390525">
                <a:moveTo>
                  <a:pt x="848807" y="380966"/>
                </a:moveTo>
                <a:lnTo>
                  <a:pt x="842711" y="380966"/>
                </a:lnTo>
                <a:lnTo>
                  <a:pt x="838139" y="385538"/>
                </a:lnTo>
                <a:lnTo>
                  <a:pt x="848807" y="385538"/>
                </a:lnTo>
                <a:lnTo>
                  <a:pt x="848807" y="380966"/>
                </a:lnTo>
                <a:close/>
              </a:path>
              <a:path w="8489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848995" h="390525">
                <a:moveTo>
                  <a:pt x="83813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838139" y="9144"/>
                </a:lnTo>
                <a:lnTo>
                  <a:pt x="838139" y="4572"/>
                </a:lnTo>
                <a:close/>
              </a:path>
              <a:path w="848995" h="390525">
                <a:moveTo>
                  <a:pt x="848807" y="4572"/>
                </a:moveTo>
                <a:lnTo>
                  <a:pt x="838139" y="4572"/>
                </a:lnTo>
                <a:lnTo>
                  <a:pt x="842711" y="9144"/>
                </a:lnTo>
                <a:lnTo>
                  <a:pt x="848807" y="9144"/>
                </a:lnTo>
                <a:lnTo>
                  <a:pt x="8488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3659337" y="5541324"/>
            <a:ext cx="848994" cy="390525"/>
          </a:xfrm>
          <a:custGeom>
            <a:avLst/>
            <a:gdLst/>
            <a:ahLst/>
            <a:cxnLst/>
            <a:rect l="l" t="t" r="r" b="b"/>
            <a:pathLst>
              <a:path w="848995" h="390525">
                <a:moveTo>
                  <a:pt x="848807" y="0"/>
                </a:moveTo>
                <a:lnTo>
                  <a:pt x="0" y="0"/>
                </a:lnTo>
                <a:lnTo>
                  <a:pt x="0" y="390107"/>
                </a:lnTo>
                <a:lnTo>
                  <a:pt x="848807" y="390107"/>
                </a:lnTo>
                <a:lnTo>
                  <a:pt x="848807" y="385535"/>
                </a:lnTo>
                <a:lnTo>
                  <a:pt x="10668" y="385535"/>
                </a:lnTo>
                <a:lnTo>
                  <a:pt x="4572" y="380963"/>
                </a:lnTo>
                <a:lnTo>
                  <a:pt x="10668" y="380963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848807" y="4572"/>
                </a:lnTo>
                <a:lnTo>
                  <a:pt x="848807" y="0"/>
                </a:lnTo>
                <a:close/>
              </a:path>
              <a:path w="848995" h="390525">
                <a:moveTo>
                  <a:pt x="10668" y="380963"/>
                </a:moveTo>
                <a:lnTo>
                  <a:pt x="4572" y="380963"/>
                </a:lnTo>
                <a:lnTo>
                  <a:pt x="10668" y="385535"/>
                </a:lnTo>
                <a:lnTo>
                  <a:pt x="10668" y="380963"/>
                </a:lnTo>
                <a:close/>
              </a:path>
              <a:path w="848995" h="390525">
                <a:moveTo>
                  <a:pt x="838139" y="380963"/>
                </a:moveTo>
                <a:lnTo>
                  <a:pt x="10668" y="380963"/>
                </a:lnTo>
                <a:lnTo>
                  <a:pt x="10668" y="385535"/>
                </a:lnTo>
                <a:lnTo>
                  <a:pt x="838139" y="385535"/>
                </a:lnTo>
                <a:lnTo>
                  <a:pt x="838139" y="380963"/>
                </a:lnTo>
                <a:close/>
              </a:path>
              <a:path w="848995" h="390525">
                <a:moveTo>
                  <a:pt x="838139" y="4572"/>
                </a:moveTo>
                <a:lnTo>
                  <a:pt x="838139" y="385535"/>
                </a:lnTo>
                <a:lnTo>
                  <a:pt x="842711" y="380963"/>
                </a:lnTo>
                <a:lnTo>
                  <a:pt x="848807" y="380963"/>
                </a:lnTo>
                <a:lnTo>
                  <a:pt x="848807" y="9144"/>
                </a:lnTo>
                <a:lnTo>
                  <a:pt x="842711" y="9144"/>
                </a:lnTo>
                <a:lnTo>
                  <a:pt x="838139" y="4572"/>
                </a:lnTo>
                <a:close/>
              </a:path>
              <a:path w="848995" h="390525">
                <a:moveTo>
                  <a:pt x="848807" y="380963"/>
                </a:moveTo>
                <a:lnTo>
                  <a:pt x="842711" y="380963"/>
                </a:lnTo>
                <a:lnTo>
                  <a:pt x="838139" y="385535"/>
                </a:lnTo>
                <a:lnTo>
                  <a:pt x="848807" y="385535"/>
                </a:lnTo>
                <a:lnTo>
                  <a:pt x="848807" y="380963"/>
                </a:lnTo>
                <a:close/>
              </a:path>
              <a:path w="848995" h="3905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848995" h="390525">
                <a:moveTo>
                  <a:pt x="838139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838139" y="9144"/>
                </a:lnTo>
                <a:lnTo>
                  <a:pt x="838139" y="4572"/>
                </a:lnTo>
                <a:close/>
              </a:path>
              <a:path w="848995" h="390525">
                <a:moveTo>
                  <a:pt x="848807" y="4572"/>
                </a:moveTo>
                <a:lnTo>
                  <a:pt x="838139" y="4572"/>
                </a:lnTo>
                <a:lnTo>
                  <a:pt x="842711" y="9144"/>
                </a:lnTo>
                <a:lnTo>
                  <a:pt x="848807" y="9144"/>
                </a:lnTo>
                <a:lnTo>
                  <a:pt x="84880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3742642" y="5123273"/>
            <a:ext cx="699770" cy="7569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12/200</a:t>
            </a:r>
            <a:r>
              <a:rPr sz="1800" dirty="0">
                <a:latin typeface="Liberation Sans Narrow"/>
                <a:cs typeface="Liberation Sans Narrow"/>
              </a:rPr>
              <a:t>6</a:t>
            </a:r>
            <a:endParaRPr sz="1800">
              <a:latin typeface="Liberation Sans Narrow"/>
              <a:cs typeface="Liberation Sans Narrow"/>
            </a:endParaRPr>
          </a:p>
          <a:p>
            <a:pPr marL="12700">
              <a:lnSpc>
                <a:spcPct val="100000"/>
              </a:lnSpc>
              <a:spcBef>
                <a:spcPts val="144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01/200</a:t>
            </a:r>
            <a:r>
              <a:rPr sz="1800" dirty="0">
                <a:latin typeface="Liberation Sans Narrow"/>
                <a:cs typeface="Liberation Sans Narrow"/>
              </a:rPr>
              <a:t>8</a:t>
            </a:r>
            <a:endParaRPr sz="1800">
              <a:latin typeface="Liberation Sans Narrow"/>
              <a:cs typeface="Liberation Sans Narrow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64188"/>
            <a:ext cx="7458488" cy="50526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(</a:t>
            </a:r>
            <a:r>
              <a:rPr lang="en-US" spc="-5" dirty="0" err="1">
                <a:solidFill>
                  <a:schemeClr val="accent1"/>
                </a:solidFill>
              </a:rPr>
              <a:t>Infotype</a:t>
            </a:r>
            <a:r>
              <a:rPr lang="en-US" spc="-5" dirty="0">
                <a:solidFill>
                  <a:schemeClr val="accent1"/>
                </a:solidFill>
              </a:rPr>
              <a:t> Maintenance-Transaction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999664" y="1937439"/>
            <a:ext cx="2048510" cy="2311400"/>
          </a:xfrm>
          <a:prstGeom prst="rect">
            <a:avLst/>
          </a:prstGeom>
        </p:spPr>
        <p:txBody>
          <a:bodyPr vert="horz" wrap="square" lIns="0" tIns="165100" rIns="0" bIns="0" rtlCol="0">
            <a:spAutoFit/>
          </a:bodyPr>
          <a:lstStyle/>
          <a:p>
            <a:pPr marL="354965" indent="-342900">
              <a:lnSpc>
                <a:spcPct val="100000"/>
              </a:lnSpc>
              <a:spcBef>
                <a:spcPts val="13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PA30</a:t>
            </a:r>
            <a:endParaRPr sz="20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195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PA20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-</a:t>
            </a:r>
            <a:r>
              <a:rPr sz="2000" spc="-9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Dispaly</a:t>
            </a:r>
            <a:endParaRPr sz="20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2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PA61</a:t>
            </a:r>
            <a:endParaRPr sz="20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2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PA51</a:t>
            </a:r>
            <a:endParaRPr sz="20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2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PA71</a:t>
            </a:r>
            <a:endParaRPr sz="20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4333885" cy="515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Batch</a:t>
            </a:r>
            <a:r>
              <a:rPr spc="-9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Method</a:t>
            </a:r>
          </a:p>
        </p:txBody>
      </p:sp>
      <p:sp>
        <p:nvSpPr>
          <p:cNvPr id="4" name="object 4"/>
          <p:cNvSpPr/>
          <p:nvPr/>
        </p:nvSpPr>
        <p:spPr>
          <a:xfrm>
            <a:off x="931602" y="2164409"/>
            <a:ext cx="8064337" cy="460819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77757" y="1057653"/>
            <a:ext cx="3998640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200" spc="-5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Infotype</a:t>
            </a:r>
            <a:r>
              <a:rPr sz="2200" spc="-95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 </a:t>
            </a:r>
            <a:r>
              <a:rPr sz="2200" spc="-10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0007</a:t>
            </a:r>
            <a:endParaRPr sz="2200" dirty="0">
              <a:solidFill>
                <a:schemeClr val="accent1"/>
              </a:solidFill>
              <a:latin typeface="Liberation Sans Narrow"/>
              <a:cs typeface="Liberation Sans Narrow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992044" y="1913980"/>
            <a:ext cx="625729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The </a:t>
            </a:r>
            <a:r>
              <a:rPr sz="1800" spc="-10" dirty="0">
                <a:latin typeface="Liberation Sans Narrow"/>
                <a:cs typeface="Liberation Sans Narrow"/>
              </a:rPr>
              <a:t>Work </a:t>
            </a:r>
            <a:r>
              <a:rPr sz="1800" spc="-5" dirty="0">
                <a:latin typeface="Liberation Sans Narrow"/>
                <a:cs typeface="Liberation Sans Narrow"/>
              </a:rPr>
              <a:t>Schedule generated is to be attached to an employee in Infotype  0007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643591" y="2557330"/>
            <a:ext cx="8497122" cy="133514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643591" y="3892479"/>
            <a:ext cx="8497122" cy="288932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46337" y="1758547"/>
            <a:ext cx="7654290" cy="6356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4965" marR="5080" indent="-342900">
              <a:lnSpc>
                <a:spcPct val="100000"/>
              </a:lnSpc>
              <a:spcBef>
                <a:spcPts val="100"/>
              </a:spcBef>
            </a:pPr>
            <a:r>
              <a:rPr sz="2000" dirty="0">
                <a:solidFill>
                  <a:srgbClr val="5E5E5E"/>
                </a:solidFill>
              </a:rPr>
              <a:t>What does </a:t>
            </a:r>
            <a:r>
              <a:rPr sz="2000" spc="-5" dirty="0">
                <a:solidFill>
                  <a:srgbClr val="5E5E5E"/>
                </a:solidFill>
              </a:rPr>
              <a:t>Time </a:t>
            </a:r>
            <a:r>
              <a:rPr sz="2000" dirty="0">
                <a:solidFill>
                  <a:srgbClr val="5E5E5E"/>
                </a:solidFill>
              </a:rPr>
              <a:t>Management Status </a:t>
            </a:r>
            <a:r>
              <a:rPr sz="2000" spc="-5" dirty="0">
                <a:solidFill>
                  <a:srgbClr val="5E5E5E"/>
                </a:solidFill>
              </a:rPr>
              <a:t>specify? </a:t>
            </a:r>
            <a:r>
              <a:rPr sz="2000" dirty="0">
                <a:solidFill>
                  <a:srgbClr val="5E5E5E"/>
                </a:solidFill>
              </a:rPr>
              <a:t>And </a:t>
            </a:r>
            <a:r>
              <a:rPr sz="2000" spc="5" dirty="0">
                <a:solidFill>
                  <a:srgbClr val="5E5E5E"/>
                </a:solidFill>
              </a:rPr>
              <a:t>what </a:t>
            </a:r>
            <a:r>
              <a:rPr sz="2000" dirty="0">
                <a:solidFill>
                  <a:srgbClr val="5E5E5E"/>
                </a:solidFill>
              </a:rPr>
              <a:t>are</a:t>
            </a:r>
            <a:r>
              <a:rPr sz="2000" spc="-204" dirty="0">
                <a:solidFill>
                  <a:srgbClr val="5E5E5E"/>
                </a:solidFill>
              </a:rPr>
              <a:t> </a:t>
            </a:r>
            <a:r>
              <a:rPr sz="2000" dirty="0">
                <a:solidFill>
                  <a:srgbClr val="5E5E5E"/>
                </a:solidFill>
              </a:rPr>
              <a:t>the  possible</a:t>
            </a:r>
            <a:r>
              <a:rPr sz="2000" spc="-35" dirty="0">
                <a:solidFill>
                  <a:srgbClr val="5E5E5E"/>
                </a:solidFill>
              </a:rPr>
              <a:t> </a:t>
            </a:r>
            <a:r>
              <a:rPr sz="2000" spc="-5" dirty="0">
                <a:solidFill>
                  <a:srgbClr val="5E5E5E"/>
                </a:solidFill>
              </a:rPr>
              <a:t>values?</a:t>
            </a:r>
            <a:endParaRPr sz="2000" dirty="0"/>
          </a:p>
        </p:txBody>
      </p:sp>
      <p:sp>
        <p:nvSpPr>
          <p:cNvPr id="3" name="object 3"/>
          <p:cNvSpPr txBox="1"/>
          <p:nvPr/>
        </p:nvSpPr>
        <p:spPr>
          <a:xfrm>
            <a:off x="946337" y="2520484"/>
            <a:ext cx="8199120" cy="38360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4965" marR="5080" indent="-342900">
              <a:lnSpc>
                <a:spcPct val="100000"/>
              </a:lnSpc>
              <a:spcBef>
                <a:spcPts val="1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Time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Management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Status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specifies whether an employee</a:t>
            </a:r>
            <a:r>
              <a:rPr sz="2000" spc="-18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participates 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in Time</a:t>
            </a:r>
            <a:r>
              <a:rPr sz="2000" spc="-2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Evaluation</a:t>
            </a:r>
            <a:endParaRPr sz="20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2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Possible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values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of TMS</a:t>
            </a:r>
            <a:r>
              <a:rPr sz="2000" spc="-6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are:</a:t>
            </a:r>
            <a:endParaRPr sz="20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2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0 -- No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Time</a:t>
            </a:r>
            <a:r>
              <a:rPr sz="2000" spc="-6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Evaluation</a:t>
            </a:r>
            <a:endParaRPr sz="20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2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1 --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Time Evaluation,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Actual</a:t>
            </a:r>
            <a:r>
              <a:rPr sz="2000" spc="-6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Times</a:t>
            </a:r>
            <a:endParaRPr sz="20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2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2 --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Time Evaluation,</a:t>
            </a:r>
            <a:r>
              <a:rPr sz="2000" spc="-6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PDC</a:t>
            </a:r>
            <a:endParaRPr sz="20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2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7 --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Time Evaluation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without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Payroll</a:t>
            </a:r>
            <a:r>
              <a:rPr sz="2000" spc="-6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Integration</a:t>
            </a:r>
            <a:endParaRPr sz="20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2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8 --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External</a:t>
            </a:r>
            <a:r>
              <a:rPr sz="2000" spc="-6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Services</a:t>
            </a:r>
            <a:endParaRPr sz="20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2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9 --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Time Evaluation,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Planned</a:t>
            </a:r>
            <a:r>
              <a:rPr sz="2000" spc="-6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Times</a:t>
            </a:r>
            <a:endParaRPr sz="20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597598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Link between IT </a:t>
            </a:r>
            <a:r>
              <a:rPr spc="-10" dirty="0">
                <a:solidFill>
                  <a:schemeClr val="accent1"/>
                </a:solidFill>
              </a:rPr>
              <a:t>0007 </a:t>
            </a:r>
            <a:r>
              <a:rPr dirty="0">
                <a:solidFill>
                  <a:schemeClr val="accent1"/>
                </a:solidFill>
              </a:rPr>
              <a:t>&amp; </a:t>
            </a:r>
            <a:r>
              <a:rPr spc="-5" dirty="0">
                <a:solidFill>
                  <a:schemeClr val="accent1"/>
                </a:solidFill>
              </a:rPr>
              <a:t>IT</a:t>
            </a:r>
            <a:r>
              <a:rPr spc="-100" dirty="0">
                <a:solidFill>
                  <a:schemeClr val="accent1"/>
                </a:solidFill>
              </a:rPr>
              <a:t> </a:t>
            </a:r>
            <a:r>
              <a:rPr spc="-10" dirty="0">
                <a:solidFill>
                  <a:schemeClr val="accent1"/>
                </a:solidFill>
              </a:rPr>
              <a:t>0008</a:t>
            </a:r>
          </a:p>
        </p:txBody>
      </p:sp>
      <p:sp>
        <p:nvSpPr>
          <p:cNvPr id="5" name="object 5"/>
          <p:cNvSpPr/>
          <p:nvPr/>
        </p:nvSpPr>
        <p:spPr>
          <a:xfrm>
            <a:off x="1076370" y="1228749"/>
            <a:ext cx="6912284" cy="460667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595329" y="5189302"/>
            <a:ext cx="5386701" cy="165248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722320" y="5719106"/>
            <a:ext cx="2524760" cy="11226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Arial"/>
                <a:cs typeface="Arial"/>
              </a:rPr>
              <a:t>it </a:t>
            </a:r>
            <a:r>
              <a:rPr sz="1800" spc="-15" dirty="0">
                <a:latin typeface="Arial"/>
                <a:cs typeface="Arial"/>
              </a:rPr>
              <a:t>will </a:t>
            </a:r>
            <a:r>
              <a:rPr sz="1800" spc="-5" dirty="0">
                <a:latin typeface="Arial"/>
                <a:cs typeface="Arial"/>
              </a:rPr>
              <a:t>copy entries from  </a:t>
            </a:r>
            <a:r>
              <a:rPr sz="1800" spc="-10" dirty="0">
                <a:latin typeface="Arial"/>
                <a:cs typeface="Arial"/>
              </a:rPr>
              <a:t>0007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10" dirty="0">
                <a:latin typeface="Arial"/>
                <a:cs typeface="Arial"/>
              </a:rPr>
              <a:t>0008 </a:t>
            </a:r>
            <a:r>
              <a:rPr sz="1800" spc="-5" dirty="0">
                <a:latin typeface="Arial"/>
                <a:cs typeface="Arial"/>
              </a:rPr>
              <a:t>if this entry  is made in T77S0 </a:t>
            </a:r>
            <a:r>
              <a:rPr sz="1800" spc="-10" dirty="0">
                <a:latin typeface="Arial"/>
                <a:cs typeface="Arial"/>
              </a:rPr>
              <a:t>and </a:t>
            </a:r>
            <a:r>
              <a:rPr sz="1800" spc="-5" dirty="0">
                <a:latin typeface="Arial"/>
                <a:cs typeface="Arial"/>
              </a:rPr>
              <a:t>if  feature </a:t>
            </a:r>
            <a:r>
              <a:rPr sz="1800" b="1" spc="-5" dirty="0">
                <a:solidFill>
                  <a:srgbClr val="FF0000"/>
                </a:solidFill>
                <a:latin typeface="Arial"/>
                <a:cs typeface="Arial"/>
              </a:rPr>
              <a:t>DFINF </a:t>
            </a:r>
            <a:r>
              <a:rPr sz="1800" spc="-5" dirty="0">
                <a:latin typeface="Arial"/>
                <a:cs typeface="Arial"/>
              </a:rPr>
              <a:t>is</a:t>
            </a:r>
            <a:r>
              <a:rPr sz="1800" spc="-2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set.</a:t>
            </a:r>
            <a:endParaRPr sz="18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object 3"/>
          <p:cNvGrpSpPr/>
          <p:nvPr/>
        </p:nvGrpSpPr>
        <p:grpSpPr>
          <a:xfrm>
            <a:off x="969208" y="2971800"/>
            <a:ext cx="3473450" cy="692452"/>
            <a:chOff x="1652397" y="5670550"/>
            <a:chExt cx="3473450" cy="692452"/>
          </a:xfrm>
        </p:grpSpPr>
        <p:sp>
          <p:nvSpPr>
            <p:cNvPr id="6" name="object 6"/>
            <p:cNvSpPr/>
            <p:nvPr/>
          </p:nvSpPr>
          <p:spPr>
            <a:xfrm>
              <a:off x="1664589" y="5683044"/>
              <a:ext cx="3447415" cy="668020"/>
            </a:xfrm>
            <a:custGeom>
              <a:avLst/>
              <a:gdLst/>
              <a:ahLst/>
              <a:cxnLst/>
              <a:rect l="l" t="t" r="r" b="b"/>
              <a:pathLst>
                <a:path w="3447415" h="668020">
                  <a:moveTo>
                    <a:pt x="3447013" y="0"/>
                  </a:moveTo>
                  <a:lnTo>
                    <a:pt x="0" y="0"/>
                  </a:lnTo>
                  <a:lnTo>
                    <a:pt x="3446998" y="0"/>
                  </a:lnTo>
                  <a:lnTo>
                    <a:pt x="3446998" y="667451"/>
                  </a:lnTo>
                  <a:lnTo>
                    <a:pt x="3447013" y="0"/>
                  </a:lnTo>
                  <a:close/>
                </a:path>
              </a:pathLst>
            </a:custGeom>
            <a:solidFill>
              <a:srgbClr val="FCDA8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652397" y="5670550"/>
              <a:ext cx="3473450" cy="692150"/>
            </a:xfrm>
            <a:custGeom>
              <a:avLst/>
              <a:gdLst/>
              <a:ahLst/>
              <a:cxnLst/>
              <a:rect l="l" t="t" r="r" b="b"/>
              <a:pathLst>
                <a:path w="3473450" h="692150">
                  <a:moveTo>
                    <a:pt x="12179" y="12700"/>
                  </a:moveTo>
                  <a:lnTo>
                    <a:pt x="0" y="12700"/>
                  </a:lnTo>
                  <a:lnTo>
                    <a:pt x="0" y="679450"/>
                  </a:lnTo>
                  <a:lnTo>
                    <a:pt x="12179" y="679450"/>
                  </a:lnTo>
                  <a:lnTo>
                    <a:pt x="12179" y="12700"/>
                  </a:lnTo>
                  <a:close/>
                </a:path>
                <a:path w="3473450" h="692150">
                  <a:moveTo>
                    <a:pt x="3472904" y="679958"/>
                  </a:moveTo>
                  <a:lnTo>
                    <a:pt x="0" y="679958"/>
                  </a:lnTo>
                  <a:lnTo>
                    <a:pt x="0" y="692150"/>
                  </a:lnTo>
                  <a:lnTo>
                    <a:pt x="3472904" y="692150"/>
                  </a:lnTo>
                  <a:lnTo>
                    <a:pt x="3472904" y="679958"/>
                  </a:lnTo>
                  <a:close/>
                </a:path>
                <a:path w="3473450" h="692150">
                  <a:moveTo>
                    <a:pt x="3472904" y="12700"/>
                  </a:moveTo>
                  <a:lnTo>
                    <a:pt x="3459188" y="12700"/>
                  </a:lnTo>
                  <a:lnTo>
                    <a:pt x="3459188" y="679450"/>
                  </a:lnTo>
                  <a:lnTo>
                    <a:pt x="3472904" y="679450"/>
                  </a:lnTo>
                  <a:lnTo>
                    <a:pt x="3472904" y="12700"/>
                  </a:lnTo>
                  <a:close/>
                </a:path>
                <a:path w="3473450" h="692150">
                  <a:moveTo>
                    <a:pt x="3472904" y="0"/>
                  </a:moveTo>
                  <a:lnTo>
                    <a:pt x="0" y="0"/>
                  </a:lnTo>
                  <a:lnTo>
                    <a:pt x="0" y="12496"/>
                  </a:lnTo>
                  <a:lnTo>
                    <a:pt x="3472904" y="12496"/>
                  </a:lnTo>
                  <a:lnTo>
                    <a:pt x="3472904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664588" y="5683044"/>
              <a:ext cx="3447415" cy="668020"/>
            </a:xfrm>
            <a:custGeom>
              <a:avLst/>
              <a:gdLst/>
              <a:ahLst/>
              <a:cxnLst/>
              <a:rect l="l" t="t" r="r" b="b"/>
              <a:pathLst>
                <a:path w="3447415" h="668020">
                  <a:moveTo>
                    <a:pt x="3447013" y="0"/>
                  </a:moveTo>
                  <a:lnTo>
                    <a:pt x="0" y="0"/>
                  </a:lnTo>
                  <a:lnTo>
                    <a:pt x="0" y="667451"/>
                  </a:lnTo>
                  <a:lnTo>
                    <a:pt x="3447013" y="667451"/>
                  </a:lnTo>
                  <a:lnTo>
                    <a:pt x="3447013" y="0"/>
                  </a:lnTo>
                  <a:close/>
                </a:path>
              </a:pathLst>
            </a:custGeom>
            <a:solidFill>
              <a:srgbClr val="FCDA8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652397" y="5670852"/>
              <a:ext cx="3473450" cy="692150"/>
            </a:xfrm>
            <a:custGeom>
              <a:avLst/>
              <a:gdLst/>
              <a:ahLst/>
              <a:cxnLst/>
              <a:rect l="l" t="t" r="r" b="b"/>
              <a:pathLst>
                <a:path w="3473450" h="692150">
                  <a:moveTo>
                    <a:pt x="3472906" y="0"/>
                  </a:moveTo>
                  <a:lnTo>
                    <a:pt x="0" y="0"/>
                  </a:lnTo>
                  <a:lnTo>
                    <a:pt x="0" y="691835"/>
                  </a:lnTo>
                  <a:lnTo>
                    <a:pt x="3472906" y="691835"/>
                  </a:lnTo>
                  <a:lnTo>
                    <a:pt x="3472906" y="679643"/>
                  </a:lnTo>
                  <a:lnTo>
                    <a:pt x="24384" y="679643"/>
                  </a:lnTo>
                  <a:lnTo>
                    <a:pt x="12192" y="667451"/>
                  </a:lnTo>
                  <a:lnTo>
                    <a:pt x="24384" y="667451"/>
                  </a:lnTo>
                  <a:lnTo>
                    <a:pt x="24384" y="25895"/>
                  </a:lnTo>
                  <a:lnTo>
                    <a:pt x="12192" y="25895"/>
                  </a:lnTo>
                  <a:lnTo>
                    <a:pt x="24384" y="12192"/>
                  </a:lnTo>
                  <a:lnTo>
                    <a:pt x="3472906" y="12192"/>
                  </a:lnTo>
                  <a:lnTo>
                    <a:pt x="3472906" y="0"/>
                  </a:lnTo>
                  <a:close/>
                </a:path>
                <a:path w="3473450" h="692150">
                  <a:moveTo>
                    <a:pt x="24384" y="667451"/>
                  </a:moveTo>
                  <a:lnTo>
                    <a:pt x="12192" y="667451"/>
                  </a:lnTo>
                  <a:lnTo>
                    <a:pt x="24384" y="679643"/>
                  </a:lnTo>
                  <a:lnTo>
                    <a:pt x="24384" y="667451"/>
                  </a:lnTo>
                  <a:close/>
                </a:path>
                <a:path w="3473450" h="692150">
                  <a:moveTo>
                    <a:pt x="3446998" y="667451"/>
                  </a:moveTo>
                  <a:lnTo>
                    <a:pt x="24384" y="667451"/>
                  </a:lnTo>
                  <a:lnTo>
                    <a:pt x="24384" y="679643"/>
                  </a:lnTo>
                  <a:lnTo>
                    <a:pt x="3446998" y="679643"/>
                  </a:lnTo>
                  <a:lnTo>
                    <a:pt x="3446998" y="667451"/>
                  </a:lnTo>
                  <a:close/>
                </a:path>
                <a:path w="3473450" h="692150">
                  <a:moveTo>
                    <a:pt x="3446998" y="12192"/>
                  </a:moveTo>
                  <a:lnTo>
                    <a:pt x="3446998" y="679643"/>
                  </a:lnTo>
                  <a:lnTo>
                    <a:pt x="3459190" y="667451"/>
                  </a:lnTo>
                  <a:lnTo>
                    <a:pt x="3472906" y="667451"/>
                  </a:lnTo>
                  <a:lnTo>
                    <a:pt x="3472906" y="25895"/>
                  </a:lnTo>
                  <a:lnTo>
                    <a:pt x="3459190" y="25895"/>
                  </a:lnTo>
                  <a:lnTo>
                    <a:pt x="3446998" y="12192"/>
                  </a:lnTo>
                  <a:close/>
                </a:path>
                <a:path w="3473450" h="692150">
                  <a:moveTo>
                    <a:pt x="3472906" y="667451"/>
                  </a:moveTo>
                  <a:lnTo>
                    <a:pt x="3459190" y="667451"/>
                  </a:lnTo>
                  <a:lnTo>
                    <a:pt x="3446998" y="679643"/>
                  </a:lnTo>
                  <a:lnTo>
                    <a:pt x="3472906" y="679643"/>
                  </a:lnTo>
                  <a:lnTo>
                    <a:pt x="3472906" y="667451"/>
                  </a:lnTo>
                  <a:close/>
                </a:path>
                <a:path w="3473450" h="692150">
                  <a:moveTo>
                    <a:pt x="24384" y="12192"/>
                  </a:moveTo>
                  <a:lnTo>
                    <a:pt x="12192" y="25895"/>
                  </a:lnTo>
                  <a:lnTo>
                    <a:pt x="24384" y="25895"/>
                  </a:lnTo>
                  <a:lnTo>
                    <a:pt x="24384" y="12192"/>
                  </a:lnTo>
                  <a:close/>
                </a:path>
                <a:path w="3473450" h="692150">
                  <a:moveTo>
                    <a:pt x="3446998" y="12192"/>
                  </a:moveTo>
                  <a:lnTo>
                    <a:pt x="24384" y="12192"/>
                  </a:lnTo>
                  <a:lnTo>
                    <a:pt x="24384" y="25895"/>
                  </a:lnTo>
                  <a:lnTo>
                    <a:pt x="3446998" y="25895"/>
                  </a:lnTo>
                  <a:lnTo>
                    <a:pt x="3446998" y="12192"/>
                  </a:lnTo>
                  <a:close/>
                </a:path>
                <a:path w="3473450" h="692150">
                  <a:moveTo>
                    <a:pt x="3472906" y="12192"/>
                  </a:moveTo>
                  <a:lnTo>
                    <a:pt x="3446998" y="12192"/>
                  </a:lnTo>
                  <a:lnTo>
                    <a:pt x="3459190" y="25895"/>
                  </a:lnTo>
                  <a:lnTo>
                    <a:pt x="3472906" y="25895"/>
                  </a:lnTo>
                  <a:lnTo>
                    <a:pt x="3472906" y="1219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>
            <a:spLocks noGrp="1"/>
          </p:cNvSpPr>
          <p:nvPr>
            <p:ph type="title"/>
          </p:nvPr>
        </p:nvSpPr>
        <p:spPr>
          <a:xfrm>
            <a:off x="778708" y="693363"/>
            <a:ext cx="366395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dirty="0">
                <a:solidFill>
                  <a:schemeClr val="accent1"/>
                </a:solidFill>
              </a:rPr>
              <a:t>Time </a:t>
            </a:r>
            <a:r>
              <a:rPr sz="2400" spc="-5" dirty="0">
                <a:solidFill>
                  <a:schemeClr val="accent1"/>
                </a:solidFill>
              </a:rPr>
              <a:t>Recording</a:t>
            </a:r>
            <a:r>
              <a:rPr sz="2400" spc="-90" dirty="0">
                <a:solidFill>
                  <a:schemeClr val="accent1"/>
                </a:solidFill>
              </a:rPr>
              <a:t> </a:t>
            </a:r>
            <a:r>
              <a:rPr sz="2400" spc="-5" dirty="0">
                <a:solidFill>
                  <a:schemeClr val="accent1"/>
                </a:solidFill>
              </a:rPr>
              <a:t>Methods</a:t>
            </a:r>
            <a:endParaRPr sz="2400" dirty="0">
              <a:solidFill>
                <a:schemeClr val="accent1"/>
              </a:solidFill>
            </a:endParaRPr>
          </a:p>
        </p:txBody>
      </p:sp>
      <p:grpSp>
        <p:nvGrpSpPr>
          <p:cNvPr id="12" name="object 12"/>
          <p:cNvGrpSpPr/>
          <p:nvPr/>
        </p:nvGrpSpPr>
        <p:grpSpPr>
          <a:xfrm>
            <a:off x="4650809" y="2971236"/>
            <a:ext cx="3473450" cy="692150"/>
            <a:chOff x="5213693" y="5670550"/>
            <a:chExt cx="3473450" cy="692150"/>
          </a:xfrm>
        </p:grpSpPr>
        <p:sp>
          <p:nvSpPr>
            <p:cNvPr id="13" name="object 13"/>
            <p:cNvSpPr/>
            <p:nvPr/>
          </p:nvSpPr>
          <p:spPr>
            <a:xfrm>
              <a:off x="5225887" y="5683044"/>
              <a:ext cx="3448685" cy="668020"/>
            </a:xfrm>
            <a:custGeom>
              <a:avLst/>
              <a:gdLst/>
              <a:ahLst/>
              <a:cxnLst/>
              <a:rect l="l" t="t" r="r" b="b"/>
              <a:pathLst>
                <a:path w="3448684" h="668020">
                  <a:moveTo>
                    <a:pt x="3448537" y="0"/>
                  </a:moveTo>
                  <a:lnTo>
                    <a:pt x="0" y="0"/>
                  </a:lnTo>
                  <a:lnTo>
                    <a:pt x="3448506" y="0"/>
                  </a:lnTo>
                  <a:lnTo>
                    <a:pt x="3448506" y="667451"/>
                  </a:lnTo>
                  <a:lnTo>
                    <a:pt x="3448537" y="0"/>
                  </a:lnTo>
                  <a:close/>
                </a:path>
              </a:pathLst>
            </a:custGeom>
            <a:solidFill>
              <a:srgbClr val="FCDA8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5213693" y="5670550"/>
              <a:ext cx="3473450" cy="692150"/>
            </a:xfrm>
            <a:custGeom>
              <a:avLst/>
              <a:gdLst/>
              <a:ahLst/>
              <a:cxnLst/>
              <a:rect l="l" t="t" r="r" b="b"/>
              <a:pathLst>
                <a:path w="3473450" h="692150">
                  <a:moveTo>
                    <a:pt x="12192" y="12700"/>
                  </a:moveTo>
                  <a:lnTo>
                    <a:pt x="0" y="12700"/>
                  </a:lnTo>
                  <a:lnTo>
                    <a:pt x="0" y="679450"/>
                  </a:lnTo>
                  <a:lnTo>
                    <a:pt x="12192" y="679450"/>
                  </a:lnTo>
                  <a:lnTo>
                    <a:pt x="12192" y="12700"/>
                  </a:lnTo>
                  <a:close/>
                </a:path>
                <a:path w="3473450" h="692150">
                  <a:moveTo>
                    <a:pt x="3472891" y="679958"/>
                  </a:moveTo>
                  <a:lnTo>
                    <a:pt x="0" y="679958"/>
                  </a:lnTo>
                  <a:lnTo>
                    <a:pt x="0" y="692150"/>
                  </a:lnTo>
                  <a:lnTo>
                    <a:pt x="3472891" y="692150"/>
                  </a:lnTo>
                  <a:lnTo>
                    <a:pt x="3472891" y="679958"/>
                  </a:lnTo>
                  <a:close/>
                </a:path>
                <a:path w="3473450" h="692150">
                  <a:moveTo>
                    <a:pt x="3472891" y="12700"/>
                  </a:moveTo>
                  <a:lnTo>
                    <a:pt x="3460699" y="12700"/>
                  </a:lnTo>
                  <a:lnTo>
                    <a:pt x="3460699" y="679450"/>
                  </a:lnTo>
                  <a:lnTo>
                    <a:pt x="3472891" y="679450"/>
                  </a:lnTo>
                  <a:lnTo>
                    <a:pt x="3472891" y="12700"/>
                  </a:lnTo>
                  <a:close/>
                </a:path>
                <a:path w="3473450" h="692150">
                  <a:moveTo>
                    <a:pt x="3472891" y="0"/>
                  </a:moveTo>
                  <a:lnTo>
                    <a:pt x="0" y="0"/>
                  </a:lnTo>
                  <a:lnTo>
                    <a:pt x="0" y="12496"/>
                  </a:lnTo>
                  <a:lnTo>
                    <a:pt x="3472891" y="12496"/>
                  </a:lnTo>
                  <a:lnTo>
                    <a:pt x="3472891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5225887" y="5683044"/>
              <a:ext cx="3448685" cy="668020"/>
            </a:xfrm>
            <a:custGeom>
              <a:avLst/>
              <a:gdLst/>
              <a:ahLst/>
              <a:cxnLst/>
              <a:rect l="l" t="t" r="r" b="b"/>
              <a:pathLst>
                <a:path w="3448684" h="668020">
                  <a:moveTo>
                    <a:pt x="3448537" y="0"/>
                  </a:moveTo>
                  <a:lnTo>
                    <a:pt x="0" y="0"/>
                  </a:lnTo>
                  <a:lnTo>
                    <a:pt x="0" y="667451"/>
                  </a:lnTo>
                  <a:lnTo>
                    <a:pt x="3448537" y="667451"/>
                  </a:lnTo>
                  <a:lnTo>
                    <a:pt x="3448537" y="0"/>
                  </a:lnTo>
                  <a:close/>
                </a:path>
              </a:pathLst>
            </a:custGeom>
            <a:solidFill>
              <a:srgbClr val="FCDA8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/>
          <p:nvPr/>
        </p:nvSpPr>
        <p:spPr>
          <a:xfrm>
            <a:off x="2062845" y="3002068"/>
            <a:ext cx="138430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72085" marR="5080" indent="-16002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Arial"/>
                <a:cs typeface="Arial"/>
              </a:rPr>
              <a:t>Positive</a:t>
            </a:r>
            <a:r>
              <a:rPr sz="1800" spc="-105" dirty="0">
                <a:latin typeface="Arial"/>
                <a:cs typeface="Arial"/>
              </a:rPr>
              <a:t> </a:t>
            </a:r>
            <a:r>
              <a:rPr sz="1800" spc="-20" dirty="0">
                <a:latin typeface="Arial"/>
                <a:cs typeface="Arial"/>
              </a:rPr>
              <a:t>Time  </a:t>
            </a:r>
            <a:r>
              <a:rPr sz="1800" spc="-10" dirty="0">
                <a:latin typeface="Arial"/>
                <a:cs typeface="Arial"/>
              </a:rPr>
              <a:t>Recording</a:t>
            </a:r>
            <a:endParaRPr sz="1800"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554041" y="3052348"/>
            <a:ext cx="148590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24154" marR="5080" indent="-21209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Arial"/>
                <a:cs typeface="Arial"/>
              </a:rPr>
              <a:t>Negative</a:t>
            </a:r>
            <a:r>
              <a:rPr sz="1800" spc="-105" dirty="0">
                <a:latin typeface="Arial"/>
                <a:cs typeface="Arial"/>
              </a:rPr>
              <a:t> </a:t>
            </a:r>
            <a:r>
              <a:rPr sz="1800" spc="-20" dirty="0">
                <a:latin typeface="Arial"/>
                <a:cs typeface="Arial"/>
              </a:rPr>
              <a:t>Time  </a:t>
            </a:r>
            <a:r>
              <a:rPr sz="1800" spc="-10" dirty="0">
                <a:latin typeface="Arial"/>
                <a:cs typeface="Arial"/>
              </a:rPr>
              <a:t>Recording</a:t>
            </a:r>
            <a:endParaRPr sz="18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931097" y="693363"/>
            <a:ext cx="298069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b="0" spc="-20" dirty="0">
                <a:solidFill>
                  <a:srgbClr val="4D84C4"/>
                </a:solidFill>
                <a:latin typeface="Liberation Sans Narrow"/>
                <a:cs typeface="Liberation Sans Narrow"/>
              </a:rPr>
              <a:t>Time </a:t>
            </a:r>
            <a:r>
              <a:rPr sz="2400" b="0" spc="-5" dirty="0">
                <a:solidFill>
                  <a:srgbClr val="4D84C4"/>
                </a:solidFill>
                <a:latin typeface="Liberation Sans Narrow"/>
                <a:cs typeface="Liberation Sans Narrow"/>
              </a:rPr>
              <a:t>Recording </a:t>
            </a:r>
            <a:r>
              <a:rPr sz="2400" b="0" dirty="0">
                <a:solidFill>
                  <a:srgbClr val="4D84C4"/>
                </a:solidFill>
                <a:latin typeface="Liberation Sans Narrow"/>
                <a:cs typeface="Liberation Sans Narrow"/>
              </a:rPr>
              <a:t>:</a:t>
            </a:r>
            <a:r>
              <a:rPr sz="2400" b="0" spc="5" dirty="0">
                <a:solidFill>
                  <a:srgbClr val="4D84C4"/>
                </a:solidFill>
                <a:latin typeface="Liberation Sans Narrow"/>
                <a:cs typeface="Liberation Sans Narrow"/>
              </a:rPr>
              <a:t> </a:t>
            </a:r>
            <a:r>
              <a:rPr sz="2400" b="0" spc="-5" dirty="0">
                <a:solidFill>
                  <a:srgbClr val="4D84C4"/>
                </a:solidFill>
                <a:latin typeface="Liberation Sans Narrow"/>
                <a:cs typeface="Liberation Sans Narrow"/>
              </a:rPr>
              <a:t>Negative</a:t>
            </a:r>
            <a:endParaRPr sz="2400" dirty="0">
              <a:latin typeface="Liberation Sans Narrow"/>
              <a:cs typeface="Liberation Sans Narrow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987472" y="1445237"/>
            <a:ext cx="7266940" cy="3865879"/>
          </a:xfrm>
          <a:prstGeom prst="rect">
            <a:avLst/>
          </a:prstGeom>
        </p:spPr>
        <p:txBody>
          <a:bodyPr vert="horz" wrap="square" lIns="0" tIns="164465" rIns="0" bIns="0" rtlCol="0">
            <a:spAutoFit/>
          </a:bodyPr>
          <a:lstStyle/>
          <a:p>
            <a:pPr marL="129539" indent="-117475">
              <a:lnSpc>
                <a:spcPct val="100000"/>
              </a:lnSpc>
              <a:spcBef>
                <a:spcPts val="1295"/>
              </a:spcBef>
              <a:buClr>
                <a:srgbClr val="323299"/>
              </a:buClr>
              <a:buSzPct val="95000"/>
              <a:buFont typeface="Wingdings"/>
              <a:buChar char=""/>
              <a:tabLst>
                <a:tab pos="130175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Records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time deviations to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planned working</a:t>
            </a:r>
            <a:r>
              <a:rPr sz="2000" spc="-12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time</a:t>
            </a:r>
            <a:endParaRPr sz="2000">
              <a:latin typeface="Arial"/>
              <a:cs typeface="Arial"/>
            </a:endParaRPr>
          </a:p>
          <a:p>
            <a:pPr marL="129539" indent="-117475">
              <a:lnSpc>
                <a:spcPct val="100000"/>
              </a:lnSpc>
              <a:spcBef>
                <a:spcPts val="1200"/>
              </a:spcBef>
              <a:buClr>
                <a:srgbClr val="323299"/>
              </a:buClr>
              <a:buSzPct val="95000"/>
              <a:buFont typeface="Wingdings"/>
              <a:buChar char=""/>
              <a:tabLst>
                <a:tab pos="130175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Valid deviations</a:t>
            </a:r>
            <a:r>
              <a:rPr sz="2000" spc="-1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include:</a:t>
            </a:r>
            <a:endParaRPr sz="2000">
              <a:latin typeface="Arial"/>
              <a:cs typeface="Arial"/>
            </a:endParaRPr>
          </a:p>
          <a:p>
            <a:pPr marL="570230" lvl="1" indent="-292100">
              <a:lnSpc>
                <a:spcPct val="100000"/>
              </a:lnSpc>
              <a:spcBef>
                <a:spcPts val="1150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Absences</a:t>
            </a:r>
            <a:endParaRPr sz="1800">
              <a:latin typeface="Arial"/>
              <a:cs typeface="Arial"/>
            </a:endParaRPr>
          </a:p>
          <a:p>
            <a:pPr marL="570230" lvl="1" indent="-292100">
              <a:lnSpc>
                <a:spcPct val="100000"/>
              </a:lnSpc>
              <a:spcBef>
                <a:spcPts val="1080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Special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absences</a:t>
            </a:r>
            <a:endParaRPr sz="1800">
              <a:latin typeface="Arial"/>
              <a:cs typeface="Arial"/>
            </a:endParaRPr>
          </a:p>
          <a:p>
            <a:pPr marL="570230" lvl="1" indent="-292100">
              <a:lnSpc>
                <a:spcPct val="100000"/>
              </a:lnSpc>
              <a:spcBef>
                <a:spcPts val="1080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dirty="0">
                <a:solidFill>
                  <a:srgbClr val="5E5E5E"/>
                </a:solidFill>
                <a:latin typeface="Arial"/>
                <a:cs typeface="Arial"/>
              </a:rPr>
              <a:t>On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call</a:t>
            </a:r>
            <a:r>
              <a:rPr sz="1800" spc="-2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duty</a:t>
            </a:r>
            <a:endParaRPr sz="1800">
              <a:latin typeface="Arial"/>
              <a:cs typeface="Arial"/>
            </a:endParaRPr>
          </a:p>
          <a:p>
            <a:pPr marL="570230" lvl="1" indent="-292100">
              <a:lnSpc>
                <a:spcPct val="100000"/>
              </a:lnSpc>
              <a:spcBef>
                <a:spcPts val="1080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Overtime</a:t>
            </a:r>
            <a:endParaRPr sz="1800">
              <a:latin typeface="Arial"/>
              <a:cs typeface="Arial"/>
            </a:endParaRPr>
          </a:p>
          <a:p>
            <a:pPr marL="570230" lvl="1" indent="-292100">
              <a:lnSpc>
                <a:spcPct val="100000"/>
              </a:lnSpc>
              <a:spcBef>
                <a:spcPts val="1080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Substitutions</a:t>
            </a:r>
            <a:endParaRPr sz="1800">
              <a:latin typeface="Arial"/>
              <a:cs typeface="Arial"/>
            </a:endParaRPr>
          </a:p>
          <a:p>
            <a:pPr marL="570230" lvl="1" indent="-292100">
              <a:lnSpc>
                <a:spcPct val="100000"/>
              </a:lnSpc>
              <a:spcBef>
                <a:spcPts val="1080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dirty="0">
                <a:solidFill>
                  <a:srgbClr val="5E5E5E"/>
                </a:solidFill>
                <a:latin typeface="Arial"/>
                <a:cs typeface="Arial"/>
              </a:rPr>
              <a:t>Time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off in</a:t>
            </a:r>
            <a:r>
              <a:rPr sz="1800" spc="-2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lieu</a:t>
            </a:r>
            <a:endParaRPr sz="1800">
              <a:latin typeface="Arial"/>
              <a:cs typeface="Arial"/>
            </a:endParaRPr>
          </a:p>
          <a:p>
            <a:pPr marL="129539" indent="-117475">
              <a:lnSpc>
                <a:spcPct val="100000"/>
              </a:lnSpc>
              <a:spcBef>
                <a:spcPts val="1130"/>
              </a:spcBef>
              <a:buClr>
                <a:srgbClr val="323299"/>
              </a:buClr>
              <a:buSzPct val="95000"/>
              <a:buFont typeface="Wingdings"/>
              <a:buChar char=""/>
              <a:tabLst>
                <a:tab pos="130175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Deviations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are manually entered according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to type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and</a:t>
            </a:r>
            <a:r>
              <a:rPr sz="2000" spc="-15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duration</a:t>
            </a:r>
            <a:endParaRPr sz="20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1113964" y="1937439"/>
            <a:ext cx="5847080" cy="4331335"/>
          </a:xfrm>
          <a:prstGeom prst="rect">
            <a:avLst/>
          </a:prstGeom>
        </p:spPr>
        <p:txBody>
          <a:bodyPr vert="horz" wrap="square" lIns="0" tIns="165100" rIns="0" bIns="0" rtlCol="0">
            <a:spAutoFit/>
          </a:bodyPr>
          <a:lstStyle/>
          <a:p>
            <a:pPr marL="129539" indent="-117475">
              <a:lnSpc>
                <a:spcPct val="100000"/>
              </a:lnSpc>
              <a:spcBef>
                <a:spcPts val="1300"/>
              </a:spcBef>
              <a:buClr>
                <a:srgbClr val="323299"/>
              </a:buClr>
              <a:buSzPct val="95000"/>
              <a:buFont typeface="Wingdings"/>
              <a:buChar char=""/>
              <a:tabLst>
                <a:tab pos="130175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Records the attendance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times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of an</a:t>
            </a:r>
            <a:r>
              <a:rPr sz="2000" spc="-15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employee</a:t>
            </a:r>
            <a:endParaRPr sz="2000">
              <a:latin typeface="Arial"/>
              <a:cs typeface="Arial"/>
            </a:endParaRPr>
          </a:p>
          <a:p>
            <a:pPr marL="129539" indent="-117475">
              <a:lnSpc>
                <a:spcPct val="100000"/>
              </a:lnSpc>
              <a:spcBef>
                <a:spcPts val="1195"/>
              </a:spcBef>
              <a:buClr>
                <a:srgbClr val="323299"/>
              </a:buClr>
              <a:buSzPct val="95000"/>
              <a:buFont typeface="Wingdings"/>
              <a:buChar char=""/>
              <a:tabLst>
                <a:tab pos="130175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Records the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deviation times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of an</a:t>
            </a:r>
            <a:r>
              <a:rPr sz="2000" spc="-10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employee</a:t>
            </a:r>
            <a:endParaRPr sz="2000">
              <a:latin typeface="Arial"/>
              <a:cs typeface="Arial"/>
            </a:endParaRPr>
          </a:p>
          <a:p>
            <a:pPr marL="129539" indent="-117475">
              <a:lnSpc>
                <a:spcPct val="100000"/>
              </a:lnSpc>
              <a:spcBef>
                <a:spcPts val="1200"/>
              </a:spcBef>
              <a:buClr>
                <a:srgbClr val="323299"/>
              </a:buClr>
              <a:buSzPct val="95000"/>
              <a:buFont typeface="Wingdings"/>
              <a:buChar char=""/>
              <a:tabLst>
                <a:tab pos="130175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Valid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attendance's</a:t>
            </a:r>
            <a:r>
              <a:rPr sz="2000" spc="-5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include:</a:t>
            </a:r>
            <a:endParaRPr sz="2000">
              <a:latin typeface="Arial"/>
              <a:cs typeface="Arial"/>
            </a:endParaRPr>
          </a:p>
          <a:p>
            <a:pPr marL="570230" lvl="1" indent="-292100">
              <a:lnSpc>
                <a:spcPct val="100000"/>
              </a:lnSpc>
              <a:spcBef>
                <a:spcPts val="1150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Training</a:t>
            </a:r>
            <a:endParaRPr sz="1800">
              <a:latin typeface="Arial"/>
              <a:cs typeface="Arial"/>
            </a:endParaRPr>
          </a:p>
          <a:p>
            <a:pPr marL="570230" lvl="1" indent="-292100">
              <a:lnSpc>
                <a:spcPct val="100000"/>
              </a:lnSpc>
              <a:spcBef>
                <a:spcPts val="1080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Business trip</a:t>
            </a:r>
            <a:endParaRPr sz="1800">
              <a:latin typeface="Arial"/>
              <a:cs typeface="Arial"/>
            </a:endParaRPr>
          </a:p>
          <a:p>
            <a:pPr marL="570230" lvl="1" indent="-292100">
              <a:lnSpc>
                <a:spcPct val="100000"/>
              </a:lnSpc>
              <a:spcBef>
                <a:spcPts val="1080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Seminar</a:t>
            </a:r>
            <a:endParaRPr sz="1800">
              <a:latin typeface="Arial"/>
              <a:cs typeface="Arial"/>
            </a:endParaRPr>
          </a:p>
          <a:p>
            <a:pPr marL="570230" lvl="1" indent="-292100">
              <a:lnSpc>
                <a:spcPct val="100000"/>
              </a:lnSpc>
              <a:spcBef>
                <a:spcPts val="1080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Overtime</a:t>
            </a:r>
            <a:endParaRPr sz="1800">
              <a:latin typeface="Arial"/>
              <a:cs typeface="Arial"/>
            </a:endParaRPr>
          </a:p>
          <a:p>
            <a:pPr marL="129539" indent="-117475">
              <a:lnSpc>
                <a:spcPct val="100000"/>
              </a:lnSpc>
              <a:spcBef>
                <a:spcPts val="1130"/>
              </a:spcBef>
              <a:buClr>
                <a:srgbClr val="323299"/>
              </a:buClr>
              <a:buSzPct val="95000"/>
              <a:buFont typeface="Wingdings"/>
              <a:buChar char=""/>
              <a:tabLst>
                <a:tab pos="130175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Attendance's and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deviations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can be entered</a:t>
            </a:r>
            <a:r>
              <a:rPr sz="2000" spc="-15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either:</a:t>
            </a:r>
            <a:endParaRPr sz="2000">
              <a:latin typeface="Arial"/>
              <a:cs typeface="Arial"/>
            </a:endParaRPr>
          </a:p>
          <a:p>
            <a:pPr marL="570230" lvl="1" indent="-292100">
              <a:lnSpc>
                <a:spcPct val="100000"/>
              </a:lnSpc>
              <a:spcBef>
                <a:spcPts val="1150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Front-end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 system</a:t>
            </a:r>
            <a:endParaRPr sz="1800">
              <a:latin typeface="Arial"/>
              <a:cs typeface="Arial"/>
            </a:endParaRPr>
          </a:p>
          <a:p>
            <a:pPr marL="570230" lvl="1" indent="-292100">
              <a:lnSpc>
                <a:spcPct val="100000"/>
              </a:lnSpc>
              <a:spcBef>
                <a:spcPts val="1080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Manually</a:t>
            </a:r>
            <a:endParaRPr sz="1800">
              <a:latin typeface="Arial"/>
              <a:cs typeface="Arial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714700" y="627840"/>
            <a:ext cx="501015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Time Recording </a:t>
            </a:r>
            <a:r>
              <a:rPr dirty="0">
                <a:solidFill>
                  <a:schemeClr val="accent1"/>
                </a:solidFill>
              </a:rPr>
              <a:t>:</a:t>
            </a:r>
            <a:r>
              <a:rPr spc="-10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Positive</a:t>
            </a: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1580769" y="1093896"/>
            <a:ext cx="7507071" cy="2798582"/>
            <a:chOff x="1580769" y="1093896"/>
            <a:chExt cx="7507071" cy="2798582"/>
          </a:xfrm>
        </p:grpSpPr>
        <p:sp>
          <p:nvSpPr>
            <p:cNvPr id="5" name="object 5"/>
            <p:cNvSpPr/>
            <p:nvPr/>
          </p:nvSpPr>
          <p:spPr>
            <a:xfrm>
              <a:off x="8072475" y="1093896"/>
              <a:ext cx="1015365" cy="36830"/>
            </a:xfrm>
            <a:custGeom>
              <a:avLst/>
              <a:gdLst/>
              <a:ahLst/>
              <a:cxnLst/>
              <a:rect l="l" t="t" r="r" b="b"/>
              <a:pathLst>
                <a:path w="1015365" h="36830">
                  <a:moveTo>
                    <a:pt x="0" y="0"/>
                  </a:moveTo>
                  <a:lnTo>
                    <a:pt x="1014898" y="0"/>
                  </a:lnTo>
                </a:path>
                <a:path w="1015365" h="36830">
                  <a:moveTo>
                    <a:pt x="4572" y="4571"/>
                  </a:moveTo>
                  <a:lnTo>
                    <a:pt x="1005757" y="4571"/>
                  </a:lnTo>
                </a:path>
                <a:path w="1015365" h="36830">
                  <a:moveTo>
                    <a:pt x="9144" y="9144"/>
                  </a:moveTo>
                  <a:lnTo>
                    <a:pt x="1001185" y="9144"/>
                  </a:lnTo>
                </a:path>
                <a:path w="1015365" h="36830">
                  <a:moveTo>
                    <a:pt x="18288" y="13715"/>
                  </a:moveTo>
                  <a:lnTo>
                    <a:pt x="996613" y="13715"/>
                  </a:lnTo>
                </a:path>
                <a:path w="1015365" h="36830">
                  <a:moveTo>
                    <a:pt x="27431" y="18288"/>
                  </a:moveTo>
                  <a:lnTo>
                    <a:pt x="987472" y="18288"/>
                  </a:lnTo>
                </a:path>
                <a:path w="1015365" h="36830">
                  <a:moveTo>
                    <a:pt x="36575" y="22859"/>
                  </a:moveTo>
                  <a:lnTo>
                    <a:pt x="973756" y="22859"/>
                  </a:lnTo>
                </a:path>
                <a:path w="1015365" h="36830">
                  <a:moveTo>
                    <a:pt x="36575" y="27432"/>
                  </a:moveTo>
                  <a:lnTo>
                    <a:pt x="973756" y="27432"/>
                  </a:lnTo>
                </a:path>
                <a:path w="1015365" h="36830">
                  <a:moveTo>
                    <a:pt x="45720" y="32003"/>
                  </a:moveTo>
                  <a:lnTo>
                    <a:pt x="964615" y="32003"/>
                  </a:lnTo>
                </a:path>
                <a:path w="1015365" h="36830">
                  <a:moveTo>
                    <a:pt x="59435" y="36575"/>
                  </a:moveTo>
                  <a:lnTo>
                    <a:pt x="950902" y="36575"/>
                  </a:lnTo>
                </a:path>
              </a:pathLst>
            </a:custGeom>
            <a:ln w="4571">
              <a:solidFill>
                <a:srgbClr val="FEFEF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580769" y="1644578"/>
              <a:ext cx="1964268" cy="2247900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812236" y="856415"/>
            <a:ext cx="156273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200" b="1" spc="-5" dirty="0">
                <a:solidFill>
                  <a:srgbClr val="FFFFFF"/>
                </a:solidFill>
                <a:latin typeface="Arial"/>
                <a:cs typeface="Arial"/>
              </a:rPr>
              <a:t>Capture</a:t>
            </a:r>
            <a:endParaRPr sz="3200">
              <a:latin typeface="Arial"/>
              <a:cs typeface="Arial"/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1784972" y="3892479"/>
            <a:ext cx="2303145" cy="2183765"/>
            <a:chOff x="1784972" y="3892479"/>
            <a:chExt cx="2303145" cy="2183765"/>
          </a:xfrm>
        </p:grpSpPr>
        <p:sp>
          <p:nvSpPr>
            <p:cNvPr id="11" name="object 11"/>
            <p:cNvSpPr/>
            <p:nvPr/>
          </p:nvSpPr>
          <p:spPr>
            <a:xfrm>
              <a:off x="1784972" y="3892479"/>
              <a:ext cx="2302578" cy="2163909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2562142" y="5510845"/>
              <a:ext cx="449543" cy="89903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2421940" y="5609894"/>
              <a:ext cx="751840" cy="466725"/>
            </a:xfrm>
            <a:custGeom>
              <a:avLst/>
              <a:gdLst/>
              <a:ahLst/>
              <a:cxnLst/>
              <a:rect l="l" t="t" r="r" b="b"/>
              <a:pathLst>
                <a:path w="751839" h="466725">
                  <a:moveTo>
                    <a:pt x="88392" y="170675"/>
                  </a:moveTo>
                  <a:lnTo>
                    <a:pt x="65532" y="15240"/>
                  </a:lnTo>
                  <a:lnTo>
                    <a:pt x="18288" y="18288"/>
                  </a:lnTo>
                  <a:lnTo>
                    <a:pt x="9144" y="170675"/>
                  </a:lnTo>
                  <a:lnTo>
                    <a:pt x="88392" y="170675"/>
                  </a:lnTo>
                  <a:close/>
                </a:path>
                <a:path w="751839" h="466725">
                  <a:moveTo>
                    <a:pt x="172199" y="175247"/>
                  </a:moveTo>
                  <a:lnTo>
                    <a:pt x="163055" y="10668"/>
                  </a:lnTo>
                  <a:lnTo>
                    <a:pt x="80772" y="10668"/>
                  </a:lnTo>
                  <a:lnTo>
                    <a:pt x="80772" y="30480"/>
                  </a:lnTo>
                  <a:lnTo>
                    <a:pt x="83820" y="51816"/>
                  </a:lnTo>
                  <a:lnTo>
                    <a:pt x="86868" y="71628"/>
                  </a:lnTo>
                  <a:lnTo>
                    <a:pt x="89916" y="92951"/>
                  </a:lnTo>
                  <a:lnTo>
                    <a:pt x="94488" y="111239"/>
                  </a:lnTo>
                  <a:lnTo>
                    <a:pt x="99060" y="131051"/>
                  </a:lnTo>
                  <a:lnTo>
                    <a:pt x="103632" y="152387"/>
                  </a:lnTo>
                  <a:lnTo>
                    <a:pt x="106680" y="170675"/>
                  </a:lnTo>
                  <a:lnTo>
                    <a:pt x="172199" y="175247"/>
                  </a:lnTo>
                  <a:close/>
                </a:path>
                <a:path w="751839" h="466725">
                  <a:moveTo>
                    <a:pt x="274307" y="178295"/>
                  </a:moveTo>
                  <a:lnTo>
                    <a:pt x="271259" y="10668"/>
                  </a:lnTo>
                  <a:lnTo>
                    <a:pt x="260591" y="12192"/>
                  </a:lnTo>
                  <a:lnTo>
                    <a:pt x="228587" y="7620"/>
                  </a:lnTo>
                  <a:lnTo>
                    <a:pt x="195059" y="7620"/>
                  </a:lnTo>
                  <a:lnTo>
                    <a:pt x="184391" y="10668"/>
                  </a:lnTo>
                  <a:lnTo>
                    <a:pt x="192011" y="173723"/>
                  </a:lnTo>
                  <a:lnTo>
                    <a:pt x="274307" y="178295"/>
                  </a:lnTo>
                  <a:close/>
                </a:path>
                <a:path w="751839" h="466725">
                  <a:moveTo>
                    <a:pt x="420585" y="440397"/>
                  </a:moveTo>
                  <a:lnTo>
                    <a:pt x="400786" y="440397"/>
                  </a:lnTo>
                  <a:lnTo>
                    <a:pt x="394690" y="466305"/>
                  </a:lnTo>
                  <a:lnTo>
                    <a:pt x="420585" y="440397"/>
                  </a:lnTo>
                  <a:close/>
                </a:path>
                <a:path w="751839" h="466725">
                  <a:moveTo>
                    <a:pt x="425157" y="182867"/>
                  </a:moveTo>
                  <a:lnTo>
                    <a:pt x="412978" y="10668"/>
                  </a:lnTo>
                  <a:lnTo>
                    <a:pt x="396214" y="13716"/>
                  </a:lnTo>
                  <a:lnTo>
                    <a:pt x="374878" y="12192"/>
                  </a:lnTo>
                  <a:lnTo>
                    <a:pt x="352018" y="9144"/>
                  </a:lnTo>
                  <a:lnTo>
                    <a:pt x="332206" y="7620"/>
                  </a:lnTo>
                  <a:lnTo>
                    <a:pt x="313918" y="7620"/>
                  </a:lnTo>
                  <a:lnTo>
                    <a:pt x="300202" y="15240"/>
                  </a:lnTo>
                  <a:lnTo>
                    <a:pt x="292582" y="30480"/>
                  </a:lnTo>
                  <a:lnTo>
                    <a:pt x="289534" y="54864"/>
                  </a:lnTo>
                  <a:lnTo>
                    <a:pt x="295630" y="68580"/>
                  </a:lnTo>
                  <a:lnTo>
                    <a:pt x="295630" y="85331"/>
                  </a:lnTo>
                  <a:lnTo>
                    <a:pt x="298678" y="99047"/>
                  </a:lnTo>
                  <a:lnTo>
                    <a:pt x="298678" y="117335"/>
                  </a:lnTo>
                  <a:lnTo>
                    <a:pt x="300202" y="134099"/>
                  </a:lnTo>
                  <a:lnTo>
                    <a:pt x="301726" y="152387"/>
                  </a:lnTo>
                  <a:lnTo>
                    <a:pt x="301726" y="182867"/>
                  </a:lnTo>
                  <a:lnTo>
                    <a:pt x="425157" y="182867"/>
                  </a:lnTo>
                  <a:close/>
                </a:path>
                <a:path w="751839" h="466725">
                  <a:moveTo>
                    <a:pt x="562317" y="167627"/>
                  </a:moveTo>
                  <a:lnTo>
                    <a:pt x="560793" y="143243"/>
                  </a:lnTo>
                  <a:lnTo>
                    <a:pt x="559269" y="121907"/>
                  </a:lnTo>
                  <a:lnTo>
                    <a:pt x="554697" y="97523"/>
                  </a:lnTo>
                  <a:lnTo>
                    <a:pt x="551649" y="71628"/>
                  </a:lnTo>
                  <a:lnTo>
                    <a:pt x="550125" y="48768"/>
                  </a:lnTo>
                  <a:lnTo>
                    <a:pt x="548601" y="24384"/>
                  </a:lnTo>
                  <a:lnTo>
                    <a:pt x="547077" y="3048"/>
                  </a:lnTo>
                  <a:lnTo>
                    <a:pt x="431253" y="13716"/>
                  </a:lnTo>
                  <a:lnTo>
                    <a:pt x="438873" y="158483"/>
                  </a:lnTo>
                  <a:lnTo>
                    <a:pt x="444969" y="167627"/>
                  </a:lnTo>
                  <a:lnTo>
                    <a:pt x="446493" y="172199"/>
                  </a:lnTo>
                  <a:lnTo>
                    <a:pt x="446493" y="176771"/>
                  </a:lnTo>
                  <a:lnTo>
                    <a:pt x="441921" y="181343"/>
                  </a:lnTo>
                  <a:lnTo>
                    <a:pt x="562317" y="192011"/>
                  </a:lnTo>
                  <a:lnTo>
                    <a:pt x="562317" y="167627"/>
                  </a:lnTo>
                  <a:close/>
                </a:path>
                <a:path w="751839" h="466725">
                  <a:moveTo>
                    <a:pt x="673569" y="138671"/>
                  </a:moveTo>
                  <a:lnTo>
                    <a:pt x="668997" y="115811"/>
                  </a:lnTo>
                  <a:lnTo>
                    <a:pt x="667473" y="92951"/>
                  </a:lnTo>
                  <a:lnTo>
                    <a:pt x="665949" y="68580"/>
                  </a:lnTo>
                  <a:lnTo>
                    <a:pt x="661377" y="45720"/>
                  </a:lnTo>
                  <a:lnTo>
                    <a:pt x="661377" y="21336"/>
                  </a:lnTo>
                  <a:lnTo>
                    <a:pt x="659853" y="0"/>
                  </a:lnTo>
                  <a:lnTo>
                    <a:pt x="569925" y="3048"/>
                  </a:lnTo>
                  <a:lnTo>
                    <a:pt x="568401" y="25908"/>
                  </a:lnTo>
                  <a:lnTo>
                    <a:pt x="568401" y="50292"/>
                  </a:lnTo>
                  <a:lnTo>
                    <a:pt x="569925" y="71628"/>
                  </a:lnTo>
                  <a:lnTo>
                    <a:pt x="572973" y="95999"/>
                  </a:lnTo>
                  <a:lnTo>
                    <a:pt x="576021" y="118859"/>
                  </a:lnTo>
                  <a:lnTo>
                    <a:pt x="577545" y="140195"/>
                  </a:lnTo>
                  <a:lnTo>
                    <a:pt x="580593" y="164579"/>
                  </a:lnTo>
                  <a:lnTo>
                    <a:pt x="582117" y="187439"/>
                  </a:lnTo>
                  <a:lnTo>
                    <a:pt x="673569" y="181343"/>
                  </a:lnTo>
                  <a:lnTo>
                    <a:pt x="673569" y="138671"/>
                  </a:lnTo>
                  <a:close/>
                </a:path>
                <a:path w="751839" h="466725">
                  <a:moveTo>
                    <a:pt x="742124" y="131051"/>
                  </a:moveTo>
                  <a:lnTo>
                    <a:pt x="739076" y="106667"/>
                  </a:lnTo>
                  <a:lnTo>
                    <a:pt x="736028" y="85331"/>
                  </a:lnTo>
                  <a:lnTo>
                    <a:pt x="731456" y="62484"/>
                  </a:lnTo>
                  <a:lnTo>
                    <a:pt x="728408" y="44196"/>
                  </a:lnTo>
                  <a:lnTo>
                    <a:pt x="725360" y="19812"/>
                  </a:lnTo>
                  <a:lnTo>
                    <a:pt x="722312" y="0"/>
                  </a:lnTo>
                  <a:lnTo>
                    <a:pt x="676617" y="0"/>
                  </a:lnTo>
                  <a:lnTo>
                    <a:pt x="679665" y="21336"/>
                  </a:lnTo>
                  <a:lnTo>
                    <a:pt x="681189" y="45720"/>
                  </a:lnTo>
                  <a:lnTo>
                    <a:pt x="687285" y="91427"/>
                  </a:lnTo>
                  <a:lnTo>
                    <a:pt x="690333" y="115811"/>
                  </a:lnTo>
                  <a:lnTo>
                    <a:pt x="691857" y="137147"/>
                  </a:lnTo>
                  <a:lnTo>
                    <a:pt x="694905" y="158483"/>
                  </a:lnTo>
                  <a:lnTo>
                    <a:pt x="697953" y="178295"/>
                  </a:lnTo>
                  <a:lnTo>
                    <a:pt x="740600" y="178295"/>
                  </a:lnTo>
                  <a:lnTo>
                    <a:pt x="742124" y="153911"/>
                  </a:lnTo>
                  <a:lnTo>
                    <a:pt x="742124" y="131051"/>
                  </a:lnTo>
                  <a:close/>
                </a:path>
                <a:path w="751839" h="466725">
                  <a:moveTo>
                    <a:pt x="751268" y="233146"/>
                  </a:moveTo>
                  <a:lnTo>
                    <a:pt x="746696" y="219443"/>
                  </a:lnTo>
                  <a:lnTo>
                    <a:pt x="743648" y="195059"/>
                  </a:lnTo>
                  <a:lnTo>
                    <a:pt x="722312" y="195059"/>
                  </a:lnTo>
                  <a:lnTo>
                    <a:pt x="697953" y="198107"/>
                  </a:lnTo>
                  <a:lnTo>
                    <a:pt x="676617" y="199631"/>
                  </a:lnTo>
                  <a:lnTo>
                    <a:pt x="652233" y="201155"/>
                  </a:lnTo>
                  <a:lnTo>
                    <a:pt x="608025" y="201155"/>
                  </a:lnTo>
                  <a:lnTo>
                    <a:pt x="583641" y="202679"/>
                  </a:lnTo>
                  <a:lnTo>
                    <a:pt x="560793" y="202679"/>
                  </a:lnTo>
                  <a:lnTo>
                    <a:pt x="536409" y="204203"/>
                  </a:lnTo>
                  <a:lnTo>
                    <a:pt x="304774" y="204203"/>
                  </a:lnTo>
                  <a:lnTo>
                    <a:pt x="280390" y="202679"/>
                  </a:lnTo>
                  <a:lnTo>
                    <a:pt x="236207" y="202679"/>
                  </a:lnTo>
                  <a:lnTo>
                    <a:pt x="211823" y="201155"/>
                  </a:lnTo>
                  <a:lnTo>
                    <a:pt x="166103" y="201155"/>
                  </a:lnTo>
                  <a:lnTo>
                    <a:pt x="143243" y="199631"/>
                  </a:lnTo>
                  <a:lnTo>
                    <a:pt x="118872" y="199631"/>
                  </a:lnTo>
                  <a:lnTo>
                    <a:pt x="50292" y="195059"/>
                  </a:lnTo>
                  <a:lnTo>
                    <a:pt x="4572" y="195059"/>
                  </a:lnTo>
                  <a:lnTo>
                    <a:pt x="0" y="236194"/>
                  </a:lnTo>
                  <a:lnTo>
                    <a:pt x="0" y="262102"/>
                  </a:lnTo>
                  <a:lnTo>
                    <a:pt x="1524" y="275818"/>
                  </a:lnTo>
                  <a:lnTo>
                    <a:pt x="4572" y="286486"/>
                  </a:lnTo>
                  <a:lnTo>
                    <a:pt x="6096" y="300202"/>
                  </a:lnTo>
                  <a:lnTo>
                    <a:pt x="7620" y="312394"/>
                  </a:lnTo>
                  <a:lnTo>
                    <a:pt x="10668" y="324586"/>
                  </a:lnTo>
                  <a:lnTo>
                    <a:pt x="12192" y="336778"/>
                  </a:lnTo>
                  <a:lnTo>
                    <a:pt x="15240" y="350494"/>
                  </a:lnTo>
                  <a:lnTo>
                    <a:pt x="18288" y="362686"/>
                  </a:lnTo>
                  <a:lnTo>
                    <a:pt x="19812" y="374865"/>
                  </a:lnTo>
                  <a:lnTo>
                    <a:pt x="25908" y="402297"/>
                  </a:lnTo>
                  <a:lnTo>
                    <a:pt x="89916" y="402297"/>
                  </a:lnTo>
                  <a:lnTo>
                    <a:pt x="112776" y="403821"/>
                  </a:lnTo>
                  <a:lnTo>
                    <a:pt x="156959" y="403821"/>
                  </a:lnTo>
                  <a:lnTo>
                    <a:pt x="225539" y="408393"/>
                  </a:lnTo>
                  <a:lnTo>
                    <a:pt x="246875" y="409917"/>
                  </a:lnTo>
                  <a:lnTo>
                    <a:pt x="294106" y="409917"/>
                  </a:lnTo>
                  <a:lnTo>
                    <a:pt x="315442" y="411441"/>
                  </a:lnTo>
                  <a:lnTo>
                    <a:pt x="338302" y="412965"/>
                  </a:lnTo>
                  <a:lnTo>
                    <a:pt x="359638" y="414489"/>
                  </a:lnTo>
                  <a:lnTo>
                    <a:pt x="384022" y="414489"/>
                  </a:lnTo>
                  <a:lnTo>
                    <a:pt x="406882" y="416013"/>
                  </a:lnTo>
                  <a:lnTo>
                    <a:pt x="429729" y="419061"/>
                  </a:lnTo>
                  <a:lnTo>
                    <a:pt x="632421" y="419061"/>
                  </a:lnTo>
                  <a:lnTo>
                    <a:pt x="655281" y="416013"/>
                  </a:lnTo>
                  <a:lnTo>
                    <a:pt x="678141" y="414489"/>
                  </a:lnTo>
                  <a:lnTo>
                    <a:pt x="697953" y="412965"/>
                  </a:lnTo>
                  <a:lnTo>
                    <a:pt x="720788" y="411441"/>
                  </a:lnTo>
                  <a:lnTo>
                    <a:pt x="740600" y="409917"/>
                  </a:lnTo>
                  <a:lnTo>
                    <a:pt x="742124" y="396201"/>
                  </a:lnTo>
                  <a:lnTo>
                    <a:pt x="743648" y="384009"/>
                  </a:lnTo>
                  <a:lnTo>
                    <a:pt x="745172" y="370293"/>
                  </a:lnTo>
                  <a:lnTo>
                    <a:pt x="745172" y="356590"/>
                  </a:lnTo>
                  <a:lnTo>
                    <a:pt x="746696" y="342874"/>
                  </a:lnTo>
                  <a:lnTo>
                    <a:pt x="749744" y="329158"/>
                  </a:lnTo>
                  <a:lnTo>
                    <a:pt x="751268" y="315442"/>
                  </a:lnTo>
                  <a:lnTo>
                    <a:pt x="751268" y="233146"/>
                  </a:lnTo>
                  <a:close/>
                </a:path>
              </a:pathLst>
            </a:custGeom>
            <a:solidFill>
              <a:srgbClr val="FF653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5373196" y="1451590"/>
            <a:ext cx="3527425" cy="4175502"/>
          </a:xfrm>
          <a:prstGeom prst="rect">
            <a:avLst/>
          </a:prstGeom>
        </p:spPr>
        <p:txBody>
          <a:bodyPr vert="horz" wrap="square" lIns="0" tIns="175260" rIns="0" bIns="0" rtlCol="0">
            <a:spAutoFit/>
          </a:bodyPr>
          <a:lstStyle/>
          <a:p>
            <a:pPr marL="129539" indent="-117475">
              <a:lnSpc>
                <a:spcPct val="100000"/>
              </a:lnSpc>
              <a:spcBef>
                <a:spcPts val="1380"/>
              </a:spcBef>
              <a:buClr>
                <a:srgbClr val="323299"/>
              </a:buClr>
              <a:buSzPct val="95000"/>
              <a:buFont typeface="Wingdings"/>
              <a:buChar char=""/>
              <a:tabLst>
                <a:tab pos="130175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Time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sheet entry using</a:t>
            </a:r>
            <a:r>
              <a:rPr sz="2000" spc="-12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ESS</a:t>
            </a:r>
            <a:endParaRPr sz="2000" dirty="0">
              <a:latin typeface="Arial"/>
              <a:cs typeface="Arial"/>
            </a:endParaRPr>
          </a:p>
          <a:p>
            <a:pPr marL="570230" marR="5080" lvl="1" indent="-291465">
              <a:lnSpc>
                <a:spcPct val="100000"/>
              </a:lnSpc>
              <a:spcBef>
                <a:spcPts val="1145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Employee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enters time sheets  using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ESS</a:t>
            </a:r>
            <a:endParaRPr sz="1800" dirty="0">
              <a:latin typeface="Arial"/>
              <a:cs typeface="Arial"/>
            </a:endParaRPr>
          </a:p>
          <a:p>
            <a:pPr marL="129539" indent="-117475">
              <a:lnSpc>
                <a:spcPct val="100000"/>
              </a:lnSpc>
              <a:spcBef>
                <a:spcPts val="1135"/>
              </a:spcBef>
              <a:buClr>
                <a:srgbClr val="323299"/>
              </a:buClr>
              <a:buSzPct val="95000"/>
              <a:buFont typeface="Wingdings"/>
              <a:buChar char=""/>
              <a:tabLst>
                <a:tab pos="130175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Electronic data</a:t>
            </a:r>
            <a:r>
              <a:rPr sz="2000" spc="-6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capture</a:t>
            </a:r>
            <a:endParaRPr sz="2000" dirty="0">
              <a:latin typeface="Arial"/>
              <a:cs typeface="Arial"/>
            </a:endParaRPr>
          </a:p>
          <a:p>
            <a:pPr marL="570230" marR="207010" lvl="1" indent="-291465">
              <a:lnSpc>
                <a:spcPct val="100000"/>
              </a:lnSpc>
              <a:spcBef>
                <a:spcPts val="1145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Employee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use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machines </a:t>
            </a:r>
            <a:r>
              <a:rPr sz="1800" dirty="0">
                <a:solidFill>
                  <a:srgbClr val="5E5E5E"/>
                </a:solidFill>
                <a:latin typeface="Arial"/>
                <a:cs typeface="Arial"/>
              </a:rPr>
              <a:t>to 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punch </a:t>
            </a:r>
            <a:r>
              <a:rPr sz="1800" dirty="0">
                <a:solidFill>
                  <a:srgbClr val="5E5E5E"/>
                </a:solidFill>
                <a:latin typeface="Arial"/>
                <a:cs typeface="Arial"/>
              </a:rPr>
              <a:t>a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card</a:t>
            </a:r>
            <a:endParaRPr sz="1800" dirty="0">
              <a:latin typeface="Arial"/>
              <a:cs typeface="Arial"/>
            </a:endParaRPr>
          </a:p>
          <a:p>
            <a:pPr marL="570230" marR="29845" lvl="1" indent="-291465">
              <a:lnSpc>
                <a:spcPct val="100000"/>
              </a:lnSpc>
              <a:spcBef>
                <a:spcPts val="1080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Employee swipes </a:t>
            </a:r>
            <a:r>
              <a:rPr sz="1800" dirty="0">
                <a:solidFill>
                  <a:srgbClr val="5E5E5E"/>
                </a:solidFill>
                <a:latin typeface="Arial"/>
                <a:cs typeface="Arial"/>
              </a:rPr>
              <a:t>a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card at </a:t>
            </a:r>
            <a:r>
              <a:rPr sz="1800" dirty="0">
                <a:solidFill>
                  <a:srgbClr val="5E5E5E"/>
                </a:solidFill>
                <a:latin typeface="Arial"/>
                <a:cs typeface="Arial"/>
              </a:rPr>
              <a:t>a 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time</a:t>
            </a:r>
            <a:r>
              <a:rPr sz="1800" spc="-2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terminal</a:t>
            </a:r>
            <a:endParaRPr sz="1800" dirty="0">
              <a:latin typeface="Arial"/>
              <a:cs typeface="Arial"/>
            </a:endParaRPr>
          </a:p>
          <a:p>
            <a:pPr marL="129539" indent="-117475">
              <a:lnSpc>
                <a:spcPct val="100000"/>
              </a:lnSpc>
              <a:spcBef>
                <a:spcPts val="1130"/>
              </a:spcBef>
              <a:buClr>
                <a:srgbClr val="323299"/>
              </a:buClr>
              <a:buSzPct val="95000"/>
              <a:buFont typeface="Wingdings"/>
              <a:buChar char=""/>
              <a:tabLst>
                <a:tab pos="130175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Importable file</a:t>
            </a:r>
            <a:r>
              <a:rPr sz="2000" spc="-5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formats</a:t>
            </a:r>
            <a:endParaRPr sz="2000" dirty="0">
              <a:latin typeface="Arial"/>
              <a:cs typeface="Arial"/>
            </a:endParaRPr>
          </a:p>
          <a:p>
            <a:pPr marL="570230" marR="156210" lvl="1" indent="-291465">
              <a:lnSpc>
                <a:spcPct val="100000"/>
              </a:lnSpc>
              <a:spcBef>
                <a:spcPts val="1150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dirty="0">
                <a:solidFill>
                  <a:srgbClr val="5E5E5E"/>
                </a:solidFill>
                <a:latin typeface="Arial"/>
                <a:cs typeface="Arial"/>
              </a:rPr>
              <a:t>Time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admin submits data</a:t>
            </a:r>
            <a:r>
              <a:rPr sz="1800" spc="-7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in  importable file format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20" name="object 6">
            <a:extLst>
              <a:ext uri="{FF2B5EF4-FFF2-40B4-BE49-F238E27FC236}">
                <a16:creationId xmlns:a16="http://schemas.microsoft.com/office/drawing/2014/main" id="{B783F82E-906D-4EAC-9DB9-149D88283B4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14700" y="627840"/>
            <a:ext cx="501015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Time Recording </a:t>
            </a:r>
            <a:r>
              <a:rPr dirty="0">
                <a:solidFill>
                  <a:schemeClr val="accent1"/>
                </a:solidFill>
              </a:rPr>
              <a:t>:</a:t>
            </a:r>
            <a:r>
              <a:rPr spc="-100" dirty="0">
                <a:solidFill>
                  <a:schemeClr val="accent1"/>
                </a:solidFill>
              </a:rPr>
              <a:t> </a:t>
            </a:r>
            <a:r>
              <a:rPr lang="en-IN" spc="-5" dirty="0">
                <a:solidFill>
                  <a:schemeClr val="accent1"/>
                </a:solidFill>
              </a:rPr>
              <a:t>Method</a:t>
            </a:r>
            <a:endParaRPr spc="-5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6812219" y="1862693"/>
            <a:ext cx="2003907" cy="199625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8901470" y="2991886"/>
            <a:ext cx="33655" cy="163195"/>
          </a:xfrm>
          <a:custGeom>
            <a:avLst/>
            <a:gdLst/>
            <a:ahLst/>
            <a:cxnLst/>
            <a:rect l="l" t="t" r="r" b="b"/>
            <a:pathLst>
              <a:path w="33654" h="163194">
                <a:moveTo>
                  <a:pt x="19812" y="0"/>
                </a:moveTo>
                <a:lnTo>
                  <a:pt x="9144" y="22860"/>
                </a:lnTo>
                <a:lnTo>
                  <a:pt x="4572" y="59436"/>
                </a:lnTo>
                <a:lnTo>
                  <a:pt x="4572" y="99060"/>
                </a:lnTo>
                <a:lnTo>
                  <a:pt x="0" y="138653"/>
                </a:lnTo>
                <a:lnTo>
                  <a:pt x="0" y="147797"/>
                </a:lnTo>
                <a:lnTo>
                  <a:pt x="4572" y="156941"/>
                </a:lnTo>
                <a:lnTo>
                  <a:pt x="10668" y="161513"/>
                </a:lnTo>
                <a:lnTo>
                  <a:pt x="19812" y="163037"/>
                </a:lnTo>
                <a:lnTo>
                  <a:pt x="28956" y="163037"/>
                </a:lnTo>
                <a:lnTo>
                  <a:pt x="33527" y="160751"/>
                </a:lnTo>
                <a:lnTo>
                  <a:pt x="33527" y="11221"/>
                </a:lnTo>
                <a:lnTo>
                  <a:pt x="1981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714700" y="627840"/>
            <a:ext cx="721995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Time Recording in Time</a:t>
            </a:r>
            <a:r>
              <a:rPr spc="-11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Management</a:t>
            </a:r>
          </a:p>
        </p:txBody>
      </p:sp>
      <p:sp>
        <p:nvSpPr>
          <p:cNvPr id="5" name="object 5"/>
          <p:cNvSpPr txBox="1"/>
          <p:nvPr/>
        </p:nvSpPr>
        <p:spPr>
          <a:xfrm>
            <a:off x="1113964" y="2116662"/>
            <a:ext cx="5485765" cy="355472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9539" indent="-117475">
              <a:lnSpc>
                <a:spcPct val="100000"/>
              </a:lnSpc>
              <a:spcBef>
                <a:spcPts val="100"/>
              </a:spcBef>
              <a:buClr>
                <a:srgbClr val="323299"/>
              </a:buClr>
              <a:buSzPct val="95000"/>
              <a:buFont typeface="Wingdings"/>
              <a:buChar char=""/>
              <a:tabLst>
                <a:tab pos="130175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Time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recording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in time</a:t>
            </a:r>
            <a:r>
              <a:rPr sz="2000" spc="-8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management</a:t>
            </a:r>
            <a:endParaRPr sz="2000">
              <a:latin typeface="Arial"/>
              <a:cs typeface="Arial"/>
            </a:endParaRPr>
          </a:p>
          <a:p>
            <a:pPr marL="570230" lvl="1" indent="-292100">
              <a:lnSpc>
                <a:spcPct val="100000"/>
              </a:lnSpc>
              <a:spcBef>
                <a:spcPts val="1605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spc="-15" dirty="0">
                <a:solidFill>
                  <a:srgbClr val="5E5E5E"/>
                </a:solidFill>
                <a:latin typeface="Arial"/>
                <a:cs typeface="Arial"/>
              </a:rPr>
              <a:t>Allows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the entry of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employee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time</a:t>
            </a:r>
            <a:r>
              <a:rPr sz="1800" spc="9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data</a:t>
            </a:r>
            <a:endParaRPr sz="1800">
              <a:latin typeface="Arial"/>
              <a:cs typeface="Arial"/>
            </a:endParaRPr>
          </a:p>
          <a:p>
            <a:pPr marL="951230" lvl="2" indent="-191135">
              <a:lnSpc>
                <a:spcPct val="100000"/>
              </a:lnSpc>
              <a:spcBef>
                <a:spcPts val="1435"/>
              </a:spcBef>
              <a:buClr>
                <a:srgbClr val="323299"/>
              </a:buClr>
              <a:buFont typeface="Wingdings"/>
              <a:buChar char=""/>
              <a:tabLst>
                <a:tab pos="951865" algn="l"/>
              </a:tabLst>
            </a:pPr>
            <a:r>
              <a:rPr sz="1600" spc="-5" dirty="0">
                <a:solidFill>
                  <a:srgbClr val="5E5E5E"/>
                </a:solidFill>
                <a:latin typeface="Arial"/>
                <a:cs typeface="Arial"/>
              </a:rPr>
              <a:t>Manually</a:t>
            </a:r>
            <a:endParaRPr sz="1600">
              <a:latin typeface="Arial"/>
              <a:cs typeface="Arial"/>
            </a:endParaRPr>
          </a:p>
          <a:p>
            <a:pPr marL="951230" lvl="2" indent="-191135">
              <a:lnSpc>
                <a:spcPct val="100000"/>
              </a:lnSpc>
              <a:spcBef>
                <a:spcPts val="1345"/>
              </a:spcBef>
              <a:buClr>
                <a:srgbClr val="323299"/>
              </a:buClr>
              <a:buFont typeface="Wingdings"/>
              <a:buChar char=""/>
              <a:tabLst>
                <a:tab pos="951865" algn="l"/>
              </a:tabLst>
            </a:pPr>
            <a:r>
              <a:rPr sz="1600" spc="-5" dirty="0">
                <a:solidFill>
                  <a:srgbClr val="5E5E5E"/>
                </a:solidFill>
                <a:latin typeface="Arial"/>
                <a:cs typeface="Arial"/>
              </a:rPr>
              <a:t>Automatically</a:t>
            </a:r>
            <a:endParaRPr sz="1600">
              <a:latin typeface="Arial"/>
              <a:cs typeface="Arial"/>
            </a:endParaRPr>
          </a:p>
          <a:p>
            <a:pPr marL="570230" lvl="1" indent="-292100">
              <a:lnSpc>
                <a:spcPct val="100000"/>
              </a:lnSpc>
              <a:spcBef>
                <a:spcPts val="1420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spc="-15" dirty="0">
                <a:solidFill>
                  <a:srgbClr val="5E5E5E"/>
                </a:solidFill>
                <a:latin typeface="Arial"/>
                <a:cs typeface="Arial"/>
              </a:rPr>
              <a:t>Allows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data </a:t>
            </a:r>
            <a:r>
              <a:rPr sz="1800" dirty="0">
                <a:solidFill>
                  <a:srgbClr val="5E5E5E"/>
                </a:solidFill>
                <a:latin typeface="Arial"/>
                <a:cs typeface="Arial"/>
              </a:rPr>
              <a:t>to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be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entered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as clock</a:t>
            </a:r>
            <a:r>
              <a:rPr sz="1800" spc="8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times</a:t>
            </a:r>
            <a:endParaRPr sz="1800">
              <a:latin typeface="Arial"/>
              <a:cs typeface="Arial"/>
            </a:endParaRPr>
          </a:p>
          <a:p>
            <a:pPr marL="570230" lvl="1" indent="-292100">
              <a:lnSpc>
                <a:spcPct val="100000"/>
              </a:lnSpc>
              <a:spcBef>
                <a:spcPts val="1510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spc="-15" dirty="0">
                <a:solidFill>
                  <a:srgbClr val="5E5E5E"/>
                </a:solidFill>
                <a:latin typeface="Arial"/>
                <a:cs typeface="Arial"/>
              </a:rPr>
              <a:t>Allows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data </a:t>
            </a:r>
            <a:r>
              <a:rPr sz="1800" dirty="0">
                <a:solidFill>
                  <a:srgbClr val="5E5E5E"/>
                </a:solidFill>
                <a:latin typeface="Arial"/>
                <a:cs typeface="Arial"/>
              </a:rPr>
              <a:t>to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be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entered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as</a:t>
            </a:r>
            <a:r>
              <a:rPr sz="1800" spc="6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hours</a:t>
            </a:r>
            <a:endParaRPr sz="1800">
              <a:latin typeface="Arial"/>
              <a:cs typeface="Arial"/>
            </a:endParaRPr>
          </a:p>
          <a:p>
            <a:pPr marL="129539" indent="-117475">
              <a:lnSpc>
                <a:spcPct val="100000"/>
              </a:lnSpc>
              <a:spcBef>
                <a:spcPts val="1590"/>
              </a:spcBef>
              <a:buClr>
                <a:srgbClr val="323299"/>
              </a:buClr>
              <a:buSzPct val="95000"/>
              <a:buFont typeface="Wingdings"/>
              <a:buChar char=""/>
              <a:tabLst>
                <a:tab pos="130175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Time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data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is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entered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in time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recording</a:t>
            </a:r>
            <a:r>
              <a:rPr sz="2000" spc="-11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infotypes</a:t>
            </a:r>
            <a:endParaRPr sz="2000">
              <a:latin typeface="Arial"/>
              <a:cs typeface="Arial"/>
            </a:endParaRPr>
          </a:p>
          <a:p>
            <a:pPr marL="570230" lvl="1" indent="-292100">
              <a:lnSpc>
                <a:spcPct val="100000"/>
              </a:lnSpc>
              <a:spcBef>
                <a:spcPts val="1605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dirty="0">
                <a:solidFill>
                  <a:srgbClr val="5E5E5E"/>
                </a:solidFill>
                <a:latin typeface="Arial"/>
                <a:cs typeface="Arial"/>
              </a:rPr>
              <a:t>Time </a:t>
            </a: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recording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infotype range 2000 </a:t>
            </a:r>
            <a:r>
              <a:rPr sz="1800" dirty="0">
                <a:solidFill>
                  <a:srgbClr val="5E5E5E"/>
                </a:solidFill>
                <a:latin typeface="Arial"/>
                <a:cs typeface="Arial"/>
              </a:rPr>
              <a:t>-</a:t>
            </a:r>
            <a:r>
              <a:rPr sz="1800" spc="5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2999</a:t>
            </a:r>
            <a:endParaRPr sz="18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788359" y="2207087"/>
            <a:ext cx="8540115" cy="3178810"/>
            <a:chOff x="788359" y="2207087"/>
            <a:chExt cx="8540115" cy="3178810"/>
          </a:xfrm>
        </p:grpSpPr>
        <p:sp>
          <p:nvSpPr>
            <p:cNvPr id="3" name="object 3"/>
            <p:cNvSpPr/>
            <p:nvPr/>
          </p:nvSpPr>
          <p:spPr>
            <a:xfrm>
              <a:off x="800551" y="3429225"/>
              <a:ext cx="8515985" cy="463550"/>
            </a:xfrm>
            <a:custGeom>
              <a:avLst/>
              <a:gdLst/>
              <a:ahLst/>
              <a:cxnLst/>
              <a:rect l="l" t="t" r="r" b="b"/>
              <a:pathLst>
                <a:path w="8515985" h="463550">
                  <a:moveTo>
                    <a:pt x="0" y="463253"/>
                  </a:moveTo>
                  <a:lnTo>
                    <a:pt x="8515411" y="463253"/>
                  </a:lnTo>
                  <a:lnTo>
                    <a:pt x="8515411" y="0"/>
                  </a:lnTo>
                  <a:lnTo>
                    <a:pt x="0" y="0"/>
                  </a:lnTo>
                  <a:lnTo>
                    <a:pt x="0" y="463253"/>
                  </a:lnTo>
                  <a:close/>
                </a:path>
              </a:pathLst>
            </a:custGeom>
            <a:solidFill>
              <a:srgbClr val="B7EAF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788359" y="3417021"/>
              <a:ext cx="8540115" cy="475615"/>
            </a:xfrm>
            <a:custGeom>
              <a:avLst/>
              <a:gdLst/>
              <a:ahLst/>
              <a:cxnLst/>
              <a:rect l="l" t="t" r="r" b="b"/>
              <a:pathLst>
                <a:path w="8540115" h="475614">
                  <a:moveTo>
                    <a:pt x="8539770" y="0"/>
                  </a:moveTo>
                  <a:lnTo>
                    <a:pt x="0" y="0"/>
                  </a:lnTo>
                  <a:lnTo>
                    <a:pt x="0" y="475457"/>
                  </a:lnTo>
                  <a:lnTo>
                    <a:pt x="25908" y="475457"/>
                  </a:lnTo>
                  <a:lnTo>
                    <a:pt x="25908" y="25908"/>
                  </a:lnTo>
                  <a:lnTo>
                    <a:pt x="12192" y="25908"/>
                  </a:lnTo>
                  <a:lnTo>
                    <a:pt x="25908" y="12192"/>
                  </a:lnTo>
                  <a:lnTo>
                    <a:pt x="8539770" y="12192"/>
                  </a:lnTo>
                  <a:lnTo>
                    <a:pt x="8539770" y="0"/>
                  </a:lnTo>
                  <a:close/>
                </a:path>
                <a:path w="8540115" h="475614">
                  <a:moveTo>
                    <a:pt x="8513862" y="12192"/>
                  </a:moveTo>
                  <a:lnTo>
                    <a:pt x="8513862" y="475457"/>
                  </a:lnTo>
                  <a:lnTo>
                    <a:pt x="8539770" y="475457"/>
                  </a:lnTo>
                  <a:lnTo>
                    <a:pt x="8539770" y="25908"/>
                  </a:lnTo>
                  <a:lnTo>
                    <a:pt x="8527578" y="25908"/>
                  </a:lnTo>
                  <a:lnTo>
                    <a:pt x="8513862" y="12192"/>
                  </a:lnTo>
                  <a:close/>
                </a:path>
                <a:path w="8540115" h="475614">
                  <a:moveTo>
                    <a:pt x="25908" y="12192"/>
                  </a:moveTo>
                  <a:lnTo>
                    <a:pt x="12192" y="25908"/>
                  </a:lnTo>
                  <a:lnTo>
                    <a:pt x="25908" y="25908"/>
                  </a:lnTo>
                  <a:lnTo>
                    <a:pt x="25908" y="12192"/>
                  </a:lnTo>
                  <a:close/>
                </a:path>
                <a:path w="8540115" h="475614">
                  <a:moveTo>
                    <a:pt x="8513862" y="12192"/>
                  </a:moveTo>
                  <a:lnTo>
                    <a:pt x="25908" y="12192"/>
                  </a:lnTo>
                  <a:lnTo>
                    <a:pt x="25908" y="25908"/>
                  </a:lnTo>
                  <a:lnTo>
                    <a:pt x="8513862" y="25908"/>
                  </a:lnTo>
                  <a:lnTo>
                    <a:pt x="8513862" y="12192"/>
                  </a:lnTo>
                  <a:close/>
                </a:path>
                <a:path w="8540115" h="475614">
                  <a:moveTo>
                    <a:pt x="8539770" y="12192"/>
                  </a:moveTo>
                  <a:lnTo>
                    <a:pt x="8513862" y="12192"/>
                  </a:lnTo>
                  <a:lnTo>
                    <a:pt x="8527578" y="25908"/>
                  </a:lnTo>
                  <a:lnTo>
                    <a:pt x="8539770" y="25908"/>
                  </a:lnTo>
                  <a:lnTo>
                    <a:pt x="8539770" y="1219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2094319" y="3636479"/>
              <a:ext cx="5977255" cy="109855"/>
            </a:xfrm>
            <a:custGeom>
              <a:avLst/>
              <a:gdLst/>
              <a:ahLst/>
              <a:cxnLst/>
              <a:rect l="l" t="t" r="r" b="b"/>
              <a:pathLst>
                <a:path w="5977255" h="109854">
                  <a:moveTo>
                    <a:pt x="5976632" y="0"/>
                  </a:moveTo>
                  <a:lnTo>
                    <a:pt x="25908" y="0"/>
                  </a:lnTo>
                  <a:lnTo>
                    <a:pt x="25908" y="7632"/>
                  </a:lnTo>
                  <a:lnTo>
                    <a:pt x="0" y="7632"/>
                  </a:lnTo>
                  <a:lnTo>
                    <a:pt x="0" y="109702"/>
                  </a:lnTo>
                  <a:lnTo>
                    <a:pt x="51803" y="109702"/>
                  </a:lnTo>
                  <a:lnTo>
                    <a:pt x="51803" y="50292"/>
                  </a:lnTo>
                  <a:lnTo>
                    <a:pt x="5976632" y="50292"/>
                  </a:lnTo>
                  <a:lnTo>
                    <a:pt x="5976632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7994751" y="3660861"/>
              <a:ext cx="152400" cy="231617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247049" y="3746180"/>
              <a:ext cx="1878964" cy="146685"/>
            </a:xfrm>
            <a:custGeom>
              <a:avLst/>
              <a:gdLst/>
              <a:ahLst/>
              <a:cxnLst/>
              <a:rect l="l" t="t" r="r" b="b"/>
              <a:pathLst>
                <a:path w="1878964" h="146685">
                  <a:moveTo>
                    <a:pt x="0" y="146298"/>
                  </a:moveTo>
                  <a:lnTo>
                    <a:pt x="1878936" y="146298"/>
                  </a:lnTo>
                  <a:lnTo>
                    <a:pt x="1878936" y="0"/>
                  </a:lnTo>
                  <a:lnTo>
                    <a:pt x="0" y="0"/>
                  </a:lnTo>
                  <a:lnTo>
                    <a:pt x="0" y="146298"/>
                  </a:lnTo>
                  <a:close/>
                </a:path>
              </a:pathLst>
            </a:custGeom>
            <a:solidFill>
              <a:srgbClr val="F1E8D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234846" y="3732491"/>
              <a:ext cx="2263775" cy="160020"/>
            </a:xfrm>
            <a:custGeom>
              <a:avLst/>
              <a:gdLst/>
              <a:ahLst/>
              <a:cxnLst/>
              <a:rect l="l" t="t" r="r" b="b"/>
              <a:pathLst>
                <a:path w="2263775" h="160020">
                  <a:moveTo>
                    <a:pt x="1904834" y="0"/>
                  </a:moveTo>
                  <a:lnTo>
                    <a:pt x="0" y="0"/>
                  </a:lnTo>
                  <a:lnTo>
                    <a:pt x="0" y="159994"/>
                  </a:lnTo>
                  <a:lnTo>
                    <a:pt x="24384" y="159994"/>
                  </a:lnTo>
                  <a:lnTo>
                    <a:pt x="24384" y="25908"/>
                  </a:lnTo>
                  <a:lnTo>
                    <a:pt x="1878952" y="25908"/>
                  </a:lnTo>
                  <a:lnTo>
                    <a:pt x="1878952" y="159994"/>
                  </a:lnTo>
                  <a:lnTo>
                    <a:pt x="1904834" y="159994"/>
                  </a:lnTo>
                  <a:lnTo>
                    <a:pt x="1904834" y="25908"/>
                  </a:lnTo>
                  <a:lnTo>
                    <a:pt x="1904834" y="13716"/>
                  </a:lnTo>
                  <a:lnTo>
                    <a:pt x="1904834" y="0"/>
                  </a:lnTo>
                  <a:close/>
                </a:path>
                <a:path w="2263775" h="160020">
                  <a:moveTo>
                    <a:pt x="2263190" y="159994"/>
                  </a:moveTo>
                  <a:lnTo>
                    <a:pt x="2249220" y="144754"/>
                  </a:lnTo>
                  <a:lnTo>
                    <a:pt x="2249220" y="159994"/>
                  </a:lnTo>
                  <a:lnTo>
                    <a:pt x="2263190" y="159994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470361" y="3845234"/>
              <a:ext cx="43815" cy="47625"/>
            </a:xfrm>
            <a:custGeom>
              <a:avLst/>
              <a:gdLst/>
              <a:ahLst/>
              <a:cxnLst/>
              <a:rect l="l" t="t" r="r" b="b"/>
              <a:pathLst>
                <a:path w="43814" h="47625">
                  <a:moveTo>
                    <a:pt x="0" y="0"/>
                  </a:moveTo>
                  <a:lnTo>
                    <a:pt x="0" y="47244"/>
                  </a:lnTo>
                  <a:lnTo>
                    <a:pt x="10152" y="47244"/>
                  </a:lnTo>
                  <a:lnTo>
                    <a:pt x="4572" y="41148"/>
                  </a:lnTo>
                  <a:lnTo>
                    <a:pt x="25908" y="32004"/>
                  </a:lnTo>
                  <a:lnTo>
                    <a:pt x="29477" y="32004"/>
                  </a:lnTo>
                  <a:lnTo>
                    <a:pt x="0" y="0"/>
                  </a:lnTo>
                  <a:close/>
                </a:path>
                <a:path w="43814" h="47625">
                  <a:moveTo>
                    <a:pt x="25908" y="32004"/>
                  </a:moveTo>
                  <a:lnTo>
                    <a:pt x="4572" y="41148"/>
                  </a:lnTo>
                  <a:lnTo>
                    <a:pt x="10152" y="47244"/>
                  </a:lnTo>
                  <a:lnTo>
                    <a:pt x="25908" y="47244"/>
                  </a:lnTo>
                  <a:lnTo>
                    <a:pt x="25908" y="32004"/>
                  </a:lnTo>
                  <a:close/>
                </a:path>
                <a:path w="43814" h="47625">
                  <a:moveTo>
                    <a:pt x="29477" y="32004"/>
                  </a:moveTo>
                  <a:lnTo>
                    <a:pt x="25908" y="32004"/>
                  </a:lnTo>
                  <a:lnTo>
                    <a:pt x="25908" y="47244"/>
                  </a:lnTo>
                  <a:lnTo>
                    <a:pt x="43514" y="47244"/>
                  </a:lnTo>
                  <a:lnTo>
                    <a:pt x="29477" y="32004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7200808" y="2207087"/>
              <a:ext cx="1749430" cy="1339474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7309013" y="3804117"/>
              <a:ext cx="114270" cy="88361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800551" y="3892478"/>
              <a:ext cx="8515985" cy="1480185"/>
            </a:xfrm>
            <a:custGeom>
              <a:avLst/>
              <a:gdLst/>
              <a:ahLst/>
              <a:cxnLst/>
              <a:rect l="l" t="t" r="r" b="b"/>
              <a:pathLst>
                <a:path w="8515985" h="1480185">
                  <a:moveTo>
                    <a:pt x="0" y="1479691"/>
                  </a:moveTo>
                  <a:lnTo>
                    <a:pt x="8515411" y="1479691"/>
                  </a:lnTo>
                  <a:lnTo>
                    <a:pt x="8515411" y="0"/>
                  </a:lnTo>
                  <a:lnTo>
                    <a:pt x="0" y="0"/>
                  </a:lnTo>
                  <a:lnTo>
                    <a:pt x="0" y="1479691"/>
                  </a:lnTo>
                  <a:close/>
                </a:path>
              </a:pathLst>
            </a:custGeom>
            <a:solidFill>
              <a:srgbClr val="B7EAF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788359" y="3892478"/>
              <a:ext cx="8540115" cy="1493520"/>
            </a:xfrm>
            <a:custGeom>
              <a:avLst/>
              <a:gdLst/>
              <a:ahLst/>
              <a:cxnLst/>
              <a:rect l="l" t="t" r="r" b="b"/>
              <a:pathLst>
                <a:path w="8540115" h="1493520">
                  <a:moveTo>
                    <a:pt x="25908" y="0"/>
                  </a:moveTo>
                  <a:lnTo>
                    <a:pt x="0" y="0"/>
                  </a:lnTo>
                  <a:lnTo>
                    <a:pt x="0" y="1493407"/>
                  </a:lnTo>
                  <a:lnTo>
                    <a:pt x="8539770" y="1493407"/>
                  </a:lnTo>
                  <a:lnTo>
                    <a:pt x="8539770" y="1479691"/>
                  </a:lnTo>
                  <a:lnTo>
                    <a:pt x="25908" y="1479691"/>
                  </a:lnTo>
                  <a:lnTo>
                    <a:pt x="12192" y="1467499"/>
                  </a:lnTo>
                  <a:lnTo>
                    <a:pt x="25908" y="1467499"/>
                  </a:lnTo>
                  <a:lnTo>
                    <a:pt x="25908" y="0"/>
                  </a:lnTo>
                  <a:close/>
                </a:path>
                <a:path w="8540115" h="1493520">
                  <a:moveTo>
                    <a:pt x="25908" y="1467499"/>
                  </a:moveTo>
                  <a:lnTo>
                    <a:pt x="12192" y="1467499"/>
                  </a:lnTo>
                  <a:lnTo>
                    <a:pt x="25908" y="1479691"/>
                  </a:lnTo>
                  <a:lnTo>
                    <a:pt x="25908" y="1467499"/>
                  </a:lnTo>
                  <a:close/>
                </a:path>
                <a:path w="8540115" h="1493520">
                  <a:moveTo>
                    <a:pt x="8513862" y="1467499"/>
                  </a:moveTo>
                  <a:lnTo>
                    <a:pt x="25908" y="1467499"/>
                  </a:lnTo>
                  <a:lnTo>
                    <a:pt x="25908" y="1479691"/>
                  </a:lnTo>
                  <a:lnTo>
                    <a:pt x="8513862" y="1479691"/>
                  </a:lnTo>
                  <a:lnTo>
                    <a:pt x="8513862" y="1467499"/>
                  </a:lnTo>
                  <a:close/>
                </a:path>
                <a:path w="8540115" h="1493520">
                  <a:moveTo>
                    <a:pt x="8539770" y="0"/>
                  </a:moveTo>
                  <a:lnTo>
                    <a:pt x="8513862" y="0"/>
                  </a:lnTo>
                  <a:lnTo>
                    <a:pt x="8513862" y="1479691"/>
                  </a:lnTo>
                  <a:lnTo>
                    <a:pt x="8527578" y="1467499"/>
                  </a:lnTo>
                  <a:lnTo>
                    <a:pt x="8539770" y="1467499"/>
                  </a:lnTo>
                  <a:lnTo>
                    <a:pt x="8539770" y="0"/>
                  </a:lnTo>
                  <a:close/>
                </a:path>
                <a:path w="8540115" h="1493520">
                  <a:moveTo>
                    <a:pt x="8539770" y="1467499"/>
                  </a:moveTo>
                  <a:lnTo>
                    <a:pt x="8527578" y="1467499"/>
                  </a:lnTo>
                  <a:lnTo>
                    <a:pt x="8513862" y="1479691"/>
                  </a:lnTo>
                  <a:lnTo>
                    <a:pt x="8539770" y="1479691"/>
                  </a:lnTo>
                  <a:lnTo>
                    <a:pt x="8539770" y="1467499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7330348" y="4425839"/>
              <a:ext cx="1790700" cy="713740"/>
            </a:xfrm>
            <a:custGeom>
              <a:avLst/>
              <a:gdLst/>
              <a:ahLst/>
              <a:cxnLst/>
              <a:rect l="l" t="t" r="r" b="b"/>
              <a:pathLst>
                <a:path w="1790700" h="713739">
                  <a:moveTo>
                    <a:pt x="1790556" y="0"/>
                  </a:moveTo>
                  <a:lnTo>
                    <a:pt x="0" y="0"/>
                  </a:lnTo>
                  <a:lnTo>
                    <a:pt x="0" y="713171"/>
                  </a:lnTo>
                  <a:lnTo>
                    <a:pt x="1790556" y="713171"/>
                  </a:lnTo>
                  <a:lnTo>
                    <a:pt x="1790556" y="0"/>
                  </a:lnTo>
                  <a:close/>
                </a:path>
              </a:pathLst>
            </a:custGeom>
            <a:solidFill>
              <a:srgbClr val="DEBB9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7324252" y="4419752"/>
              <a:ext cx="1802764" cy="725805"/>
            </a:xfrm>
            <a:custGeom>
              <a:avLst/>
              <a:gdLst/>
              <a:ahLst/>
              <a:cxnLst/>
              <a:rect l="l" t="t" r="r" b="b"/>
              <a:pathLst>
                <a:path w="1802765" h="725804">
                  <a:moveTo>
                    <a:pt x="1802739" y="0"/>
                  </a:moveTo>
                  <a:lnTo>
                    <a:pt x="0" y="0"/>
                  </a:lnTo>
                  <a:lnTo>
                    <a:pt x="0" y="725353"/>
                  </a:lnTo>
                  <a:lnTo>
                    <a:pt x="1802739" y="725353"/>
                  </a:lnTo>
                  <a:lnTo>
                    <a:pt x="1802739" y="719257"/>
                  </a:lnTo>
                  <a:lnTo>
                    <a:pt x="12192" y="719257"/>
                  </a:lnTo>
                  <a:lnTo>
                    <a:pt x="6096" y="713161"/>
                  </a:lnTo>
                  <a:lnTo>
                    <a:pt x="12192" y="713161"/>
                  </a:lnTo>
                  <a:lnTo>
                    <a:pt x="12192" y="13716"/>
                  </a:lnTo>
                  <a:lnTo>
                    <a:pt x="6096" y="13716"/>
                  </a:lnTo>
                  <a:lnTo>
                    <a:pt x="12192" y="6096"/>
                  </a:lnTo>
                  <a:lnTo>
                    <a:pt x="1802739" y="6096"/>
                  </a:lnTo>
                  <a:lnTo>
                    <a:pt x="1802739" y="0"/>
                  </a:lnTo>
                  <a:close/>
                </a:path>
                <a:path w="1802765" h="725804">
                  <a:moveTo>
                    <a:pt x="12192" y="713161"/>
                  </a:moveTo>
                  <a:lnTo>
                    <a:pt x="6096" y="713161"/>
                  </a:lnTo>
                  <a:lnTo>
                    <a:pt x="12192" y="719257"/>
                  </a:lnTo>
                  <a:lnTo>
                    <a:pt x="12192" y="713161"/>
                  </a:lnTo>
                  <a:close/>
                </a:path>
                <a:path w="1802765" h="725804">
                  <a:moveTo>
                    <a:pt x="1790547" y="713161"/>
                  </a:moveTo>
                  <a:lnTo>
                    <a:pt x="12192" y="713161"/>
                  </a:lnTo>
                  <a:lnTo>
                    <a:pt x="12192" y="719257"/>
                  </a:lnTo>
                  <a:lnTo>
                    <a:pt x="1790547" y="719257"/>
                  </a:lnTo>
                  <a:lnTo>
                    <a:pt x="1790547" y="713161"/>
                  </a:lnTo>
                  <a:close/>
                </a:path>
                <a:path w="1802765" h="725804">
                  <a:moveTo>
                    <a:pt x="1790547" y="6096"/>
                  </a:moveTo>
                  <a:lnTo>
                    <a:pt x="1790547" y="719257"/>
                  </a:lnTo>
                  <a:lnTo>
                    <a:pt x="1796643" y="713161"/>
                  </a:lnTo>
                  <a:lnTo>
                    <a:pt x="1802739" y="713161"/>
                  </a:lnTo>
                  <a:lnTo>
                    <a:pt x="1802739" y="13716"/>
                  </a:lnTo>
                  <a:lnTo>
                    <a:pt x="1796643" y="13716"/>
                  </a:lnTo>
                  <a:lnTo>
                    <a:pt x="1790547" y="6096"/>
                  </a:lnTo>
                  <a:close/>
                </a:path>
                <a:path w="1802765" h="725804">
                  <a:moveTo>
                    <a:pt x="1802739" y="713161"/>
                  </a:moveTo>
                  <a:lnTo>
                    <a:pt x="1796643" y="713161"/>
                  </a:lnTo>
                  <a:lnTo>
                    <a:pt x="1790547" y="719257"/>
                  </a:lnTo>
                  <a:lnTo>
                    <a:pt x="1802739" y="719257"/>
                  </a:lnTo>
                  <a:lnTo>
                    <a:pt x="1802739" y="713161"/>
                  </a:lnTo>
                  <a:close/>
                </a:path>
                <a:path w="1802765" h="725804">
                  <a:moveTo>
                    <a:pt x="12192" y="6096"/>
                  </a:moveTo>
                  <a:lnTo>
                    <a:pt x="6096" y="13716"/>
                  </a:lnTo>
                  <a:lnTo>
                    <a:pt x="12192" y="13716"/>
                  </a:lnTo>
                  <a:lnTo>
                    <a:pt x="12192" y="6096"/>
                  </a:lnTo>
                  <a:close/>
                </a:path>
                <a:path w="1802765" h="725804">
                  <a:moveTo>
                    <a:pt x="1790547" y="6096"/>
                  </a:moveTo>
                  <a:lnTo>
                    <a:pt x="12192" y="6096"/>
                  </a:lnTo>
                  <a:lnTo>
                    <a:pt x="12192" y="13716"/>
                  </a:lnTo>
                  <a:lnTo>
                    <a:pt x="1790547" y="13716"/>
                  </a:lnTo>
                  <a:lnTo>
                    <a:pt x="1790547" y="6096"/>
                  </a:lnTo>
                  <a:close/>
                </a:path>
                <a:path w="1802765" h="725804">
                  <a:moveTo>
                    <a:pt x="1802739" y="6096"/>
                  </a:moveTo>
                  <a:lnTo>
                    <a:pt x="1790547" y="6096"/>
                  </a:lnTo>
                  <a:lnTo>
                    <a:pt x="1796643" y="13716"/>
                  </a:lnTo>
                  <a:lnTo>
                    <a:pt x="1802739" y="13716"/>
                  </a:lnTo>
                  <a:lnTo>
                    <a:pt x="1802739" y="6096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3900098" y="4413647"/>
              <a:ext cx="2941320" cy="713740"/>
            </a:xfrm>
            <a:custGeom>
              <a:avLst/>
              <a:gdLst/>
              <a:ahLst/>
              <a:cxnLst/>
              <a:rect l="l" t="t" r="r" b="b"/>
              <a:pathLst>
                <a:path w="2941320" h="713739">
                  <a:moveTo>
                    <a:pt x="2941082" y="0"/>
                  </a:moveTo>
                  <a:lnTo>
                    <a:pt x="0" y="0"/>
                  </a:lnTo>
                  <a:lnTo>
                    <a:pt x="0" y="713171"/>
                  </a:lnTo>
                  <a:lnTo>
                    <a:pt x="2941082" y="713171"/>
                  </a:lnTo>
                  <a:lnTo>
                    <a:pt x="2941082" y="0"/>
                  </a:lnTo>
                  <a:close/>
                </a:path>
              </a:pathLst>
            </a:custGeom>
            <a:solidFill>
              <a:srgbClr val="DEBB9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3892478" y="4407560"/>
              <a:ext cx="2955290" cy="725805"/>
            </a:xfrm>
            <a:custGeom>
              <a:avLst/>
              <a:gdLst/>
              <a:ahLst/>
              <a:cxnLst/>
              <a:rect l="l" t="t" r="r" b="b"/>
              <a:pathLst>
                <a:path w="2955290" h="725804">
                  <a:moveTo>
                    <a:pt x="2954792" y="0"/>
                  </a:moveTo>
                  <a:lnTo>
                    <a:pt x="0" y="0"/>
                  </a:lnTo>
                  <a:lnTo>
                    <a:pt x="0" y="725353"/>
                  </a:lnTo>
                  <a:lnTo>
                    <a:pt x="2954792" y="725353"/>
                  </a:lnTo>
                  <a:lnTo>
                    <a:pt x="2954792" y="719257"/>
                  </a:lnTo>
                  <a:lnTo>
                    <a:pt x="13716" y="719257"/>
                  </a:lnTo>
                  <a:lnTo>
                    <a:pt x="7620" y="713174"/>
                  </a:lnTo>
                  <a:lnTo>
                    <a:pt x="13716" y="713174"/>
                  </a:lnTo>
                  <a:lnTo>
                    <a:pt x="13716" y="12192"/>
                  </a:lnTo>
                  <a:lnTo>
                    <a:pt x="7620" y="12192"/>
                  </a:lnTo>
                  <a:lnTo>
                    <a:pt x="13716" y="6096"/>
                  </a:lnTo>
                  <a:lnTo>
                    <a:pt x="2954792" y="6096"/>
                  </a:lnTo>
                  <a:lnTo>
                    <a:pt x="2954792" y="0"/>
                  </a:lnTo>
                  <a:close/>
                </a:path>
                <a:path w="2955290" h="725804">
                  <a:moveTo>
                    <a:pt x="13716" y="713174"/>
                  </a:moveTo>
                  <a:lnTo>
                    <a:pt x="7620" y="713174"/>
                  </a:lnTo>
                  <a:lnTo>
                    <a:pt x="13716" y="719257"/>
                  </a:lnTo>
                  <a:lnTo>
                    <a:pt x="13716" y="713174"/>
                  </a:lnTo>
                  <a:close/>
                </a:path>
                <a:path w="2955290" h="725804">
                  <a:moveTo>
                    <a:pt x="2942600" y="713174"/>
                  </a:moveTo>
                  <a:lnTo>
                    <a:pt x="13716" y="713174"/>
                  </a:lnTo>
                  <a:lnTo>
                    <a:pt x="13716" y="719257"/>
                  </a:lnTo>
                  <a:lnTo>
                    <a:pt x="2942600" y="719257"/>
                  </a:lnTo>
                  <a:lnTo>
                    <a:pt x="2942600" y="713174"/>
                  </a:lnTo>
                  <a:close/>
                </a:path>
                <a:path w="2955290" h="725804">
                  <a:moveTo>
                    <a:pt x="2942600" y="6096"/>
                  </a:moveTo>
                  <a:lnTo>
                    <a:pt x="2942600" y="719257"/>
                  </a:lnTo>
                  <a:lnTo>
                    <a:pt x="2948696" y="713174"/>
                  </a:lnTo>
                  <a:lnTo>
                    <a:pt x="2954792" y="713174"/>
                  </a:lnTo>
                  <a:lnTo>
                    <a:pt x="2954792" y="12192"/>
                  </a:lnTo>
                  <a:lnTo>
                    <a:pt x="2948696" y="12192"/>
                  </a:lnTo>
                  <a:lnTo>
                    <a:pt x="2942600" y="6096"/>
                  </a:lnTo>
                  <a:close/>
                </a:path>
                <a:path w="2955290" h="725804">
                  <a:moveTo>
                    <a:pt x="2954792" y="713174"/>
                  </a:moveTo>
                  <a:lnTo>
                    <a:pt x="2948696" y="713174"/>
                  </a:lnTo>
                  <a:lnTo>
                    <a:pt x="2942600" y="719257"/>
                  </a:lnTo>
                  <a:lnTo>
                    <a:pt x="2954792" y="719257"/>
                  </a:lnTo>
                  <a:lnTo>
                    <a:pt x="2954792" y="713174"/>
                  </a:lnTo>
                  <a:close/>
                </a:path>
                <a:path w="2955290" h="725804">
                  <a:moveTo>
                    <a:pt x="13716" y="6096"/>
                  </a:moveTo>
                  <a:lnTo>
                    <a:pt x="7620" y="12192"/>
                  </a:lnTo>
                  <a:lnTo>
                    <a:pt x="13716" y="12192"/>
                  </a:lnTo>
                  <a:lnTo>
                    <a:pt x="13716" y="6096"/>
                  </a:lnTo>
                  <a:close/>
                </a:path>
                <a:path w="2955290" h="725804">
                  <a:moveTo>
                    <a:pt x="2942600" y="6096"/>
                  </a:moveTo>
                  <a:lnTo>
                    <a:pt x="13716" y="6096"/>
                  </a:lnTo>
                  <a:lnTo>
                    <a:pt x="13716" y="12192"/>
                  </a:lnTo>
                  <a:lnTo>
                    <a:pt x="2942600" y="12192"/>
                  </a:lnTo>
                  <a:lnTo>
                    <a:pt x="2942600" y="6096"/>
                  </a:lnTo>
                  <a:close/>
                </a:path>
                <a:path w="2955290" h="725804">
                  <a:moveTo>
                    <a:pt x="2954792" y="6096"/>
                  </a:moveTo>
                  <a:lnTo>
                    <a:pt x="2942600" y="6096"/>
                  </a:lnTo>
                  <a:lnTo>
                    <a:pt x="2948696" y="12192"/>
                  </a:lnTo>
                  <a:lnTo>
                    <a:pt x="2954792" y="12192"/>
                  </a:lnTo>
                  <a:lnTo>
                    <a:pt x="2954792" y="6096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3767541" y="3944304"/>
              <a:ext cx="2947670" cy="760730"/>
            </a:xfrm>
            <a:custGeom>
              <a:avLst/>
              <a:gdLst/>
              <a:ahLst/>
              <a:cxnLst/>
              <a:rect l="l" t="t" r="r" b="b"/>
              <a:pathLst>
                <a:path w="2947670" h="760729">
                  <a:moveTo>
                    <a:pt x="2947165" y="0"/>
                  </a:moveTo>
                  <a:lnTo>
                    <a:pt x="0" y="0"/>
                  </a:lnTo>
                  <a:lnTo>
                    <a:pt x="0" y="760405"/>
                  </a:lnTo>
                  <a:lnTo>
                    <a:pt x="2947165" y="760405"/>
                  </a:lnTo>
                  <a:lnTo>
                    <a:pt x="2947165" y="0"/>
                  </a:lnTo>
                  <a:close/>
                </a:path>
              </a:pathLst>
            </a:custGeom>
            <a:solidFill>
              <a:srgbClr val="F1E8D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3755349" y="3930578"/>
              <a:ext cx="2971800" cy="786765"/>
            </a:xfrm>
            <a:custGeom>
              <a:avLst/>
              <a:gdLst/>
              <a:ahLst/>
              <a:cxnLst/>
              <a:rect l="l" t="t" r="r" b="b"/>
              <a:pathLst>
                <a:path w="2971800" h="786764">
                  <a:moveTo>
                    <a:pt x="2971525" y="0"/>
                  </a:moveTo>
                  <a:lnTo>
                    <a:pt x="0" y="0"/>
                  </a:lnTo>
                  <a:lnTo>
                    <a:pt x="0" y="786323"/>
                  </a:lnTo>
                  <a:lnTo>
                    <a:pt x="2971525" y="786323"/>
                  </a:lnTo>
                  <a:lnTo>
                    <a:pt x="2971525" y="774131"/>
                  </a:lnTo>
                  <a:lnTo>
                    <a:pt x="25908" y="774131"/>
                  </a:lnTo>
                  <a:lnTo>
                    <a:pt x="12192" y="760415"/>
                  </a:lnTo>
                  <a:lnTo>
                    <a:pt x="25908" y="760415"/>
                  </a:lnTo>
                  <a:lnTo>
                    <a:pt x="25908" y="25908"/>
                  </a:lnTo>
                  <a:lnTo>
                    <a:pt x="12192" y="25908"/>
                  </a:lnTo>
                  <a:lnTo>
                    <a:pt x="25908" y="13716"/>
                  </a:lnTo>
                  <a:lnTo>
                    <a:pt x="2971525" y="13716"/>
                  </a:lnTo>
                  <a:lnTo>
                    <a:pt x="2971525" y="0"/>
                  </a:lnTo>
                  <a:close/>
                </a:path>
                <a:path w="2971800" h="786764">
                  <a:moveTo>
                    <a:pt x="25908" y="760415"/>
                  </a:moveTo>
                  <a:lnTo>
                    <a:pt x="12192" y="760415"/>
                  </a:lnTo>
                  <a:lnTo>
                    <a:pt x="25908" y="774131"/>
                  </a:lnTo>
                  <a:lnTo>
                    <a:pt x="25908" y="760415"/>
                  </a:lnTo>
                  <a:close/>
                </a:path>
                <a:path w="2971800" h="786764">
                  <a:moveTo>
                    <a:pt x="2945617" y="760415"/>
                  </a:moveTo>
                  <a:lnTo>
                    <a:pt x="25908" y="760415"/>
                  </a:lnTo>
                  <a:lnTo>
                    <a:pt x="25908" y="774131"/>
                  </a:lnTo>
                  <a:lnTo>
                    <a:pt x="2945617" y="774131"/>
                  </a:lnTo>
                  <a:lnTo>
                    <a:pt x="2945617" y="760415"/>
                  </a:lnTo>
                  <a:close/>
                </a:path>
                <a:path w="2971800" h="786764">
                  <a:moveTo>
                    <a:pt x="2945617" y="13716"/>
                  </a:moveTo>
                  <a:lnTo>
                    <a:pt x="2945617" y="774131"/>
                  </a:lnTo>
                  <a:lnTo>
                    <a:pt x="2959333" y="760415"/>
                  </a:lnTo>
                  <a:lnTo>
                    <a:pt x="2971525" y="760415"/>
                  </a:lnTo>
                  <a:lnTo>
                    <a:pt x="2971525" y="25908"/>
                  </a:lnTo>
                  <a:lnTo>
                    <a:pt x="2959333" y="25908"/>
                  </a:lnTo>
                  <a:lnTo>
                    <a:pt x="2945617" y="13716"/>
                  </a:lnTo>
                  <a:close/>
                </a:path>
                <a:path w="2971800" h="786764">
                  <a:moveTo>
                    <a:pt x="2971525" y="760415"/>
                  </a:moveTo>
                  <a:lnTo>
                    <a:pt x="2959333" y="760415"/>
                  </a:lnTo>
                  <a:lnTo>
                    <a:pt x="2945617" y="774131"/>
                  </a:lnTo>
                  <a:lnTo>
                    <a:pt x="2971525" y="774131"/>
                  </a:lnTo>
                  <a:lnTo>
                    <a:pt x="2971525" y="760415"/>
                  </a:lnTo>
                  <a:close/>
                </a:path>
                <a:path w="2971800" h="786764">
                  <a:moveTo>
                    <a:pt x="25908" y="13716"/>
                  </a:moveTo>
                  <a:lnTo>
                    <a:pt x="12192" y="25908"/>
                  </a:lnTo>
                  <a:lnTo>
                    <a:pt x="25908" y="25908"/>
                  </a:lnTo>
                  <a:lnTo>
                    <a:pt x="25908" y="13716"/>
                  </a:lnTo>
                  <a:close/>
                </a:path>
                <a:path w="2971800" h="786764">
                  <a:moveTo>
                    <a:pt x="2945617" y="13716"/>
                  </a:moveTo>
                  <a:lnTo>
                    <a:pt x="25908" y="13716"/>
                  </a:lnTo>
                  <a:lnTo>
                    <a:pt x="25908" y="25908"/>
                  </a:lnTo>
                  <a:lnTo>
                    <a:pt x="2945617" y="25908"/>
                  </a:lnTo>
                  <a:lnTo>
                    <a:pt x="2945617" y="13716"/>
                  </a:lnTo>
                  <a:close/>
                </a:path>
                <a:path w="2971800" h="786764">
                  <a:moveTo>
                    <a:pt x="2971525" y="13716"/>
                  </a:moveTo>
                  <a:lnTo>
                    <a:pt x="2945617" y="13716"/>
                  </a:lnTo>
                  <a:lnTo>
                    <a:pt x="2959333" y="25908"/>
                  </a:lnTo>
                  <a:lnTo>
                    <a:pt x="2971525" y="25908"/>
                  </a:lnTo>
                  <a:lnTo>
                    <a:pt x="2971525" y="13716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3830025" y="3983906"/>
              <a:ext cx="2810510" cy="701040"/>
            </a:xfrm>
            <a:custGeom>
              <a:avLst/>
              <a:gdLst/>
              <a:ahLst/>
              <a:cxnLst/>
              <a:rect l="l" t="t" r="r" b="b"/>
              <a:pathLst>
                <a:path w="2810509" h="701039">
                  <a:moveTo>
                    <a:pt x="2810018" y="0"/>
                  </a:moveTo>
                  <a:lnTo>
                    <a:pt x="0" y="0"/>
                  </a:lnTo>
                  <a:lnTo>
                    <a:pt x="0" y="700991"/>
                  </a:lnTo>
                  <a:lnTo>
                    <a:pt x="2810018" y="700991"/>
                  </a:lnTo>
                  <a:lnTo>
                    <a:pt x="2810018" y="0"/>
                  </a:lnTo>
                  <a:close/>
                </a:path>
              </a:pathLst>
            </a:custGeom>
            <a:solidFill>
              <a:srgbClr val="F1E8D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" name="object 21"/>
          <p:cNvSpPr txBox="1">
            <a:spLocks noGrp="1"/>
          </p:cNvSpPr>
          <p:nvPr>
            <p:ph type="title"/>
          </p:nvPr>
        </p:nvSpPr>
        <p:spPr>
          <a:xfrm>
            <a:off x="714700" y="627840"/>
            <a:ext cx="471678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Absences </a:t>
            </a:r>
            <a:r>
              <a:rPr dirty="0">
                <a:solidFill>
                  <a:schemeClr val="accent1"/>
                </a:solidFill>
              </a:rPr>
              <a:t>/</a:t>
            </a:r>
            <a:r>
              <a:rPr spc="-11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Attendances</a:t>
            </a:r>
          </a:p>
        </p:txBody>
      </p:sp>
      <p:sp>
        <p:nvSpPr>
          <p:cNvPr id="23" name="object 23"/>
          <p:cNvSpPr txBox="1"/>
          <p:nvPr/>
        </p:nvSpPr>
        <p:spPr>
          <a:xfrm>
            <a:off x="3767541" y="3944304"/>
            <a:ext cx="2947670" cy="469900"/>
          </a:xfrm>
          <a:prstGeom prst="rect">
            <a:avLst/>
          </a:prstGeom>
        </p:spPr>
        <p:txBody>
          <a:bodyPr vert="horz" wrap="square" lIns="0" tIns="78105" rIns="0" bIns="0" rtlCol="0">
            <a:spAutoFit/>
          </a:bodyPr>
          <a:lstStyle/>
          <a:p>
            <a:pPr marL="231140">
              <a:lnSpc>
                <a:spcPct val="100000"/>
              </a:lnSpc>
              <a:spcBef>
                <a:spcPts val="615"/>
              </a:spcBef>
            </a:pPr>
            <a:r>
              <a:rPr sz="2000" dirty="0">
                <a:latin typeface="Arial"/>
                <a:cs typeface="Arial"/>
              </a:rPr>
              <a:t>Attendance /</a:t>
            </a:r>
            <a:r>
              <a:rPr sz="2000" spc="-195" dirty="0">
                <a:latin typeface="Arial"/>
                <a:cs typeface="Arial"/>
              </a:rPr>
              <a:t> </a:t>
            </a:r>
            <a:r>
              <a:rPr sz="2000" dirty="0">
                <a:latin typeface="Arial"/>
                <a:cs typeface="Arial"/>
              </a:rPr>
              <a:t>Absence</a:t>
            </a:r>
            <a:endParaRPr sz="2000">
              <a:latin typeface="Arial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3900098" y="4413647"/>
            <a:ext cx="2814955" cy="2914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23290">
              <a:lnSpc>
                <a:spcPts val="1720"/>
              </a:lnSpc>
            </a:pPr>
            <a:r>
              <a:rPr sz="2000" dirty="0">
                <a:latin typeface="Arial"/>
                <a:cs typeface="Arial"/>
              </a:rPr>
              <a:t>Quotas</a:t>
            </a:r>
            <a:endParaRPr sz="2000">
              <a:latin typeface="Arial"/>
              <a:cs typeface="Arial"/>
            </a:endParaRPr>
          </a:p>
        </p:txBody>
      </p:sp>
      <p:grpSp>
        <p:nvGrpSpPr>
          <p:cNvPr id="25" name="object 25"/>
          <p:cNvGrpSpPr/>
          <p:nvPr/>
        </p:nvGrpSpPr>
        <p:grpSpPr>
          <a:xfrm>
            <a:off x="7203856" y="3930578"/>
            <a:ext cx="1667510" cy="786765"/>
            <a:chOff x="7203856" y="3930578"/>
            <a:chExt cx="1667510" cy="786765"/>
          </a:xfrm>
        </p:grpSpPr>
        <p:sp>
          <p:nvSpPr>
            <p:cNvPr id="26" name="object 26"/>
            <p:cNvSpPr/>
            <p:nvPr/>
          </p:nvSpPr>
          <p:spPr>
            <a:xfrm>
              <a:off x="7217572" y="3944304"/>
              <a:ext cx="1641475" cy="760730"/>
            </a:xfrm>
            <a:custGeom>
              <a:avLst/>
              <a:gdLst/>
              <a:ahLst/>
              <a:cxnLst/>
              <a:rect l="l" t="t" r="r" b="b"/>
              <a:pathLst>
                <a:path w="1641475" h="760729">
                  <a:moveTo>
                    <a:pt x="1641204" y="0"/>
                  </a:moveTo>
                  <a:lnTo>
                    <a:pt x="0" y="0"/>
                  </a:lnTo>
                  <a:lnTo>
                    <a:pt x="0" y="760405"/>
                  </a:lnTo>
                  <a:lnTo>
                    <a:pt x="1641204" y="760405"/>
                  </a:lnTo>
                  <a:lnTo>
                    <a:pt x="1641204" y="0"/>
                  </a:lnTo>
                  <a:close/>
                </a:path>
              </a:pathLst>
            </a:custGeom>
            <a:solidFill>
              <a:srgbClr val="F1E8D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7203856" y="3930578"/>
              <a:ext cx="1667510" cy="786765"/>
            </a:xfrm>
            <a:custGeom>
              <a:avLst/>
              <a:gdLst/>
              <a:ahLst/>
              <a:cxnLst/>
              <a:rect l="l" t="t" r="r" b="b"/>
              <a:pathLst>
                <a:path w="1667509" h="786764">
                  <a:moveTo>
                    <a:pt x="1667134" y="0"/>
                  </a:moveTo>
                  <a:lnTo>
                    <a:pt x="0" y="0"/>
                  </a:lnTo>
                  <a:lnTo>
                    <a:pt x="0" y="786323"/>
                  </a:lnTo>
                  <a:lnTo>
                    <a:pt x="1667134" y="786323"/>
                  </a:lnTo>
                  <a:lnTo>
                    <a:pt x="1667134" y="774131"/>
                  </a:lnTo>
                  <a:lnTo>
                    <a:pt x="25908" y="774131"/>
                  </a:lnTo>
                  <a:lnTo>
                    <a:pt x="13716" y="760415"/>
                  </a:lnTo>
                  <a:lnTo>
                    <a:pt x="25908" y="760415"/>
                  </a:lnTo>
                  <a:lnTo>
                    <a:pt x="25908" y="25908"/>
                  </a:lnTo>
                  <a:lnTo>
                    <a:pt x="13716" y="25908"/>
                  </a:lnTo>
                  <a:lnTo>
                    <a:pt x="25908" y="13716"/>
                  </a:lnTo>
                  <a:lnTo>
                    <a:pt x="1667134" y="13716"/>
                  </a:lnTo>
                  <a:lnTo>
                    <a:pt x="1667134" y="0"/>
                  </a:lnTo>
                  <a:close/>
                </a:path>
                <a:path w="1667509" h="786764">
                  <a:moveTo>
                    <a:pt x="25908" y="760415"/>
                  </a:moveTo>
                  <a:lnTo>
                    <a:pt x="13716" y="760415"/>
                  </a:lnTo>
                  <a:lnTo>
                    <a:pt x="25908" y="774131"/>
                  </a:lnTo>
                  <a:lnTo>
                    <a:pt x="25908" y="760415"/>
                  </a:lnTo>
                  <a:close/>
                </a:path>
                <a:path w="1667509" h="786764">
                  <a:moveTo>
                    <a:pt x="1641226" y="760415"/>
                  </a:moveTo>
                  <a:lnTo>
                    <a:pt x="25908" y="760415"/>
                  </a:lnTo>
                  <a:lnTo>
                    <a:pt x="25908" y="774131"/>
                  </a:lnTo>
                  <a:lnTo>
                    <a:pt x="1641226" y="774131"/>
                  </a:lnTo>
                  <a:lnTo>
                    <a:pt x="1641226" y="760415"/>
                  </a:lnTo>
                  <a:close/>
                </a:path>
                <a:path w="1667509" h="786764">
                  <a:moveTo>
                    <a:pt x="1641226" y="13716"/>
                  </a:moveTo>
                  <a:lnTo>
                    <a:pt x="1641226" y="774131"/>
                  </a:lnTo>
                  <a:lnTo>
                    <a:pt x="1654942" y="760415"/>
                  </a:lnTo>
                  <a:lnTo>
                    <a:pt x="1667134" y="760415"/>
                  </a:lnTo>
                  <a:lnTo>
                    <a:pt x="1667134" y="25908"/>
                  </a:lnTo>
                  <a:lnTo>
                    <a:pt x="1654942" y="25908"/>
                  </a:lnTo>
                  <a:lnTo>
                    <a:pt x="1641226" y="13716"/>
                  </a:lnTo>
                  <a:close/>
                </a:path>
                <a:path w="1667509" h="786764">
                  <a:moveTo>
                    <a:pt x="1667134" y="760415"/>
                  </a:moveTo>
                  <a:lnTo>
                    <a:pt x="1654942" y="760415"/>
                  </a:lnTo>
                  <a:lnTo>
                    <a:pt x="1641226" y="774131"/>
                  </a:lnTo>
                  <a:lnTo>
                    <a:pt x="1667134" y="774131"/>
                  </a:lnTo>
                  <a:lnTo>
                    <a:pt x="1667134" y="760415"/>
                  </a:lnTo>
                  <a:close/>
                </a:path>
                <a:path w="1667509" h="786764">
                  <a:moveTo>
                    <a:pt x="25908" y="13716"/>
                  </a:moveTo>
                  <a:lnTo>
                    <a:pt x="13716" y="25908"/>
                  </a:lnTo>
                  <a:lnTo>
                    <a:pt x="25908" y="25908"/>
                  </a:lnTo>
                  <a:lnTo>
                    <a:pt x="25908" y="13716"/>
                  </a:lnTo>
                  <a:close/>
                </a:path>
                <a:path w="1667509" h="786764">
                  <a:moveTo>
                    <a:pt x="1641226" y="13716"/>
                  </a:moveTo>
                  <a:lnTo>
                    <a:pt x="25908" y="13716"/>
                  </a:lnTo>
                  <a:lnTo>
                    <a:pt x="25908" y="25908"/>
                  </a:lnTo>
                  <a:lnTo>
                    <a:pt x="1641226" y="25908"/>
                  </a:lnTo>
                  <a:lnTo>
                    <a:pt x="1641226" y="13716"/>
                  </a:lnTo>
                  <a:close/>
                </a:path>
                <a:path w="1667509" h="786764">
                  <a:moveTo>
                    <a:pt x="1667134" y="13716"/>
                  </a:moveTo>
                  <a:lnTo>
                    <a:pt x="1641226" y="13716"/>
                  </a:lnTo>
                  <a:lnTo>
                    <a:pt x="1654942" y="25908"/>
                  </a:lnTo>
                  <a:lnTo>
                    <a:pt x="1667134" y="25908"/>
                  </a:lnTo>
                  <a:lnTo>
                    <a:pt x="1667134" y="13716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7280056" y="3983906"/>
              <a:ext cx="1518285" cy="701040"/>
            </a:xfrm>
            <a:custGeom>
              <a:avLst/>
              <a:gdLst/>
              <a:ahLst/>
              <a:cxnLst/>
              <a:rect l="l" t="t" r="r" b="b"/>
              <a:pathLst>
                <a:path w="1518284" h="701039">
                  <a:moveTo>
                    <a:pt x="1517785" y="0"/>
                  </a:moveTo>
                  <a:lnTo>
                    <a:pt x="0" y="0"/>
                  </a:lnTo>
                  <a:lnTo>
                    <a:pt x="0" y="700991"/>
                  </a:lnTo>
                  <a:lnTo>
                    <a:pt x="1517785" y="700991"/>
                  </a:lnTo>
                  <a:lnTo>
                    <a:pt x="1517785" y="0"/>
                  </a:lnTo>
                  <a:close/>
                </a:path>
              </a:pathLst>
            </a:custGeom>
            <a:solidFill>
              <a:srgbClr val="F1E8D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9" name="object 29"/>
          <p:cNvSpPr txBox="1"/>
          <p:nvPr/>
        </p:nvSpPr>
        <p:spPr>
          <a:xfrm>
            <a:off x="7217572" y="3944304"/>
            <a:ext cx="1641475" cy="481965"/>
          </a:xfrm>
          <a:prstGeom prst="rect">
            <a:avLst/>
          </a:prstGeom>
        </p:spPr>
        <p:txBody>
          <a:bodyPr vert="horz" wrap="square" lIns="0" tIns="78105" rIns="0" bIns="0" rtlCol="0">
            <a:spAutoFit/>
          </a:bodyPr>
          <a:lstStyle/>
          <a:p>
            <a:pPr marL="440055">
              <a:lnSpc>
                <a:spcPct val="100000"/>
              </a:lnSpc>
              <a:spcBef>
                <a:spcPts val="615"/>
              </a:spcBef>
            </a:pPr>
            <a:r>
              <a:rPr sz="2000" dirty="0">
                <a:latin typeface="Arial"/>
                <a:cs typeface="Arial"/>
              </a:rPr>
              <a:t>Leave</a:t>
            </a:r>
            <a:endParaRPr sz="2000"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7330348" y="4425839"/>
            <a:ext cx="1528445" cy="279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1120">
              <a:lnSpc>
                <a:spcPts val="1625"/>
              </a:lnSpc>
            </a:pPr>
            <a:r>
              <a:rPr sz="2000" spc="-5" dirty="0">
                <a:latin typeface="Arial"/>
                <a:cs typeface="Arial"/>
              </a:rPr>
              <a:t>Entitlement</a:t>
            </a:r>
            <a:endParaRPr sz="2000">
              <a:latin typeface="Arial"/>
              <a:cs typeface="Arial"/>
            </a:endParaRPr>
          </a:p>
        </p:txBody>
      </p:sp>
      <p:grpSp>
        <p:nvGrpSpPr>
          <p:cNvPr id="31" name="object 31"/>
          <p:cNvGrpSpPr/>
          <p:nvPr/>
        </p:nvGrpSpPr>
        <p:grpSpPr>
          <a:xfrm>
            <a:off x="1234857" y="3892479"/>
            <a:ext cx="6907530" cy="485140"/>
            <a:chOff x="1234857" y="3892479"/>
            <a:chExt cx="6907530" cy="485140"/>
          </a:xfrm>
        </p:grpSpPr>
        <p:sp>
          <p:nvSpPr>
            <p:cNvPr id="32" name="object 32"/>
            <p:cNvSpPr/>
            <p:nvPr/>
          </p:nvSpPr>
          <p:spPr>
            <a:xfrm>
              <a:off x="8000085" y="3892479"/>
              <a:ext cx="141731" cy="141731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1335429" y="3907725"/>
              <a:ext cx="1983105" cy="463550"/>
            </a:xfrm>
            <a:custGeom>
              <a:avLst/>
              <a:gdLst/>
              <a:ahLst/>
              <a:cxnLst/>
              <a:rect l="l" t="t" r="r" b="b"/>
              <a:pathLst>
                <a:path w="1983104" h="463550">
                  <a:moveTo>
                    <a:pt x="1982556" y="0"/>
                  </a:moveTo>
                  <a:lnTo>
                    <a:pt x="0" y="0"/>
                  </a:lnTo>
                  <a:lnTo>
                    <a:pt x="0" y="463259"/>
                  </a:lnTo>
                  <a:lnTo>
                    <a:pt x="1982556" y="463259"/>
                  </a:lnTo>
                  <a:lnTo>
                    <a:pt x="1982556" y="0"/>
                  </a:lnTo>
                  <a:close/>
                </a:path>
              </a:pathLst>
            </a:custGeom>
            <a:solidFill>
              <a:srgbClr val="DEBB9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1329333" y="3901622"/>
              <a:ext cx="1996439" cy="475615"/>
            </a:xfrm>
            <a:custGeom>
              <a:avLst/>
              <a:gdLst/>
              <a:ahLst/>
              <a:cxnLst/>
              <a:rect l="l" t="t" r="r" b="b"/>
              <a:pathLst>
                <a:path w="1996439" h="475614">
                  <a:moveTo>
                    <a:pt x="1996278" y="0"/>
                  </a:moveTo>
                  <a:lnTo>
                    <a:pt x="0" y="0"/>
                  </a:lnTo>
                  <a:lnTo>
                    <a:pt x="0" y="475457"/>
                  </a:lnTo>
                  <a:lnTo>
                    <a:pt x="1996278" y="475457"/>
                  </a:lnTo>
                  <a:lnTo>
                    <a:pt x="1996278" y="469361"/>
                  </a:lnTo>
                  <a:lnTo>
                    <a:pt x="13716" y="469361"/>
                  </a:lnTo>
                  <a:lnTo>
                    <a:pt x="6096" y="463265"/>
                  </a:lnTo>
                  <a:lnTo>
                    <a:pt x="13716" y="463265"/>
                  </a:lnTo>
                  <a:lnTo>
                    <a:pt x="13716" y="12192"/>
                  </a:lnTo>
                  <a:lnTo>
                    <a:pt x="6096" y="12192"/>
                  </a:lnTo>
                  <a:lnTo>
                    <a:pt x="13716" y="6096"/>
                  </a:lnTo>
                  <a:lnTo>
                    <a:pt x="1996278" y="6096"/>
                  </a:lnTo>
                  <a:lnTo>
                    <a:pt x="1996278" y="0"/>
                  </a:lnTo>
                  <a:close/>
                </a:path>
                <a:path w="1996439" h="475614">
                  <a:moveTo>
                    <a:pt x="13716" y="463265"/>
                  </a:moveTo>
                  <a:lnTo>
                    <a:pt x="6096" y="463265"/>
                  </a:lnTo>
                  <a:lnTo>
                    <a:pt x="13716" y="469361"/>
                  </a:lnTo>
                  <a:lnTo>
                    <a:pt x="13716" y="463265"/>
                  </a:lnTo>
                  <a:close/>
                </a:path>
                <a:path w="1996439" h="475614">
                  <a:moveTo>
                    <a:pt x="1982562" y="463265"/>
                  </a:moveTo>
                  <a:lnTo>
                    <a:pt x="13716" y="463265"/>
                  </a:lnTo>
                  <a:lnTo>
                    <a:pt x="13716" y="469361"/>
                  </a:lnTo>
                  <a:lnTo>
                    <a:pt x="1982562" y="469361"/>
                  </a:lnTo>
                  <a:lnTo>
                    <a:pt x="1982562" y="463265"/>
                  </a:lnTo>
                  <a:close/>
                </a:path>
                <a:path w="1996439" h="475614">
                  <a:moveTo>
                    <a:pt x="1982562" y="6096"/>
                  </a:moveTo>
                  <a:lnTo>
                    <a:pt x="1982562" y="469361"/>
                  </a:lnTo>
                  <a:lnTo>
                    <a:pt x="1988658" y="463265"/>
                  </a:lnTo>
                  <a:lnTo>
                    <a:pt x="1996278" y="463265"/>
                  </a:lnTo>
                  <a:lnTo>
                    <a:pt x="1996278" y="12192"/>
                  </a:lnTo>
                  <a:lnTo>
                    <a:pt x="1988658" y="12192"/>
                  </a:lnTo>
                  <a:lnTo>
                    <a:pt x="1982562" y="6096"/>
                  </a:lnTo>
                  <a:close/>
                </a:path>
                <a:path w="1996439" h="475614">
                  <a:moveTo>
                    <a:pt x="1996278" y="463265"/>
                  </a:moveTo>
                  <a:lnTo>
                    <a:pt x="1988658" y="463265"/>
                  </a:lnTo>
                  <a:lnTo>
                    <a:pt x="1982562" y="469361"/>
                  </a:lnTo>
                  <a:lnTo>
                    <a:pt x="1996278" y="469361"/>
                  </a:lnTo>
                  <a:lnTo>
                    <a:pt x="1996278" y="463265"/>
                  </a:lnTo>
                  <a:close/>
                </a:path>
                <a:path w="1996439" h="475614">
                  <a:moveTo>
                    <a:pt x="13716" y="6096"/>
                  </a:moveTo>
                  <a:lnTo>
                    <a:pt x="6096" y="12192"/>
                  </a:lnTo>
                  <a:lnTo>
                    <a:pt x="13716" y="12192"/>
                  </a:lnTo>
                  <a:lnTo>
                    <a:pt x="13716" y="6096"/>
                  </a:lnTo>
                  <a:close/>
                </a:path>
                <a:path w="1996439" h="475614">
                  <a:moveTo>
                    <a:pt x="1982562" y="6096"/>
                  </a:moveTo>
                  <a:lnTo>
                    <a:pt x="13716" y="6096"/>
                  </a:lnTo>
                  <a:lnTo>
                    <a:pt x="13716" y="12192"/>
                  </a:lnTo>
                  <a:lnTo>
                    <a:pt x="1982562" y="12192"/>
                  </a:lnTo>
                  <a:lnTo>
                    <a:pt x="1982562" y="6096"/>
                  </a:lnTo>
                  <a:close/>
                </a:path>
                <a:path w="1996439" h="475614">
                  <a:moveTo>
                    <a:pt x="1996278" y="6096"/>
                  </a:moveTo>
                  <a:lnTo>
                    <a:pt x="1982562" y="6096"/>
                  </a:lnTo>
                  <a:lnTo>
                    <a:pt x="1988658" y="12192"/>
                  </a:lnTo>
                  <a:lnTo>
                    <a:pt x="1996278" y="12192"/>
                  </a:lnTo>
                  <a:lnTo>
                    <a:pt x="1996278" y="6096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1247049" y="3892479"/>
              <a:ext cx="1878964" cy="236220"/>
            </a:xfrm>
            <a:custGeom>
              <a:avLst/>
              <a:gdLst/>
              <a:ahLst/>
              <a:cxnLst/>
              <a:rect l="l" t="t" r="r" b="b"/>
              <a:pathLst>
                <a:path w="1878964" h="236220">
                  <a:moveTo>
                    <a:pt x="0" y="236189"/>
                  </a:moveTo>
                  <a:lnTo>
                    <a:pt x="1878936" y="236189"/>
                  </a:lnTo>
                  <a:lnTo>
                    <a:pt x="1878936" y="0"/>
                  </a:lnTo>
                  <a:lnTo>
                    <a:pt x="0" y="0"/>
                  </a:lnTo>
                  <a:lnTo>
                    <a:pt x="0" y="236189"/>
                  </a:lnTo>
                  <a:close/>
                </a:path>
              </a:pathLst>
            </a:custGeom>
            <a:solidFill>
              <a:srgbClr val="F1E8D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1234857" y="3892479"/>
              <a:ext cx="1905000" cy="248920"/>
            </a:xfrm>
            <a:custGeom>
              <a:avLst/>
              <a:gdLst/>
              <a:ahLst/>
              <a:cxnLst/>
              <a:rect l="l" t="t" r="r" b="b"/>
              <a:pathLst>
                <a:path w="1905000" h="248920">
                  <a:moveTo>
                    <a:pt x="24384" y="0"/>
                  </a:moveTo>
                  <a:lnTo>
                    <a:pt x="0" y="0"/>
                  </a:lnTo>
                  <a:lnTo>
                    <a:pt x="0" y="248381"/>
                  </a:lnTo>
                  <a:lnTo>
                    <a:pt x="1904826" y="248381"/>
                  </a:lnTo>
                  <a:lnTo>
                    <a:pt x="1904826" y="236189"/>
                  </a:lnTo>
                  <a:lnTo>
                    <a:pt x="24384" y="236189"/>
                  </a:lnTo>
                  <a:lnTo>
                    <a:pt x="12192" y="222503"/>
                  </a:lnTo>
                  <a:lnTo>
                    <a:pt x="24384" y="222503"/>
                  </a:lnTo>
                  <a:lnTo>
                    <a:pt x="24384" y="0"/>
                  </a:lnTo>
                  <a:close/>
                </a:path>
                <a:path w="1905000" h="248920">
                  <a:moveTo>
                    <a:pt x="24384" y="222503"/>
                  </a:moveTo>
                  <a:lnTo>
                    <a:pt x="12192" y="222503"/>
                  </a:lnTo>
                  <a:lnTo>
                    <a:pt x="24384" y="236189"/>
                  </a:lnTo>
                  <a:lnTo>
                    <a:pt x="24384" y="222503"/>
                  </a:lnTo>
                  <a:close/>
                </a:path>
                <a:path w="1905000" h="248920">
                  <a:moveTo>
                    <a:pt x="1878948" y="222503"/>
                  </a:moveTo>
                  <a:lnTo>
                    <a:pt x="24384" y="222503"/>
                  </a:lnTo>
                  <a:lnTo>
                    <a:pt x="24384" y="236189"/>
                  </a:lnTo>
                  <a:lnTo>
                    <a:pt x="1878948" y="236189"/>
                  </a:lnTo>
                  <a:lnTo>
                    <a:pt x="1878948" y="222503"/>
                  </a:lnTo>
                  <a:close/>
                </a:path>
                <a:path w="1905000" h="248920">
                  <a:moveTo>
                    <a:pt x="1904826" y="0"/>
                  </a:moveTo>
                  <a:lnTo>
                    <a:pt x="1878948" y="0"/>
                  </a:lnTo>
                  <a:lnTo>
                    <a:pt x="1878948" y="236189"/>
                  </a:lnTo>
                  <a:lnTo>
                    <a:pt x="1891140" y="222503"/>
                  </a:lnTo>
                  <a:lnTo>
                    <a:pt x="1904826" y="222503"/>
                  </a:lnTo>
                  <a:lnTo>
                    <a:pt x="1904826" y="0"/>
                  </a:lnTo>
                  <a:close/>
                </a:path>
                <a:path w="1905000" h="248920">
                  <a:moveTo>
                    <a:pt x="1904826" y="222503"/>
                  </a:moveTo>
                  <a:lnTo>
                    <a:pt x="1891140" y="222503"/>
                  </a:lnTo>
                  <a:lnTo>
                    <a:pt x="1878948" y="236189"/>
                  </a:lnTo>
                  <a:lnTo>
                    <a:pt x="1904826" y="236189"/>
                  </a:lnTo>
                  <a:lnTo>
                    <a:pt x="1904826" y="222503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7" name="object 37"/>
          <p:cNvSpPr txBox="1"/>
          <p:nvPr/>
        </p:nvSpPr>
        <p:spPr>
          <a:xfrm>
            <a:off x="1335429" y="3907725"/>
            <a:ext cx="1790700" cy="220979"/>
          </a:xfrm>
          <a:prstGeom prst="rect">
            <a:avLst/>
          </a:prstGeom>
          <a:solidFill>
            <a:srgbClr val="F1E8D4"/>
          </a:solidFill>
        </p:spPr>
        <p:txBody>
          <a:bodyPr vert="horz" wrap="square" lIns="0" tIns="0" rIns="0" bIns="0" rtlCol="0">
            <a:spAutoFit/>
          </a:bodyPr>
          <a:lstStyle/>
          <a:p>
            <a:pPr marL="281305">
              <a:lnSpc>
                <a:spcPts val="1739"/>
              </a:lnSpc>
            </a:pPr>
            <a:r>
              <a:rPr sz="2000" dirty="0">
                <a:latin typeface="Arial"/>
                <a:cs typeface="Arial"/>
              </a:rPr>
              <a:t>Absences</a:t>
            </a:r>
            <a:endParaRPr sz="2000">
              <a:latin typeface="Arial"/>
              <a:cs typeface="Arial"/>
            </a:endParaRPr>
          </a:p>
        </p:txBody>
      </p:sp>
      <p:grpSp>
        <p:nvGrpSpPr>
          <p:cNvPr id="38" name="object 38"/>
          <p:cNvGrpSpPr/>
          <p:nvPr/>
        </p:nvGrpSpPr>
        <p:grpSpPr>
          <a:xfrm>
            <a:off x="1234857" y="3892479"/>
            <a:ext cx="2449195" cy="1233170"/>
            <a:chOff x="1234857" y="3892479"/>
            <a:chExt cx="2449195" cy="1233170"/>
          </a:xfrm>
        </p:grpSpPr>
        <p:sp>
          <p:nvSpPr>
            <p:cNvPr id="39" name="object 39"/>
            <p:cNvSpPr/>
            <p:nvPr/>
          </p:nvSpPr>
          <p:spPr>
            <a:xfrm>
              <a:off x="3301227" y="3892479"/>
              <a:ext cx="365760" cy="384175"/>
            </a:xfrm>
            <a:custGeom>
              <a:avLst/>
              <a:gdLst/>
              <a:ahLst/>
              <a:cxnLst/>
              <a:rect l="l" t="t" r="r" b="b"/>
              <a:pathLst>
                <a:path w="365760" h="384175">
                  <a:moveTo>
                    <a:pt x="196810" y="0"/>
                  </a:moveTo>
                  <a:lnTo>
                    <a:pt x="182849" y="0"/>
                  </a:lnTo>
                  <a:lnTo>
                    <a:pt x="182849" y="83819"/>
                  </a:lnTo>
                  <a:lnTo>
                    <a:pt x="0" y="83819"/>
                  </a:lnTo>
                  <a:lnTo>
                    <a:pt x="0" y="283433"/>
                  </a:lnTo>
                  <a:lnTo>
                    <a:pt x="182849" y="283433"/>
                  </a:lnTo>
                  <a:lnTo>
                    <a:pt x="182849" y="384017"/>
                  </a:lnTo>
                  <a:lnTo>
                    <a:pt x="365729" y="184403"/>
                  </a:lnTo>
                  <a:lnTo>
                    <a:pt x="19681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0"/>
            <p:cNvSpPr/>
            <p:nvPr/>
          </p:nvSpPr>
          <p:spPr>
            <a:xfrm>
              <a:off x="3289035" y="3892479"/>
              <a:ext cx="394970" cy="416559"/>
            </a:xfrm>
            <a:custGeom>
              <a:avLst/>
              <a:gdLst/>
              <a:ahLst/>
              <a:cxnLst/>
              <a:rect l="l" t="t" r="r" b="b"/>
              <a:pathLst>
                <a:path w="394970" h="416560">
                  <a:moveTo>
                    <a:pt x="181325" y="283433"/>
                  </a:moveTo>
                  <a:lnTo>
                    <a:pt x="181325" y="416021"/>
                  </a:lnTo>
                  <a:lnTo>
                    <a:pt x="210806" y="384017"/>
                  </a:lnTo>
                  <a:lnTo>
                    <a:pt x="207233" y="384017"/>
                  </a:lnTo>
                  <a:lnTo>
                    <a:pt x="185897" y="374873"/>
                  </a:lnTo>
                  <a:lnTo>
                    <a:pt x="207233" y="351389"/>
                  </a:lnTo>
                  <a:lnTo>
                    <a:pt x="207233" y="295625"/>
                  </a:lnTo>
                  <a:lnTo>
                    <a:pt x="195041" y="295625"/>
                  </a:lnTo>
                  <a:lnTo>
                    <a:pt x="181325" y="283433"/>
                  </a:lnTo>
                  <a:close/>
                </a:path>
                <a:path w="394970" h="416560">
                  <a:moveTo>
                    <a:pt x="207233" y="351389"/>
                  </a:moveTo>
                  <a:lnTo>
                    <a:pt x="185897" y="374873"/>
                  </a:lnTo>
                  <a:lnTo>
                    <a:pt x="207233" y="384017"/>
                  </a:lnTo>
                  <a:lnTo>
                    <a:pt x="207233" y="351389"/>
                  </a:lnTo>
                  <a:close/>
                </a:path>
                <a:path w="394970" h="416560">
                  <a:moveTo>
                    <a:pt x="359609" y="183673"/>
                  </a:moveTo>
                  <a:lnTo>
                    <a:pt x="207233" y="351389"/>
                  </a:lnTo>
                  <a:lnTo>
                    <a:pt x="207233" y="384017"/>
                  </a:lnTo>
                  <a:lnTo>
                    <a:pt x="210806" y="384017"/>
                  </a:lnTo>
                  <a:lnTo>
                    <a:pt x="387666" y="192023"/>
                  </a:lnTo>
                  <a:lnTo>
                    <a:pt x="367253" y="192023"/>
                  </a:lnTo>
                  <a:lnTo>
                    <a:pt x="359609" y="183673"/>
                  </a:lnTo>
                  <a:close/>
                </a:path>
                <a:path w="394970" h="416560">
                  <a:moveTo>
                    <a:pt x="181325" y="71627"/>
                  </a:moveTo>
                  <a:lnTo>
                    <a:pt x="0" y="71627"/>
                  </a:lnTo>
                  <a:lnTo>
                    <a:pt x="0" y="295625"/>
                  </a:lnTo>
                  <a:lnTo>
                    <a:pt x="181325" y="295625"/>
                  </a:lnTo>
                  <a:lnTo>
                    <a:pt x="181325" y="283433"/>
                  </a:lnTo>
                  <a:lnTo>
                    <a:pt x="24384" y="283433"/>
                  </a:lnTo>
                  <a:lnTo>
                    <a:pt x="12192" y="271241"/>
                  </a:lnTo>
                  <a:lnTo>
                    <a:pt x="24384" y="271241"/>
                  </a:lnTo>
                  <a:lnTo>
                    <a:pt x="24384" y="97535"/>
                  </a:lnTo>
                  <a:lnTo>
                    <a:pt x="12192" y="97535"/>
                  </a:lnTo>
                  <a:lnTo>
                    <a:pt x="24384" y="83819"/>
                  </a:lnTo>
                  <a:lnTo>
                    <a:pt x="181325" y="83819"/>
                  </a:lnTo>
                  <a:lnTo>
                    <a:pt x="181325" y="71627"/>
                  </a:lnTo>
                  <a:close/>
                </a:path>
                <a:path w="394970" h="416560">
                  <a:moveTo>
                    <a:pt x="207233" y="271241"/>
                  </a:moveTo>
                  <a:lnTo>
                    <a:pt x="24384" y="271241"/>
                  </a:lnTo>
                  <a:lnTo>
                    <a:pt x="24384" y="283433"/>
                  </a:lnTo>
                  <a:lnTo>
                    <a:pt x="181325" y="283433"/>
                  </a:lnTo>
                  <a:lnTo>
                    <a:pt x="195041" y="295625"/>
                  </a:lnTo>
                  <a:lnTo>
                    <a:pt x="207233" y="295625"/>
                  </a:lnTo>
                  <a:lnTo>
                    <a:pt x="207233" y="271241"/>
                  </a:lnTo>
                  <a:close/>
                </a:path>
                <a:path w="394970" h="416560">
                  <a:moveTo>
                    <a:pt x="24384" y="271241"/>
                  </a:moveTo>
                  <a:lnTo>
                    <a:pt x="12192" y="271241"/>
                  </a:lnTo>
                  <a:lnTo>
                    <a:pt x="24384" y="283433"/>
                  </a:lnTo>
                  <a:lnTo>
                    <a:pt x="24384" y="271241"/>
                  </a:lnTo>
                  <a:close/>
                </a:path>
                <a:path w="394970" h="416560">
                  <a:moveTo>
                    <a:pt x="367253" y="175259"/>
                  </a:moveTo>
                  <a:lnTo>
                    <a:pt x="359609" y="183673"/>
                  </a:lnTo>
                  <a:lnTo>
                    <a:pt x="367253" y="192023"/>
                  </a:lnTo>
                  <a:lnTo>
                    <a:pt x="367253" y="175259"/>
                  </a:lnTo>
                  <a:close/>
                </a:path>
                <a:path w="394970" h="416560">
                  <a:moveTo>
                    <a:pt x="386263" y="175259"/>
                  </a:moveTo>
                  <a:lnTo>
                    <a:pt x="367253" y="175259"/>
                  </a:lnTo>
                  <a:lnTo>
                    <a:pt x="367253" y="192023"/>
                  </a:lnTo>
                  <a:lnTo>
                    <a:pt x="387666" y="192023"/>
                  </a:lnTo>
                  <a:lnTo>
                    <a:pt x="394685" y="184403"/>
                  </a:lnTo>
                  <a:lnTo>
                    <a:pt x="386263" y="175259"/>
                  </a:lnTo>
                  <a:close/>
                </a:path>
                <a:path w="394970" h="416560">
                  <a:moveTo>
                    <a:pt x="224839" y="0"/>
                  </a:moveTo>
                  <a:lnTo>
                    <a:pt x="207233" y="0"/>
                  </a:lnTo>
                  <a:lnTo>
                    <a:pt x="207233" y="17212"/>
                  </a:lnTo>
                  <a:lnTo>
                    <a:pt x="359609" y="183673"/>
                  </a:lnTo>
                  <a:lnTo>
                    <a:pt x="367253" y="175259"/>
                  </a:lnTo>
                  <a:lnTo>
                    <a:pt x="386263" y="175259"/>
                  </a:lnTo>
                  <a:lnTo>
                    <a:pt x="224839" y="0"/>
                  </a:lnTo>
                  <a:close/>
                </a:path>
                <a:path w="394970" h="416560">
                  <a:moveTo>
                    <a:pt x="24384" y="83819"/>
                  </a:moveTo>
                  <a:lnTo>
                    <a:pt x="12192" y="97535"/>
                  </a:lnTo>
                  <a:lnTo>
                    <a:pt x="24384" y="97535"/>
                  </a:lnTo>
                  <a:lnTo>
                    <a:pt x="24384" y="83819"/>
                  </a:lnTo>
                  <a:close/>
                </a:path>
                <a:path w="394970" h="416560">
                  <a:moveTo>
                    <a:pt x="207233" y="71627"/>
                  </a:moveTo>
                  <a:lnTo>
                    <a:pt x="195041" y="71627"/>
                  </a:lnTo>
                  <a:lnTo>
                    <a:pt x="181325" y="83819"/>
                  </a:lnTo>
                  <a:lnTo>
                    <a:pt x="24384" y="83819"/>
                  </a:lnTo>
                  <a:lnTo>
                    <a:pt x="24384" y="97535"/>
                  </a:lnTo>
                  <a:lnTo>
                    <a:pt x="207233" y="97535"/>
                  </a:lnTo>
                  <a:lnTo>
                    <a:pt x="207233" y="71627"/>
                  </a:lnTo>
                  <a:close/>
                </a:path>
                <a:path w="394970" h="416560">
                  <a:moveTo>
                    <a:pt x="191477" y="0"/>
                  </a:moveTo>
                  <a:lnTo>
                    <a:pt x="181325" y="0"/>
                  </a:lnTo>
                  <a:lnTo>
                    <a:pt x="181325" y="83819"/>
                  </a:lnTo>
                  <a:lnTo>
                    <a:pt x="195041" y="71627"/>
                  </a:lnTo>
                  <a:lnTo>
                    <a:pt x="207233" y="71627"/>
                  </a:lnTo>
                  <a:lnTo>
                    <a:pt x="207233" y="17212"/>
                  </a:lnTo>
                  <a:lnTo>
                    <a:pt x="191477" y="0"/>
                  </a:lnTo>
                  <a:close/>
                </a:path>
                <a:path w="394970" h="416560">
                  <a:moveTo>
                    <a:pt x="207233" y="0"/>
                  </a:moveTo>
                  <a:lnTo>
                    <a:pt x="191477" y="0"/>
                  </a:lnTo>
                  <a:lnTo>
                    <a:pt x="207233" y="17212"/>
                  </a:lnTo>
                  <a:lnTo>
                    <a:pt x="207233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/>
            <p:cNvSpPr/>
            <p:nvPr/>
          </p:nvSpPr>
          <p:spPr>
            <a:xfrm>
              <a:off x="1335429" y="4654427"/>
              <a:ext cx="1983105" cy="464820"/>
            </a:xfrm>
            <a:custGeom>
              <a:avLst/>
              <a:gdLst/>
              <a:ahLst/>
              <a:cxnLst/>
              <a:rect l="l" t="t" r="r" b="b"/>
              <a:pathLst>
                <a:path w="1983104" h="464820">
                  <a:moveTo>
                    <a:pt x="1982556" y="0"/>
                  </a:moveTo>
                  <a:lnTo>
                    <a:pt x="0" y="0"/>
                  </a:lnTo>
                  <a:lnTo>
                    <a:pt x="0" y="464783"/>
                  </a:lnTo>
                  <a:lnTo>
                    <a:pt x="1982556" y="464783"/>
                  </a:lnTo>
                  <a:lnTo>
                    <a:pt x="1982556" y="0"/>
                  </a:lnTo>
                  <a:close/>
                </a:path>
              </a:pathLst>
            </a:custGeom>
            <a:solidFill>
              <a:srgbClr val="DEBB9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1329333" y="4648321"/>
              <a:ext cx="1996439" cy="477520"/>
            </a:xfrm>
            <a:custGeom>
              <a:avLst/>
              <a:gdLst/>
              <a:ahLst/>
              <a:cxnLst/>
              <a:rect l="l" t="t" r="r" b="b"/>
              <a:pathLst>
                <a:path w="1996439" h="477520">
                  <a:moveTo>
                    <a:pt x="1996278" y="0"/>
                  </a:moveTo>
                  <a:lnTo>
                    <a:pt x="0" y="0"/>
                  </a:lnTo>
                  <a:lnTo>
                    <a:pt x="0" y="476972"/>
                  </a:lnTo>
                  <a:lnTo>
                    <a:pt x="1996278" y="476972"/>
                  </a:lnTo>
                  <a:lnTo>
                    <a:pt x="1996278" y="470888"/>
                  </a:lnTo>
                  <a:lnTo>
                    <a:pt x="13716" y="470888"/>
                  </a:lnTo>
                  <a:lnTo>
                    <a:pt x="6096" y="463268"/>
                  </a:lnTo>
                  <a:lnTo>
                    <a:pt x="13716" y="463268"/>
                  </a:lnTo>
                  <a:lnTo>
                    <a:pt x="13716" y="13716"/>
                  </a:lnTo>
                  <a:lnTo>
                    <a:pt x="6096" y="13716"/>
                  </a:lnTo>
                  <a:lnTo>
                    <a:pt x="13716" y="6096"/>
                  </a:lnTo>
                  <a:lnTo>
                    <a:pt x="1996278" y="6096"/>
                  </a:lnTo>
                  <a:lnTo>
                    <a:pt x="1996278" y="0"/>
                  </a:lnTo>
                  <a:close/>
                </a:path>
                <a:path w="1996439" h="477520">
                  <a:moveTo>
                    <a:pt x="13716" y="463268"/>
                  </a:moveTo>
                  <a:lnTo>
                    <a:pt x="6096" y="463268"/>
                  </a:lnTo>
                  <a:lnTo>
                    <a:pt x="13716" y="470888"/>
                  </a:lnTo>
                  <a:lnTo>
                    <a:pt x="13716" y="463268"/>
                  </a:lnTo>
                  <a:close/>
                </a:path>
                <a:path w="1996439" h="477520">
                  <a:moveTo>
                    <a:pt x="1982562" y="463268"/>
                  </a:moveTo>
                  <a:lnTo>
                    <a:pt x="13716" y="463268"/>
                  </a:lnTo>
                  <a:lnTo>
                    <a:pt x="13716" y="470888"/>
                  </a:lnTo>
                  <a:lnTo>
                    <a:pt x="1982562" y="470888"/>
                  </a:lnTo>
                  <a:lnTo>
                    <a:pt x="1982562" y="463268"/>
                  </a:lnTo>
                  <a:close/>
                </a:path>
                <a:path w="1996439" h="477520">
                  <a:moveTo>
                    <a:pt x="1982562" y="6096"/>
                  </a:moveTo>
                  <a:lnTo>
                    <a:pt x="1982562" y="470888"/>
                  </a:lnTo>
                  <a:lnTo>
                    <a:pt x="1988658" y="463268"/>
                  </a:lnTo>
                  <a:lnTo>
                    <a:pt x="1996278" y="463268"/>
                  </a:lnTo>
                  <a:lnTo>
                    <a:pt x="1996278" y="13716"/>
                  </a:lnTo>
                  <a:lnTo>
                    <a:pt x="1988658" y="13716"/>
                  </a:lnTo>
                  <a:lnTo>
                    <a:pt x="1982562" y="6096"/>
                  </a:lnTo>
                  <a:close/>
                </a:path>
                <a:path w="1996439" h="477520">
                  <a:moveTo>
                    <a:pt x="1996278" y="463268"/>
                  </a:moveTo>
                  <a:lnTo>
                    <a:pt x="1988658" y="463268"/>
                  </a:lnTo>
                  <a:lnTo>
                    <a:pt x="1982562" y="470888"/>
                  </a:lnTo>
                  <a:lnTo>
                    <a:pt x="1996278" y="470888"/>
                  </a:lnTo>
                  <a:lnTo>
                    <a:pt x="1996278" y="463268"/>
                  </a:lnTo>
                  <a:close/>
                </a:path>
                <a:path w="1996439" h="477520">
                  <a:moveTo>
                    <a:pt x="13716" y="6096"/>
                  </a:moveTo>
                  <a:lnTo>
                    <a:pt x="6096" y="13716"/>
                  </a:lnTo>
                  <a:lnTo>
                    <a:pt x="13716" y="13716"/>
                  </a:lnTo>
                  <a:lnTo>
                    <a:pt x="13716" y="6096"/>
                  </a:lnTo>
                  <a:close/>
                </a:path>
                <a:path w="1996439" h="477520">
                  <a:moveTo>
                    <a:pt x="1982562" y="6096"/>
                  </a:moveTo>
                  <a:lnTo>
                    <a:pt x="13716" y="6096"/>
                  </a:lnTo>
                  <a:lnTo>
                    <a:pt x="13716" y="13716"/>
                  </a:lnTo>
                  <a:lnTo>
                    <a:pt x="1982562" y="13716"/>
                  </a:lnTo>
                  <a:lnTo>
                    <a:pt x="1982562" y="6096"/>
                  </a:lnTo>
                  <a:close/>
                </a:path>
                <a:path w="1996439" h="477520">
                  <a:moveTo>
                    <a:pt x="1996278" y="6096"/>
                  </a:moveTo>
                  <a:lnTo>
                    <a:pt x="1982562" y="6096"/>
                  </a:lnTo>
                  <a:lnTo>
                    <a:pt x="1988658" y="13716"/>
                  </a:lnTo>
                  <a:lnTo>
                    <a:pt x="1996278" y="13716"/>
                  </a:lnTo>
                  <a:lnTo>
                    <a:pt x="1996278" y="6096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3"/>
            <p:cNvSpPr/>
            <p:nvPr/>
          </p:nvSpPr>
          <p:spPr>
            <a:xfrm>
              <a:off x="1247049" y="4492895"/>
              <a:ext cx="1878964" cy="382905"/>
            </a:xfrm>
            <a:custGeom>
              <a:avLst/>
              <a:gdLst/>
              <a:ahLst/>
              <a:cxnLst/>
              <a:rect l="l" t="t" r="r" b="b"/>
              <a:pathLst>
                <a:path w="1878964" h="382904">
                  <a:moveTo>
                    <a:pt x="1878936" y="0"/>
                  </a:moveTo>
                  <a:lnTo>
                    <a:pt x="0" y="0"/>
                  </a:lnTo>
                  <a:lnTo>
                    <a:pt x="0" y="382487"/>
                  </a:lnTo>
                  <a:lnTo>
                    <a:pt x="1878936" y="382487"/>
                  </a:lnTo>
                  <a:lnTo>
                    <a:pt x="1878936" y="0"/>
                  </a:lnTo>
                  <a:close/>
                </a:path>
              </a:pathLst>
            </a:custGeom>
            <a:solidFill>
              <a:srgbClr val="F1E8D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4"/>
            <p:cNvSpPr/>
            <p:nvPr/>
          </p:nvSpPr>
          <p:spPr>
            <a:xfrm>
              <a:off x="1234857" y="4480712"/>
              <a:ext cx="1905000" cy="408940"/>
            </a:xfrm>
            <a:custGeom>
              <a:avLst/>
              <a:gdLst/>
              <a:ahLst/>
              <a:cxnLst/>
              <a:rect l="l" t="t" r="r" b="b"/>
              <a:pathLst>
                <a:path w="1905000" h="408939">
                  <a:moveTo>
                    <a:pt x="1904826" y="0"/>
                  </a:moveTo>
                  <a:lnTo>
                    <a:pt x="0" y="0"/>
                  </a:lnTo>
                  <a:lnTo>
                    <a:pt x="0" y="408386"/>
                  </a:lnTo>
                  <a:lnTo>
                    <a:pt x="1904826" y="408386"/>
                  </a:lnTo>
                  <a:lnTo>
                    <a:pt x="1904826" y="394670"/>
                  </a:lnTo>
                  <a:lnTo>
                    <a:pt x="24384" y="394670"/>
                  </a:lnTo>
                  <a:lnTo>
                    <a:pt x="12192" y="382478"/>
                  </a:lnTo>
                  <a:lnTo>
                    <a:pt x="24384" y="382478"/>
                  </a:lnTo>
                  <a:lnTo>
                    <a:pt x="24384" y="25908"/>
                  </a:lnTo>
                  <a:lnTo>
                    <a:pt x="12192" y="25908"/>
                  </a:lnTo>
                  <a:lnTo>
                    <a:pt x="24384" y="12192"/>
                  </a:lnTo>
                  <a:lnTo>
                    <a:pt x="1904826" y="12192"/>
                  </a:lnTo>
                  <a:lnTo>
                    <a:pt x="1904826" y="0"/>
                  </a:lnTo>
                  <a:close/>
                </a:path>
                <a:path w="1905000" h="408939">
                  <a:moveTo>
                    <a:pt x="24384" y="382478"/>
                  </a:moveTo>
                  <a:lnTo>
                    <a:pt x="12192" y="382478"/>
                  </a:lnTo>
                  <a:lnTo>
                    <a:pt x="24384" y="394670"/>
                  </a:lnTo>
                  <a:lnTo>
                    <a:pt x="24384" y="382478"/>
                  </a:lnTo>
                  <a:close/>
                </a:path>
                <a:path w="1905000" h="408939">
                  <a:moveTo>
                    <a:pt x="1878948" y="382478"/>
                  </a:moveTo>
                  <a:lnTo>
                    <a:pt x="24384" y="382478"/>
                  </a:lnTo>
                  <a:lnTo>
                    <a:pt x="24384" y="394670"/>
                  </a:lnTo>
                  <a:lnTo>
                    <a:pt x="1878948" y="394670"/>
                  </a:lnTo>
                  <a:lnTo>
                    <a:pt x="1878948" y="382478"/>
                  </a:lnTo>
                  <a:close/>
                </a:path>
                <a:path w="1905000" h="408939">
                  <a:moveTo>
                    <a:pt x="1878948" y="12192"/>
                  </a:moveTo>
                  <a:lnTo>
                    <a:pt x="1878948" y="394670"/>
                  </a:lnTo>
                  <a:lnTo>
                    <a:pt x="1891140" y="382478"/>
                  </a:lnTo>
                  <a:lnTo>
                    <a:pt x="1904826" y="382478"/>
                  </a:lnTo>
                  <a:lnTo>
                    <a:pt x="1904826" y="25908"/>
                  </a:lnTo>
                  <a:lnTo>
                    <a:pt x="1891140" y="25908"/>
                  </a:lnTo>
                  <a:lnTo>
                    <a:pt x="1878948" y="12192"/>
                  </a:lnTo>
                  <a:close/>
                </a:path>
                <a:path w="1905000" h="408939">
                  <a:moveTo>
                    <a:pt x="1904826" y="382478"/>
                  </a:moveTo>
                  <a:lnTo>
                    <a:pt x="1891140" y="382478"/>
                  </a:lnTo>
                  <a:lnTo>
                    <a:pt x="1878948" y="394670"/>
                  </a:lnTo>
                  <a:lnTo>
                    <a:pt x="1904826" y="394670"/>
                  </a:lnTo>
                  <a:lnTo>
                    <a:pt x="1904826" y="382478"/>
                  </a:lnTo>
                  <a:close/>
                </a:path>
                <a:path w="1905000" h="408939">
                  <a:moveTo>
                    <a:pt x="24384" y="12192"/>
                  </a:moveTo>
                  <a:lnTo>
                    <a:pt x="12192" y="25908"/>
                  </a:lnTo>
                  <a:lnTo>
                    <a:pt x="24384" y="25908"/>
                  </a:lnTo>
                  <a:lnTo>
                    <a:pt x="24384" y="12192"/>
                  </a:lnTo>
                  <a:close/>
                </a:path>
                <a:path w="1905000" h="408939">
                  <a:moveTo>
                    <a:pt x="1878948" y="12192"/>
                  </a:moveTo>
                  <a:lnTo>
                    <a:pt x="24384" y="12192"/>
                  </a:lnTo>
                  <a:lnTo>
                    <a:pt x="24384" y="25908"/>
                  </a:lnTo>
                  <a:lnTo>
                    <a:pt x="1878948" y="25908"/>
                  </a:lnTo>
                  <a:lnTo>
                    <a:pt x="1878948" y="12192"/>
                  </a:lnTo>
                  <a:close/>
                </a:path>
                <a:path w="1905000" h="408939">
                  <a:moveTo>
                    <a:pt x="1904826" y="12192"/>
                  </a:moveTo>
                  <a:lnTo>
                    <a:pt x="1878948" y="12192"/>
                  </a:lnTo>
                  <a:lnTo>
                    <a:pt x="1891140" y="25908"/>
                  </a:lnTo>
                  <a:lnTo>
                    <a:pt x="1904826" y="25908"/>
                  </a:lnTo>
                  <a:lnTo>
                    <a:pt x="1904826" y="1219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5" name="object 45"/>
          <p:cNvSpPr txBox="1"/>
          <p:nvPr/>
        </p:nvSpPr>
        <p:spPr>
          <a:xfrm>
            <a:off x="1335429" y="4654427"/>
            <a:ext cx="1790700" cy="220979"/>
          </a:xfrm>
          <a:prstGeom prst="rect">
            <a:avLst/>
          </a:prstGeom>
          <a:solidFill>
            <a:srgbClr val="F1E8D4"/>
          </a:solidFill>
        </p:spPr>
        <p:txBody>
          <a:bodyPr vert="horz" wrap="square" lIns="0" tIns="0" rIns="0" bIns="0" rtlCol="0">
            <a:spAutoFit/>
          </a:bodyPr>
          <a:lstStyle/>
          <a:p>
            <a:pPr marL="109220">
              <a:lnSpc>
                <a:spcPts val="1470"/>
              </a:lnSpc>
            </a:pPr>
            <a:r>
              <a:rPr sz="2000" dirty="0">
                <a:latin typeface="Arial"/>
                <a:cs typeface="Arial"/>
              </a:rPr>
              <a:t>Attendance's</a:t>
            </a:r>
            <a:endParaRPr sz="2000">
              <a:latin typeface="Arial"/>
              <a:cs typeface="Arial"/>
            </a:endParaRPr>
          </a:p>
        </p:txBody>
      </p:sp>
      <p:grpSp>
        <p:nvGrpSpPr>
          <p:cNvPr id="46" name="object 46"/>
          <p:cNvGrpSpPr/>
          <p:nvPr/>
        </p:nvGrpSpPr>
        <p:grpSpPr>
          <a:xfrm>
            <a:off x="3289036" y="4433468"/>
            <a:ext cx="394970" cy="463550"/>
            <a:chOff x="3289036" y="4433468"/>
            <a:chExt cx="394970" cy="463550"/>
          </a:xfrm>
        </p:grpSpPr>
        <p:sp>
          <p:nvSpPr>
            <p:cNvPr id="47" name="object 47"/>
            <p:cNvSpPr/>
            <p:nvPr/>
          </p:nvSpPr>
          <p:spPr>
            <a:xfrm>
              <a:off x="3301227" y="4466996"/>
              <a:ext cx="365760" cy="398145"/>
            </a:xfrm>
            <a:custGeom>
              <a:avLst/>
              <a:gdLst/>
              <a:ahLst/>
              <a:cxnLst/>
              <a:rect l="l" t="t" r="r" b="b"/>
              <a:pathLst>
                <a:path w="365760" h="398145">
                  <a:moveTo>
                    <a:pt x="182849" y="0"/>
                  </a:moveTo>
                  <a:lnTo>
                    <a:pt x="182849" y="99029"/>
                  </a:lnTo>
                  <a:lnTo>
                    <a:pt x="0" y="99029"/>
                  </a:lnTo>
                  <a:lnTo>
                    <a:pt x="0" y="298670"/>
                  </a:lnTo>
                  <a:lnTo>
                    <a:pt x="182849" y="298670"/>
                  </a:lnTo>
                  <a:lnTo>
                    <a:pt x="182849" y="397718"/>
                  </a:lnTo>
                  <a:lnTo>
                    <a:pt x="365729" y="198089"/>
                  </a:lnTo>
                  <a:lnTo>
                    <a:pt x="182849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8"/>
            <p:cNvSpPr/>
            <p:nvPr/>
          </p:nvSpPr>
          <p:spPr>
            <a:xfrm>
              <a:off x="3289036" y="4433468"/>
              <a:ext cx="394970" cy="463550"/>
            </a:xfrm>
            <a:custGeom>
              <a:avLst/>
              <a:gdLst/>
              <a:ahLst/>
              <a:cxnLst/>
              <a:rect l="l" t="t" r="r" b="b"/>
              <a:pathLst>
                <a:path w="394970" h="463550">
                  <a:moveTo>
                    <a:pt x="181325" y="332198"/>
                  </a:moveTo>
                  <a:lnTo>
                    <a:pt x="181325" y="463250"/>
                  </a:lnTo>
                  <a:lnTo>
                    <a:pt x="210804" y="431246"/>
                  </a:lnTo>
                  <a:lnTo>
                    <a:pt x="207233" y="431246"/>
                  </a:lnTo>
                  <a:lnTo>
                    <a:pt x="185897" y="422102"/>
                  </a:lnTo>
                  <a:lnTo>
                    <a:pt x="207233" y="398795"/>
                  </a:lnTo>
                  <a:lnTo>
                    <a:pt x="207233" y="344390"/>
                  </a:lnTo>
                  <a:lnTo>
                    <a:pt x="195041" y="344390"/>
                  </a:lnTo>
                  <a:lnTo>
                    <a:pt x="181325" y="332198"/>
                  </a:lnTo>
                  <a:close/>
                </a:path>
                <a:path w="394970" h="463550">
                  <a:moveTo>
                    <a:pt x="207233" y="398795"/>
                  </a:moveTo>
                  <a:lnTo>
                    <a:pt x="185897" y="422102"/>
                  </a:lnTo>
                  <a:lnTo>
                    <a:pt x="207233" y="431246"/>
                  </a:lnTo>
                  <a:lnTo>
                    <a:pt x="207233" y="398795"/>
                  </a:lnTo>
                  <a:close/>
                </a:path>
                <a:path w="394970" h="463550">
                  <a:moveTo>
                    <a:pt x="359609" y="232347"/>
                  </a:moveTo>
                  <a:lnTo>
                    <a:pt x="207233" y="398795"/>
                  </a:lnTo>
                  <a:lnTo>
                    <a:pt x="207233" y="431246"/>
                  </a:lnTo>
                  <a:lnTo>
                    <a:pt x="210804" y="431246"/>
                  </a:lnTo>
                  <a:lnTo>
                    <a:pt x="386262" y="240761"/>
                  </a:lnTo>
                  <a:lnTo>
                    <a:pt x="367253" y="240761"/>
                  </a:lnTo>
                  <a:lnTo>
                    <a:pt x="359609" y="232347"/>
                  </a:lnTo>
                  <a:close/>
                </a:path>
                <a:path w="394970" h="463550">
                  <a:moveTo>
                    <a:pt x="181325" y="120365"/>
                  </a:moveTo>
                  <a:lnTo>
                    <a:pt x="0" y="120365"/>
                  </a:lnTo>
                  <a:lnTo>
                    <a:pt x="0" y="344390"/>
                  </a:lnTo>
                  <a:lnTo>
                    <a:pt x="181325" y="344390"/>
                  </a:lnTo>
                  <a:lnTo>
                    <a:pt x="181325" y="332198"/>
                  </a:lnTo>
                  <a:lnTo>
                    <a:pt x="24384" y="332198"/>
                  </a:lnTo>
                  <a:lnTo>
                    <a:pt x="12192" y="318482"/>
                  </a:lnTo>
                  <a:lnTo>
                    <a:pt x="24384" y="318482"/>
                  </a:lnTo>
                  <a:lnTo>
                    <a:pt x="24384" y="144749"/>
                  </a:lnTo>
                  <a:lnTo>
                    <a:pt x="12192" y="144749"/>
                  </a:lnTo>
                  <a:lnTo>
                    <a:pt x="24384" y="132557"/>
                  </a:lnTo>
                  <a:lnTo>
                    <a:pt x="181325" y="132557"/>
                  </a:lnTo>
                  <a:lnTo>
                    <a:pt x="181325" y="120365"/>
                  </a:lnTo>
                  <a:close/>
                </a:path>
                <a:path w="394970" h="463550">
                  <a:moveTo>
                    <a:pt x="207233" y="318482"/>
                  </a:moveTo>
                  <a:lnTo>
                    <a:pt x="24384" y="318482"/>
                  </a:lnTo>
                  <a:lnTo>
                    <a:pt x="24384" y="332198"/>
                  </a:lnTo>
                  <a:lnTo>
                    <a:pt x="181325" y="332198"/>
                  </a:lnTo>
                  <a:lnTo>
                    <a:pt x="195041" y="344390"/>
                  </a:lnTo>
                  <a:lnTo>
                    <a:pt x="207233" y="344390"/>
                  </a:lnTo>
                  <a:lnTo>
                    <a:pt x="207233" y="318482"/>
                  </a:lnTo>
                  <a:close/>
                </a:path>
                <a:path w="394970" h="463550">
                  <a:moveTo>
                    <a:pt x="24384" y="318482"/>
                  </a:moveTo>
                  <a:lnTo>
                    <a:pt x="12192" y="318482"/>
                  </a:lnTo>
                  <a:lnTo>
                    <a:pt x="24384" y="332198"/>
                  </a:lnTo>
                  <a:lnTo>
                    <a:pt x="24384" y="318482"/>
                  </a:lnTo>
                  <a:close/>
                </a:path>
                <a:path w="394970" h="463550">
                  <a:moveTo>
                    <a:pt x="367253" y="223997"/>
                  </a:moveTo>
                  <a:lnTo>
                    <a:pt x="359609" y="232347"/>
                  </a:lnTo>
                  <a:lnTo>
                    <a:pt x="367253" y="240761"/>
                  </a:lnTo>
                  <a:lnTo>
                    <a:pt x="367253" y="223997"/>
                  </a:lnTo>
                  <a:close/>
                </a:path>
                <a:path w="394970" h="463550">
                  <a:moveTo>
                    <a:pt x="387666" y="223997"/>
                  </a:moveTo>
                  <a:lnTo>
                    <a:pt x="367253" y="223997"/>
                  </a:lnTo>
                  <a:lnTo>
                    <a:pt x="367253" y="240761"/>
                  </a:lnTo>
                  <a:lnTo>
                    <a:pt x="386262" y="240761"/>
                  </a:lnTo>
                  <a:lnTo>
                    <a:pt x="394685" y="231617"/>
                  </a:lnTo>
                  <a:lnTo>
                    <a:pt x="387666" y="223997"/>
                  </a:lnTo>
                  <a:close/>
                </a:path>
                <a:path w="394970" h="463550">
                  <a:moveTo>
                    <a:pt x="212210" y="33528"/>
                  </a:moveTo>
                  <a:lnTo>
                    <a:pt x="207233" y="33528"/>
                  </a:lnTo>
                  <a:lnTo>
                    <a:pt x="207233" y="64631"/>
                  </a:lnTo>
                  <a:lnTo>
                    <a:pt x="359609" y="232347"/>
                  </a:lnTo>
                  <a:lnTo>
                    <a:pt x="367253" y="223997"/>
                  </a:lnTo>
                  <a:lnTo>
                    <a:pt x="387666" y="223997"/>
                  </a:lnTo>
                  <a:lnTo>
                    <a:pt x="212210" y="33528"/>
                  </a:lnTo>
                  <a:close/>
                </a:path>
                <a:path w="394970" h="463550">
                  <a:moveTo>
                    <a:pt x="24384" y="132557"/>
                  </a:moveTo>
                  <a:lnTo>
                    <a:pt x="12192" y="144749"/>
                  </a:lnTo>
                  <a:lnTo>
                    <a:pt x="24384" y="144749"/>
                  </a:lnTo>
                  <a:lnTo>
                    <a:pt x="24384" y="132557"/>
                  </a:lnTo>
                  <a:close/>
                </a:path>
                <a:path w="394970" h="463550">
                  <a:moveTo>
                    <a:pt x="207233" y="120365"/>
                  </a:moveTo>
                  <a:lnTo>
                    <a:pt x="195041" y="120365"/>
                  </a:lnTo>
                  <a:lnTo>
                    <a:pt x="181325" y="132557"/>
                  </a:lnTo>
                  <a:lnTo>
                    <a:pt x="24384" y="132557"/>
                  </a:lnTo>
                  <a:lnTo>
                    <a:pt x="24384" y="144749"/>
                  </a:lnTo>
                  <a:lnTo>
                    <a:pt x="207233" y="144749"/>
                  </a:lnTo>
                  <a:lnTo>
                    <a:pt x="207233" y="120365"/>
                  </a:lnTo>
                  <a:close/>
                </a:path>
                <a:path w="394970" h="463550">
                  <a:moveTo>
                    <a:pt x="181325" y="0"/>
                  </a:moveTo>
                  <a:lnTo>
                    <a:pt x="181325" y="132557"/>
                  </a:lnTo>
                  <a:lnTo>
                    <a:pt x="195041" y="120365"/>
                  </a:lnTo>
                  <a:lnTo>
                    <a:pt x="207233" y="120365"/>
                  </a:lnTo>
                  <a:lnTo>
                    <a:pt x="207233" y="64631"/>
                  </a:lnTo>
                  <a:lnTo>
                    <a:pt x="185897" y="41148"/>
                  </a:lnTo>
                  <a:lnTo>
                    <a:pt x="207233" y="33528"/>
                  </a:lnTo>
                  <a:lnTo>
                    <a:pt x="212210" y="33528"/>
                  </a:lnTo>
                  <a:lnTo>
                    <a:pt x="181325" y="0"/>
                  </a:lnTo>
                  <a:close/>
                </a:path>
                <a:path w="394970" h="463550">
                  <a:moveTo>
                    <a:pt x="207233" y="33528"/>
                  </a:moveTo>
                  <a:lnTo>
                    <a:pt x="185897" y="41148"/>
                  </a:lnTo>
                  <a:lnTo>
                    <a:pt x="207233" y="64631"/>
                  </a:lnTo>
                  <a:lnTo>
                    <a:pt x="207233" y="33528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9" name="object 49"/>
          <p:cNvSpPr txBox="1"/>
          <p:nvPr/>
        </p:nvSpPr>
        <p:spPr>
          <a:xfrm>
            <a:off x="1335429" y="4128668"/>
            <a:ext cx="1983105" cy="242570"/>
          </a:xfrm>
          <a:prstGeom prst="rect">
            <a:avLst/>
          </a:prstGeom>
          <a:solidFill>
            <a:srgbClr val="DEBB99"/>
          </a:solidFill>
        </p:spPr>
        <p:txBody>
          <a:bodyPr vert="horz" wrap="square" lIns="0" tIns="23495" rIns="0" bIns="0" rtlCol="0">
            <a:spAutoFit/>
          </a:bodyPr>
          <a:lstStyle/>
          <a:p>
            <a:pPr marR="167640" algn="r">
              <a:lnSpc>
                <a:spcPts val="1720"/>
              </a:lnSpc>
              <a:spcBef>
                <a:spcPts val="185"/>
              </a:spcBef>
            </a:pPr>
            <a:r>
              <a:rPr sz="1600" spc="-5" dirty="0">
                <a:latin typeface="Arial"/>
                <a:cs typeface="Arial"/>
              </a:rPr>
              <a:t>2001</a:t>
            </a:r>
            <a:endParaRPr sz="1600">
              <a:latin typeface="Arial"/>
              <a:cs typeface="Arial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1335429" y="4875382"/>
            <a:ext cx="1983105" cy="243840"/>
          </a:xfrm>
          <a:prstGeom prst="rect">
            <a:avLst/>
          </a:prstGeom>
          <a:solidFill>
            <a:srgbClr val="DEBB99"/>
          </a:solidFill>
        </p:spPr>
        <p:txBody>
          <a:bodyPr vert="horz" wrap="square" lIns="0" tIns="43180" rIns="0" bIns="0" rtlCol="0">
            <a:spAutoFit/>
          </a:bodyPr>
          <a:lstStyle/>
          <a:p>
            <a:pPr marR="167640" algn="r">
              <a:lnSpc>
                <a:spcPts val="1575"/>
              </a:lnSpc>
              <a:spcBef>
                <a:spcPts val="340"/>
              </a:spcBef>
            </a:pPr>
            <a:r>
              <a:rPr sz="1600" spc="-5" dirty="0">
                <a:latin typeface="Arial"/>
                <a:cs typeface="Arial"/>
              </a:rPr>
              <a:t>2002</a:t>
            </a:r>
            <a:endParaRPr sz="1600">
              <a:latin typeface="Arial"/>
              <a:cs typeface="Arial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3900098" y="4704710"/>
            <a:ext cx="2941320" cy="422275"/>
          </a:xfrm>
          <a:prstGeom prst="rect">
            <a:avLst/>
          </a:prstGeom>
          <a:solidFill>
            <a:srgbClr val="DEBB99"/>
          </a:solidFill>
        </p:spPr>
        <p:txBody>
          <a:bodyPr vert="horz" wrap="square" lIns="0" tIns="111760" rIns="0" bIns="0" rtlCol="0">
            <a:spAutoFit/>
          </a:bodyPr>
          <a:lstStyle/>
          <a:p>
            <a:pPr marL="1733550">
              <a:lnSpc>
                <a:spcPct val="100000"/>
              </a:lnSpc>
              <a:spcBef>
                <a:spcPts val="880"/>
              </a:spcBef>
            </a:pPr>
            <a:r>
              <a:rPr sz="1600" spc="-5" dirty="0">
                <a:latin typeface="Arial"/>
                <a:cs typeface="Arial"/>
              </a:rPr>
              <a:t>2007 /</a:t>
            </a:r>
            <a:r>
              <a:rPr sz="1600" spc="-3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2006</a:t>
            </a:r>
            <a:endParaRPr sz="1600">
              <a:latin typeface="Arial"/>
              <a:cs typeface="Arial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7330348" y="4704710"/>
            <a:ext cx="1790700" cy="434340"/>
          </a:xfrm>
          <a:prstGeom prst="rect">
            <a:avLst/>
          </a:prstGeom>
        </p:spPr>
        <p:txBody>
          <a:bodyPr vert="horz" wrap="square" lIns="0" tIns="111760" rIns="0" bIns="0" rtlCol="0">
            <a:spAutoFit/>
          </a:bodyPr>
          <a:lstStyle/>
          <a:p>
            <a:pPr marR="102235" algn="r">
              <a:lnSpc>
                <a:spcPct val="100000"/>
              </a:lnSpc>
              <a:spcBef>
                <a:spcPts val="880"/>
              </a:spcBef>
            </a:pPr>
            <a:r>
              <a:rPr sz="1600" spc="-5" dirty="0">
                <a:latin typeface="Arial"/>
                <a:cs typeface="Arial"/>
              </a:rPr>
              <a:t>0005</a:t>
            </a:r>
            <a:endParaRPr sz="1600">
              <a:latin typeface="Arial"/>
              <a:cs typeface="Arial"/>
            </a:endParaRPr>
          </a:p>
        </p:txBody>
      </p:sp>
      <p:grpSp>
        <p:nvGrpSpPr>
          <p:cNvPr id="53" name="object 53"/>
          <p:cNvGrpSpPr/>
          <p:nvPr/>
        </p:nvGrpSpPr>
        <p:grpSpPr>
          <a:xfrm>
            <a:off x="7289200" y="3892479"/>
            <a:ext cx="1741805" cy="1461770"/>
            <a:chOff x="7289200" y="3892479"/>
            <a:chExt cx="1741805" cy="1461770"/>
          </a:xfrm>
        </p:grpSpPr>
        <p:sp>
          <p:nvSpPr>
            <p:cNvPr id="54" name="object 54"/>
            <p:cNvSpPr/>
            <p:nvPr/>
          </p:nvSpPr>
          <p:spPr>
            <a:xfrm>
              <a:off x="7380604" y="3892486"/>
              <a:ext cx="1473835" cy="1457325"/>
            </a:xfrm>
            <a:custGeom>
              <a:avLst/>
              <a:gdLst/>
              <a:ahLst/>
              <a:cxnLst/>
              <a:rect l="l" t="t" r="r" b="b"/>
              <a:pathLst>
                <a:path w="1473834" h="1457325">
                  <a:moveTo>
                    <a:pt x="1473619" y="1440065"/>
                  </a:moveTo>
                  <a:lnTo>
                    <a:pt x="33528" y="0"/>
                  </a:lnTo>
                  <a:lnTo>
                    <a:pt x="0" y="0"/>
                  </a:lnTo>
                  <a:lnTo>
                    <a:pt x="1456855" y="1456829"/>
                  </a:lnTo>
                  <a:lnTo>
                    <a:pt x="1473619" y="1440065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55"/>
            <p:cNvSpPr/>
            <p:nvPr/>
          </p:nvSpPr>
          <p:spPr>
            <a:xfrm>
              <a:off x="7289190" y="3892486"/>
              <a:ext cx="1741805" cy="1461770"/>
            </a:xfrm>
            <a:custGeom>
              <a:avLst/>
              <a:gdLst/>
              <a:ahLst/>
              <a:cxnLst/>
              <a:rect l="l" t="t" r="r" b="b"/>
              <a:pathLst>
                <a:path w="1741804" h="1461770">
                  <a:moveTo>
                    <a:pt x="1741779" y="53340"/>
                  </a:moveTo>
                  <a:lnTo>
                    <a:pt x="1718919" y="22860"/>
                  </a:lnTo>
                  <a:lnTo>
                    <a:pt x="828624" y="694537"/>
                  </a:lnTo>
                  <a:lnTo>
                    <a:pt x="134086" y="0"/>
                  </a:lnTo>
                  <a:lnTo>
                    <a:pt x="82270" y="0"/>
                  </a:lnTo>
                  <a:lnTo>
                    <a:pt x="799084" y="716813"/>
                  </a:lnTo>
                  <a:lnTo>
                    <a:pt x="0" y="1319682"/>
                  </a:lnTo>
                  <a:lnTo>
                    <a:pt x="22860" y="1350162"/>
                  </a:lnTo>
                  <a:lnTo>
                    <a:pt x="826287" y="744016"/>
                  </a:lnTo>
                  <a:lnTo>
                    <a:pt x="1543697" y="1461401"/>
                  </a:lnTo>
                  <a:lnTo>
                    <a:pt x="1569605" y="1435493"/>
                  </a:lnTo>
                  <a:lnTo>
                    <a:pt x="855827" y="721741"/>
                  </a:lnTo>
                  <a:lnTo>
                    <a:pt x="1741779" y="53340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8319333" y="2571292"/>
            <a:ext cx="120650" cy="273050"/>
            <a:chOff x="8319333" y="2571292"/>
            <a:chExt cx="120650" cy="273050"/>
          </a:xfrm>
        </p:grpSpPr>
        <p:sp>
          <p:nvSpPr>
            <p:cNvPr id="3" name="object 3"/>
            <p:cNvSpPr/>
            <p:nvPr/>
          </p:nvSpPr>
          <p:spPr>
            <a:xfrm>
              <a:off x="8331524" y="2583466"/>
              <a:ext cx="94615" cy="248920"/>
            </a:xfrm>
            <a:custGeom>
              <a:avLst/>
              <a:gdLst/>
              <a:ahLst/>
              <a:cxnLst/>
              <a:rect l="l" t="t" r="r" b="b"/>
              <a:pathLst>
                <a:path w="94615" h="248919">
                  <a:moveTo>
                    <a:pt x="94476" y="0"/>
                  </a:moveTo>
                  <a:lnTo>
                    <a:pt x="0" y="0"/>
                  </a:lnTo>
                  <a:lnTo>
                    <a:pt x="0" y="248400"/>
                  </a:lnTo>
                  <a:lnTo>
                    <a:pt x="94476" y="248400"/>
                  </a:lnTo>
                  <a:lnTo>
                    <a:pt x="94476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8319333" y="2571292"/>
              <a:ext cx="120650" cy="273050"/>
            </a:xfrm>
            <a:custGeom>
              <a:avLst/>
              <a:gdLst/>
              <a:ahLst/>
              <a:cxnLst/>
              <a:rect l="l" t="t" r="r" b="b"/>
              <a:pathLst>
                <a:path w="120650" h="273050">
                  <a:moveTo>
                    <a:pt x="120396" y="0"/>
                  </a:moveTo>
                  <a:lnTo>
                    <a:pt x="0" y="0"/>
                  </a:lnTo>
                  <a:lnTo>
                    <a:pt x="0" y="272765"/>
                  </a:lnTo>
                  <a:lnTo>
                    <a:pt x="120396" y="272765"/>
                  </a:lnTo>
                  <a:lnTo>
                    <a:pt x="120396" y="260573"/>
                  </a:lnTo>
                  <a:lnTo>
                    <a:pt x="24384" y="260573"/>
                  </a:lnTo>
                  <a:lnTo>
                    <a:pt x="12192" y="246857"/>
                  </a:lnTo>
                  <a:lnTo>
                    <a:pt x="24384" y="246857"/>
                  </a:lnTo>
                  <a:lnTo>
                    <a:pt x="24384" y="24384"/>
                  </a:lnTo>
                  <a:lnTo>
                    <a:pt x="12192" y="24384"/>
                  </a:lnTo>
                  <a:lnTo>
                    <a:pt x="24384" y="12192"/>
                  </a:lnTo>
                  <a:lnTo>
                    <a:pt x="120396" y="12192"/>
                  </a:lnTo>
                  <a:lnTo>
                    <a:pt x="120396" y="0"/>
                  </a:lnTo>
                  <a:close/>
                </a:path>
                <a:path w="120650" h="273050">
                  <a:moveTo>
                    <a:pt x="24384" y="246857"/>
                  </a:moveTo>
                  <a:lnTo>
                    <a:pt x="12192" y="246857"/>
                  </a:lnTo>
                  <a:lnTo>
                    <a:pt x="24384" y="260573"/>
                  </a:lnTo>
                  <a:lnTo>
                    <a:pt x="24384" y="246857"/>
                  </a:lnTo>
                  <a:close/>
                </a:path>
                <a:path w="120650" h="273050">
                  <a:moveTo>
                    <a:pt x="94488" y="246857"/>
                  </a:moveTo>
                  <a:lnTo>
                    <a:pt x="24384" y="246857"/>
                  </a:lnTo>
                  <a:lnTo>
                    <a:pt x="24384" y="260573"/>
                  </a:lnTo>
                  <a:lnTo>
                    <a:pt x="94488" y="260573"/>
                  </a:lnTo>
                  <a:lnTo>
                    <a:pt x="94488" y="246857"/>
                  </a:lnTo>
                  <a:close/>
                </a:path>
                <a:path w="120650" h="273050">
                  <a:moveTo>
                    <a:pt x="94488" y="12192"/>
                  </a:moveTo>
                  <a:lnTo>
                    <a:pt x="94488" y="260573"/>
                  </a:lnTo>
                  <a:lnTo>
                    <a:pt x="106680" y="246857"/>
                  </a:lnTo>
                  <a:lnTo>
                    <a:pt x="120396" y="246857"/>
                  </a:lnTo>
                  <a:lnTo>
                    <a:pt x="120396" y="24384"/>
                  </a:lnTo>
                  <a:lnTo>
                    <a:pt x="106680" y="24384"/>
                  </a:lnTo>
                  <a:lnTo>
                    <a:pt x="94488" y="12192"/>
                  </a:lnTo>
                  <a:close/>
                </a:path>
                <a:path w="120650" h="273050">
                  <a:moveTo>
                    <a:pt x="120396" y="246857"/>
                  </a:moveTo>
                  <a:lnTo>
                    <a:pt x="106680" y="246857"/>
                  </a:lnTo>
                  <a:lnTo>
                    <a:pt x="94488" y="260573"/>
                  </a:lnTo>
                  <a:lnTo>
                    <a:pt x="120396" y="260573"/>
                  </a:lnTo>
                  <a:lnTo>
                    <a:pt x="120396" y="246857"/>
                  </a:lnTo>
                  <a:close/>
                </a:path>
                <a:path w="120650" h="273050">
                  <a:moveTo>
                    <a:pt x="24384" y="12192"/>
                  </a:moveTo>
                  <a:lnTo>
                    <a:pt x="12192" y="24384"/>
                  </a:lnTo>
                  <a:lnTo>
                    <a:pt x="24384" y="24384"/>
                  </a:lnTo>
                  <a:lnTo>
                    <a:pt x="24384" y="12192"/>
                  </a:lnTo>
                  <a:close/>
                </a:path>
                <a:path w="120650" h="273050">
                  <a:moveTo>
                    <a:pt x="94488" y="12192"/>
                  </a:moveTo>
                  <a:lnTo>
                    <a:pt x="24384" y="12192"/>
                  </a:lnTo>
                  <a:lnTo>
                    <a:pt x="24384" y="24384"/>
                  </a:lnTo>
                  <a:lnTo>
                    <a:pt x="94488" y="24384"/>
                  </a:lnTo>
                  <a:lnTo>
                    <a:pt x="94488" y="12192"/>
                  </a:lnTo>
                  <a:close/>
                </a:path>
                <a:path w="120650" h="273050">
                  <a:moveTo>
                    <a:pt x="120396" y="12192"/>
                  </a:moveTo>
                  <a:lnTo>
                    <a:pt x="94488" y="12192"/>
                  </a:lnTo>
                  <a:lnTo>
                    <a:pt x="106680" y="24384"/>
                  </a:lnTo>
                  <a:lnTo>
                    <a:pt x="120396" y="24384"/>
                  </a:lnTo>
                  <a:lnTo>
                    <a:pt x="120396" y="1219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5" name="object 5"/>
          <p:cNvGrpSpPr/>
          <p:nvPr/>
        </p:nvGrpSpPr>
        <p:grpSpPr>
          <a:xfrm>
            <a:off x="6579077" y="2571292"/>
            <a:ext cx="120650" cy="273050"/>
            <a:chOff x="6579077" y="2571292"/>
            <a:chExt cx="120650" cy="273050"/>
          </a:xfrm>
        </p:grpSpPr>
        <p:sp>
          <p:nvSpPr>
            <p:cNvPr id="6" name="object 6"/>
            <p:cNvSpPr/>
            <p:nvPr/>
          </p:nvSpPr>
          <p:spPr>
            <a:xfrm>
              <a:off x="6591269" y="2583466"/>
              <a:ext cx="96520" cy="248920"/>
            </a:xfrm>
            <a:custGeom>
              <a:avLst/>
              <a:gdLst/>
              <a:ahLst/>
              <a:cxnLst/>
              <a:rect l="l" t="t" r="r" b="b"/>
              <a:pathLst>
                <a:path w="96520" h="248919">
                  <a:moveTo>
                    <a:pt x="96011" y="0"/>
                  </a:moveTo>
                  <a:lnTo>
                    <a:pt x="0" y="0"/>
                  </a:lnTo>
                  <a:lnTo>
                    <a:pt x="0" y="248400"/>
                  </a:lnTo>
                  <a:lnTo>
                    <a:pt x="96011" y="248400"/>
                  </a:lnTo>
                  <a:lnTo>
                    <a:pt x="96011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6579077" y="2571292"/>
              <a:ext cx="120650" cy="273050"/>
            </a:xfrm>
            <a:custGeom>
              <a:avLst/>
              <a:gdLst/>
              <a:ahLst/>
              <a:cxnLst/>
              <a:rect l="l" t="t" r="r" b="b"/>
              <a:pathLst>
                <a:path w="120650" h="273050">
                  <a:moveTo>
                    <a:pt x="120396" y="0"/>
                  </a:moveTo>
                  <a:lnTo>
                    <a:pt x="0" y="0"/>
                  </a:lnTo>
                  <a:lnTo>
                    <a:pt x="0" y="272765"/>
                  </a:lnTo>
                  <a:lnTo>
                    <a:pt x="120396" y="272765"/>
                  </a:lnTo>
                  <a:lnTo>
                    <a:pt x="120396" y="260573"/>
                  </a:lnTo>
                  <a:lnTo>
                    <a:pt x="25908" y="260573"/>
                  </a:lnTo>
                  <a:lnTo>
                    <a:pt x="12192" y="246857"/>
                  </a:lnTo>
                  <a:lnTo>
                    <a:pt x="25908" y="246857"/>
                  </a:lnTo>
                  <a:lnTo>
                    <a:pt x="25908" y="24384"/>
                  </a:lnTo>
                  <a:lnTo>
                    <a:pt x="12192" y="24384"/>
                  </a:lnTo>
                  <a:lnTo>
                    <a:pt x="25908" y="12192"/>
                  </a:lnTo>
                  <a:lnTo>
                    <a:pt x="120396" y="12192"/>
                  </a:lnTo>
                  <a:lnTo>
                    <a:pt x="120396" y="0"/>
                  </a:lnTo>
                  <a:close/>
                </a:path>
                <a:path w="120650" h="273050">
                  <a:moveTo>
                    <a:pt x="25908" y="246857"/>
                  </a:moveTo>
                  <a:lnTo>
                    <a:pt x="12192" y="246857"/>
                  </a:lnTo>
                  <a:lnTo>
                    <a:pt x="25908" y="260573"/>
                  </a:lnTo>
                  <a:lnTo>
                    <a:pt x="25908" y="246857"/>
                  </a:lnTo>
                  <a:close/>
                </a:path>
                <a:path w="120650" h="273050">
                  <a:moveTo>
                    <a:pt x="94488" y="246857"/>
                  </a:moveTo>
                  <a:lnTo>
                    <a:pt x="25908" y="246857"/>
                  </a:lnTo>
                  <a:lnTo>
                    <a:pt x="25908" y="260573"/>
                  </a:lnTo>
                  <a:lnTo>
                    <a:pt x="94488" y="260573"/>
                  </a:lnTo>
                  <a:lnTo>
                    <a:pt x="94488" y="246857"/>
                  </a:lnTo>
                  <a:close/>
                </a:path>
                <a:path w="120650" h="273050">
                  <a:moveTo>
                    <a:pt x="94488" y="12192"/>
                  </a:moveTo>
                  <a:lnTo>
                    <a:pt x="94488" y="260573"/>
                  </a:lnTo>
                  <a:lnTo>
                    <a:pt x="108204" y="246857"/>
                  </a:lnTo>
                  <a:lnTo>
                    <a:pt x="120396" y="246857"/>
                  </a:lnTo>
                  <a:lnTo>
                    <a:pt x="120396" y="24384"/>
                  </a:lnTo>
                  <a:lnTo>
                    <a:pt x="108204" y="24384"/>
                  </a:lnTo>
                  <a:lnTo>
                    <a:pt x="94488" y="12192"/>
                  </a:lnTo>
                  <a:close/>
                </a:path>
                <a:path w="120650" h="273050">
                  <a:moveTo>
                    <a:pt x="120396" y="246857"/>
                  </a:moveTo>
                  <a:lnTo>
                    <a:pt x="108204" y="246857"/>
                  </a:lnTo>
                  <a:lnTo>
                    <a:pt x="94488" y="260573"/>
                  </a:lnTo>
                  <a:lnTo>
                    <a:pt x="120396" y="260573"/>
                  </a:lnTo>
                  <a:lnTo>
                    <a:pt x="120396" y="246857"/>
                  </a:lnTo>
                  <a:close/>
                </a:path>
                <a:path w="120650" h="273050">
                  <a:moveTo>
                    <a:pt x="25908" y="12192"/>
                  </a:moveTo>
                  <a:lnTo>
                    <a:pt x="12192" y="24384"/>
                  </a:lnTo>
                  <a:lnTo>
                    <a:pt x="25908" y="24384"/>
                  </a:lnTo>
                  <a:lnTo>
                    <a:pt x="25908" y="12192"/>
                  </a:lnTo>
                  <a:close/>
                </a:path>
                <a:path w="120650" h="273050">
                  <a:moveTo>
                    <a:pt x="94488" y="12192"/>
                  </a:moveTo>
                  <a:lnTo>
                    <a:pt x="25908" y="12192"/>
                  </a:lnTo>
                  <a:lnTo>
                    <a:pt x="25908" y="24384"/>
                  </a:lnTo>
                  <a:lnTo>
                    <a:pt x="94488" y="24384"/>
                  </a:lnTo>
                  <a:lnTo>
                    <a:pt x="94488" y="12192"/>
                  </a:lnTo>
                  <a:close/>
                </a:path>
                <a:path w="120650" h="273050">
                  <a:moveTo>
                    <a:pt x="120396" y="12192"/>
                  </a:moveTo>
                  <a:lnTo>
                    <a:pt x="94488" y="12192"/>
                  </a:lnTo>
                  <a:lnTo>
                    <a:pt x="108204" y="24384"/>
                  </a:lnTo>
                  <a:lnTo>
                    <a:pt x="120396" y="24384"/>
                  </a:lnTo>
                  <a:lnTo>
                    <a:pt x="120396" y="1219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8" name="object 8"/>
          <p:cNvGrpSpPr/>
          <p:nvPr/>
        </p:nvGrpSpPr>
        <p:grpSpPr>
          <a:xfrm>
            <a:off x="4623937" y="2589580"/>
            <a:ext cx="139065" cy="1303020"/>
            <a:chOff x="4623937" y="2589580"/>
            <a:chExt cx="139065" cy="1303020"/>
          </a:xfrm>
        </p:grpSpPr>
        <p:sp>
          <p:nvSpPr>
            <p:cNvPr id="9" name="object 9"/>
            <p:cNvSpPr/>
            <p:nvPr/>
          </p:nvSpPr>
          <p:spPr>
            <a:xfrm>
              <a:off x="4636129" y="2603287"/>
              <a:ext cx="114300" cy="1289685"/>
            </a:xfrm>
            <a:custGeom>
              <a:avLst/>
              <a:gdLst/>
              <a:ahLst/>
              <a:cxnLst/>
              <a:rect l="l" t="t" r="r" b="b"/>
              <a:pathLst>
                <a:path w="114300" h="1289685">
                  <a:moveTo>
                    <a:pt x="0" y="1289191"/>
                  </a:moveTo>
                  <a:lnTo>
                    <a:pt x="114288" y="1289191"/>
                  </a:lnTo>
                  <a:lnTo>
                    <a:pt x="114288" y="0"/>
                  </a:lnTo>
                  <a:lnTo>
                    <a:pt x="0" y="0"/>
                  </a:lnTo>
                  <a:lnTo>
                    <a:pt x="0" y="1289191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4623937" y="2589580"/>
              <a:ext cx="139065" cy="1303020"/>
            </a:xfrm>
            <a:custGeom>
              <a:avLst/>
              <a:gdLst/>
              <a:ahLst/>
              <a:cxnLst/>
              <a:rect l="l" t="t" r="r" b="b"/>
              <a:pathLst>
                <a:path w="139064" h="1303020">
                  <a:moveTo>
                    <a:pt x="138684" y="0"/>
                  </a:moveTo>
                  <a:lnTo>
                    <a:pt x="0" y="0"/>
                  </a:lnTo>
                  <a:lnTo>
                    <a:pt x="0" y="1302898"/>
                  </a:lnTo>
                  <a:lnTo>
                    <a:pt x="24384" y="1302898"/>
                  </a:lnTo>
                  <a:lnTo>
                    <a:pt x="24384" y="25908"/>
                  </a:lnTo>
                  <a:lnTo>
                    <a:pt x="12192" y="25908"/>
                  </a:lnTo>
                  <a:lnTo>
                    <a:pt x="24384" y="13716"/>
                  </a:lnTo>
                  <a:lnTo>
                    <a:pt x="138684" y="13716"/>
                  </a:lnTo>
                  <a:lnTo>
                    <a:pt x="138684" y="0"/>
                  </a:lnTo>
                  <a:close/>
                </a:path>
                <a:path w="139064" h="1303020">
                  <a:moveTo>
                    <a:pt x="114300" y="13716"/>
                  </a:moveTo>
                  <a:lnTo>
                    <a:pt x="114300" y="1302898"/>
                  </a:lnTo>
                  <a:lnTo>
                    <a:pt x="138684" y="1302898"/>
                  </a:lnTo>
                  <a:lnTo>
                    <a:pt x="138684" y="25908"/>
                  </a:lnTo>
                  <a:lnTo>
                    <a:pt x="126492" y="25908"/>
                  </a:lnTo>
                  <a:lnTo>
                    <a:pt x="114300" y="13716"/>
                  </a:lnTo>
                  <a:close/>
                </a:path>
                <a:path w="139064" h="1303020">
                  <a:moveTo>
                    <a:pt x="24384" y="13716"/>
                  </a:moveTo>
                  <a:lnTo>
                    <a:pt x="12192" y="25908"/>
                  </a:lnTo>
                  <a:lnTo>
                    <a:pt x="24384" y="25908"/>
                  </a:lnTo>
                  <a:lnTo>
                    <a:pt x="24384" y="13716"/>
                  </a:lnTo>
                  <a:close/>
                </a:path>
                <a:path w="139064" h="1303020">
                  <a:moveTo>
                    <a:pt x="114300" y="13716"/>
                  </a:moveTo>
                  <a:lnTo>
                    <a:pt x="24384" y="13716"/>
                  </a:lnTo>
                  <a:lnTo>
                    <a:pt x="24384" y="25908"/>
                  </a:lnTo>
                  <a:lnTo>
                    <a:pt x="114300" y="25908"/>
                  </a:lnTo>
                  <a:lnTo>
                    <a:pt x="114300" y="13716"/>
                  </a:lnTo>
                  <a:close/>
                </a:path>
                <a:path w="139064" h="1303020">
                  <a:moveTo>
                    <a:pt x="138684" y="13716"/>
                  </a:moveTo>
                  <a:lnTo>
                    <a:pt x="114300" y="13716"/>
                  </a:lnTo>
                  <a:lnTo>
                    <a:pt x="126492" y="25908"/>
                  </a:lnTo>
                  <a:lnTo>
                    <a:pt x="138684" y="25908"/>
                  </a:lnTo>
                  <a:lnTo>
                    <a:pt x="138684" y="13716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1" name="object 11"/>
          <p:cNvGrpSpPr/>
          <p:nvPr/>
        </p:nvGrpSpPr>
        <p:grpSpPr>
          <a:xfrm>
            <a:off x="2051648" y="2589580"/>
            <a:ext cx="140335" cy="1303020"/>
            <a:chOff x="2051648" y="2589580"/>
            <a:chExt cx="140335" cy="1303020"/>
          </a:xfrm>
        </p:grpSpPr>
        <p:sp>
          <p:nvSpPr>
            <p:cNvPr id="12" name="object 12"/>
            <p:cNvSpPr/>
            <p:nvPr/>
          </p:nvSpPr>
          <p:spPr>
            <a:xfrm>
              <a:off x="2063840" y="2603287"/>
              <a:ext cx="114300" cy="1289685"/>
            </a:xfrm>
            <a:custGeom>
              <a:avLst/>
              <a:gdLst/>
              <a:ahLst/>
              <a:cxnLst/>
              <a:rect l="l" t="t" r="r" b="b"/>
              <a:pathLst>
                <a:path w="114300" h="1289685">
                  <a:moveTo>
                    <a:pt x="0" y="1289191"/>
                  </a:moveTo>
                  <a:lnTo>
                    <a:pt x="114288" y="1289191"/>
                  </a:lnTo>
                  <a:lnTo>
                    <a:pt x="114288" y="0"/>
                  </a:lnTo>
                  <a:lnTo>
                    <a:pt x="0" y="0"/>
                  </a:lnTo>
                  <a:lnTo>
                    <a:pt x="0" y="1289191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2051648" y="2589580"/>
              <a:ext cx="140335" cy="1303020"/>
            </a:xfrm>
            <a:custGeom>
              <a:avLst/>
              <a:gdLst/>
              <a:ahLst/>
              <a:cxnLst/>
              <a:rect l="l" t="t" r="r" b="b"/>
              <a:pathLst>
                <a:path w="140335" h="1303020">
                  <a:moveTo>
                    <a:pt x="140195" y="0"/>
                  </a:moveTo>
                  <a:lnTo>
                    <a:pt x="0" y="0"/>
                  </a:lnTo>
                  <a:lnTo>
                    <a:pt x="0" y="1302898"/>
                  </a:lnTo>
                  <a:lnTo>
                    <a:pt x="25908" y="1302898"/>
                  </a:lnTo>
                  <a:lnTo>
                    <a:pt x="25908" y="25908"/>
                  </a:lnTo>
                  <a:lnTo>
                    <a:pt x="12192" y="25908"/>
                  </a:lnTo>
                  <a:lnTo>
                    <a:pt x="25908" y="13716"/>
                  </a:lnTo>
                  <a:lnTo>
                    <a:pt x="140195" y="13716"/>
                  </a:lnTo>
                  <a:lnTo>
                    <a:pt x="140195" y="0"/>
                  </a:lnTo>
                  <a:close/>
                </a:path>
                <a:path w="140335" h="1303020">
                  <a:moveTo>
                    <a:pt x="114287" y="13716"/>
                  </a:moveTo>
                  <a:lnTo>
                    <a:pt x="114287" y="1302898"/>
                  </a:lnTo>
                  <a:lnTo>
                    <a:pt x="140195" y="1302898"/>
                  </a:lnTo>
                  <a:lnTo>
                    <a:pt x="140195" y="25908"/>
                  </a:lnTo>
                  <a:lnTo>
                    <a:pt x="126479" y="25908"/>
                  </a:lnTo>
                  <a:lnTo>
                    <a:pt x="114287" y="13716"/>
                  </a:lnTo>
                  <a:close/>
                </a:path>
                <a:path w="140335" h="1303020">
                  <a:moveTo>
                    <a:pt x="25908" y="13716"/>
                  </a:moveTo>
                  <a:lnTo>
                    <a:pt x="12192" y="25908"/>
                  </a:lnTo>
                  <a:lnTo>
                    <a:pt x="25908" y="25908"/>
                  </a:lnTo>
                  <a:lnTo>
                    <a:pt x="25908" y="13716"/>
                  </a:lnTo>
                  <a:close/>
                </a:path>
                <a:path w="140335" h="1303020">
                  <a:moveTo>
                    <a:pt x="114287" y="13716"/>
                  </a:moveTo>
                  <a:lnTo>
                    <a:pt x="25908" y="13716"/>
                  </a:lnTo>
                  <a:lnTo>
                    <a:pt x="25908" y="25908"/>
                  </a:lnTo>
                  <a:lnTo>
                    <a:pt x="114287" y="25908"/>
                  </a:lnTo>
                  <a:lnTo>
                    <a:pt x="114287" y="13716"/>
                  </a:lnTo>
                  <a:close/>
                </a:path>
                <a:path w="140335" h="1303020">
                  <a:moveTo>
                    <a:pt x="140195" y="13716"/>
                  </a:moveTo>
                  <a:lnTo>
                    <a:pt x="114287" y="13716"/>
                  </a:lnTo>
                  <a:lnTo>
                    <a:pt x="126479" y="25908"/>
                  </a:lnTo>
                  <a:lnTo>
                    <a:pt x="140195" y="25908"/>
                  </a:lnTo>
                  <a:lnTo>
                    <a:pt x="140195" y="13716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4" name="object 14"/>
          <p:cNvGrpSpPr/>
          <p:nvPr/>
        </p:nvGrpSpPr>
        <p:grpSpPr>
          <a:xfrm>
            <a:off x="1080945" y="1504584"/>
            <a:ext cx="7016115" cy="443865"/>
            <a:chOff x="1080945" y="1504584"/>
            <a:chExt cx="7016115" cy="443865"/>
          </a:xfrm>
        </p:grpSpPr>
        <p:sp>
          <p:nvSpPr>
            <p:cNvPr id="15" name="object 15"/>
            <p:cNvSpPr/>
            <p:nvPr/>
          </p:nvSpPr>
          <p:spPr>
            <a:xfrm>
              <a:off x="1093137" y="1516782"/>
              <a:ext cx="6990080" cy="419100"/>
            </a:xfrm>
            <a:custGeom>
              <a:avLst/>
              <a:gdLst/>
              <a:ahLst/>
              <a:cxnLst/>
              <a:rect l="l" t="t" r="r" b="b"/>
              <a:pathLst>
                <a:path w="6990080" h="419100">
                  <a:moveTo>
                    <a:pt x="6990008" y="0"/>
                  </a:moveTo>
                  <a:lnTo>
                    <a:pt x="0" y="0"/>
                  </a:lnTo>
                  <a:lnTo>
                    <a:pt x="0" y="419063"/>
                  </a:lnTo>
                  <a:lnTo>
                    <a:pt x="6990008" y="419063"/>
                  </a:lnTo>
                  <a:lnTo>
                    <a:pt x="6990008" y="0"/>
                  </a:lnTo>
                  <a:close/>
                </a:path>
              </a:pathLst>
            </a:custGeom>
            <a:solidFill>
              <a:srgbClr val="FCDA8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1080945" y="1504584"/>
              <a:ext cx="7016115" cy="443865"/>
            </a:xfrm>
            <a:custGeom>
              <a:avLst/>
              <a:gdLst/>
              <a:ahLst/>
              <a:cxnLst/>
              <a:rect l="l" t="t" r="r" b="b"/>
              <a:pathLst>
                <a:path w="7016115" h="443864">
                  <a:moveTo>
                    <a:pt x="7015914" y="0"/>
                  </a:moveTo>
                  <a:lnTo>
                    <a:pt x="0" y="0"/>
                  </a:lnTo>
                  <a:lnTo>
                    <a:pt x="0" y="443453"/>
                  </a:lnTo>
                  <a:lnTo>
                    <a:pt x="7015914" y="443453"/>
                  </a:lnTo>
                  <a:lnTo>
                    <a:pt x="7015914" y="431261"/>
                  </a:lnTo>
                  <a:lnTo>
                    <a:pt x="24384" y="431261"/>
                  </a:lnTo>
                  <a:lnTo>
                    <a:pt x="12192" y="419069"/>
                  </a:lnTo>
                  <a:lnTo>
                    <a:pt x="24384" y="419069"/>
                  </a:lnTo>
                  <a:lnTo>
                    <a:pt x="24384" y="24384"/>
                  </a:lnTo>
                  <a:lnTo>
                    <a:pt x="12192" y="24384"/>
                  </a:lnTo>
                  <a:lnTo>
                    <a:pt x="24384" y="12192"/>
                  </a:lnTo>
                  <a:lnTo>
                    <a:pt x="7015914" y="12192"/>
                  </a:lnTo>
                  <a:lnTo>
                    <a:pt x="7015914" y="0"/>
                  </a:lnTo>
                  <a:close/>
                </a:path>
                <a:path w="7016115" h="443864">
                  <a:moveTo>
                    <a:pt x="24384" y="419069"/>
                  </a:moveTo>
                  <a:lnTo>
                    <a:pt x="12192" y="419069"/>
                  </a:lnTo>
                  <a:lnTo>
                    <a:pt x="24384" y="431261"/>
                  </a:lnTo>
                  <a:lnTo>
                    <a:pt x="24384" y="419069"/>
                  </a:lnTo>
                  <a:close/>
                </a:path>
                <a:path w="7016115" h="443864">
                  <a:moveTo>
                    <a:pt x="6990006" y="419069"/>
                  </a:moveTo>
                  <a:lnTo>
                    <a:pt x="24384" y="419069"/>
                  </a:lnTo>
                  <a:lnTo>
                    <a:pt x="24384" y="431261"/>
                  </a:lnTo>
                  <a:lnTo>
                    <a:pt x="6990006" y="431261"/>
                  </a:lnTo>
                  <a:lnTo>
                    <a:pt x="6990006" y="419069"/>
                  </a:lnTo>
                  <a:close/>
                </a:path>
                <a:path w="7016115" h="443864">
                  <a:moveTo>
                    <a:pt x="6990006" y="12192"/>
                  </a:moveTo>
                  <a:lnTo>
                    <a:pt x="6990006" y="431261"/>
                  </a:lnTo>
                  <a:lnTo>
                    <a:pt x="7002198" y="419069"/>
                  </a:lnTo>
                  <a:lnTo>
                    <a:pt x="7015914" y="419069"/>
                  </a:lnTo>
                  <a:lnTo>
                    <a:pt x="7015914" y="24384"/>
                  </a:lnTo>
                  <a:lnTo>
                    <a:pt x="7002198" y="24384"/>
                  </a:lnTo>
                  <a:lnTo>
                    <a:pt x="6990006" y="12192"/>
                  </a:lnTo>
                  <a:close/>
                </a:path>
                <a:path w="7016115" h="443864">
                  <a:moveTo>
                    <a:pt x="7015914" y="419069"/>
                  </a:moveTo>
                  <a:lnTo>
                    <a:pt x="7002198" y="419069"/>
                  </a:lnTo>
                  <a:lnTo>
                    <a:pt x="6990006" y="431261"/>
                  </a:lnTo>
                  <a:lnTo>
                    <a:pt x="7015914" y="431261"/>
                  </a:lnTo>
                  <a:lnTo>
                    <a:pt x="7015914" y="419069"/>
                  </a:lnTo>
                  <a:close/>
                </a:path>
                <a:path w="7016115" h="443864">
                  <a:moveTo>
                    <a:pt x="24384" y="12192"/>
                  </a:moveTo>
                  <a:lnTo>
                    <a:pt x="12192" y="24384"/>
                  </a:lnTo>
                  <a:lnTo>
                    <a:pt x="24384" y="24384"/>
                  </a:lnTo>
                  <a:lnTo>
                    <a:pt x="24384" y="12192"/>
                  </a:lnTo>
                  <a:close/>
                </a:path>
                <a:path w="7016115" h="443864">
                  <a:moveTo>
                    <a:pt x="6990006" y="12192"/>
                  </a:moveTo>
                  <a:lnTo>
                    <a:pt x="24384" y="12192"/>
                  </a:lnTo>
                  <a:lnTo>
                    <a:pt x="24384" y="24384"/>
                  </a:lnTo>
                  <a:lnTo>
                    <a:pt x="6990006" y="24384"/>
                  </a:lnTo>
                  <a:lnTo>
                    <a:pt x="6990006" y="12192"/>
                  </a:lnTo>
                  <a:close/>
                </a:path>
                <a:path w="7016115" h="443864">
                  <a:moveTo>
                    <a:pt x="7015914" y="12192"/>
                  </a:moveTo>
                  <a:lnTo>
                    <a:pt x="6990006" y="12192"/>
                  </a:lnTo>
                  <a:lnTo>
                    <a:pt x="7002198" y="24384"/>
                  </a:lnTo>
                  <a:lnTo>
                    <a:pt x="7015914" y="24384"/>
                  </a:lnTo>
                  <a:lnTo>
                    <a:pt x="7015914" y="1219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/>
          <p:nvPr/>
        </p:nvSpPr>
        <p:spPr>
          <a:xfrm>
            <a:off x="1093137" y="1516782"/>
            <a:ext cx="6990080" cy="419100"/>
          </a:xfrm>
          <a:prstGeom prst="rect">
            <a:avLst/>
          </a:prstGeom>
        </p:spPr>
        <p:txBody>
          <a:bodyPr vert="horz" wrap="square" lIns="0" tIns="66675" rIns="0" bIns="0" rtlCol="0">
            <a:spAutoFit/>
          </a:bodyPr>
          <a:lstStyle/>
          <a:p>
            <a:pPr marL="90805">
              <a:lnSpc>
                <a:spcPct val="100000"/>
              </a:lnSpc>
              <a:spcBef>
                <a:spcPts val="525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Personnel Subarea </a:t>
            </a:r>
            <a:r>
              <a:rPr sz="1800" dirty="0">
                <a:latin typeface="Liberation Sans Narrow"/>
                <a:cs typeface="Liberation Sans Narrow"/>
              </a:rPr>
              <a:t>- </a:t>
            </a:r>
            <a:r>
              <a:rPr sz="1800" spc="-5" dirty="0">
                <a:latin typeface="Liberation Sans Narrow"/>
                <a:cs typeface="Liberation Sans Narrow"/>
              </a:rPr>
              <a:t>Employee Subgroup</a:t>
            </a:r>
            <a:r>
              <a:rPr sz="1800" spc="145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Groupings</a:t>
            </a:r>
            <a:endParaRPr sz="1800">
              <a:latin typeface="Liberation Sans Narrow"/>
              <a:cs typeface="Liberation Sans Narrow"/>
            </a:endParaRPr>
          </a:p>
        </p:txBody>
      </p:sp>
      <p:grpSp>
        <p:nvGrpSpPr>
          <p:cNvPr id="18" name="object 18"/>
          <p:cNvGrpSpPr/>
          <p:nvPr/>
        </p:nvGrpSpPr>
        <p:grpSpPr>
          <a:xfrm>
            <a:off x="794455" y="2190323"/>
            <a:ext cx="2746375" cy="387350"/>
            <a:chOff x="794455" y="2190323"/>
            <a:chExt cx="2746375" cy="387350"/>
          </a:xfrm>
        </p:grpSpPr>
        <p:sp>
          <p:nvSpPr>
            <p:cNvPr id="19" name="object 19"/>
            <p:cNvSpPr/>
            <p:nvPr/>
          </p:nvSpPr>
          <p:spPr>
            <a:xfrm>
              <a:off x="806647" y="2202521"/>
              <a:ext cx="2722245" cy="363220"/>
            </a:xfrm>
            <a:custGeom>
              <a:avLst/>
              <a:gdLst/>
              <a:ahLst/>
              <a:cxnLst/>
              <a:rect l="l" t="t" r="r" b="b"/>
              <a:pathLst>
                <a:path w="2722245" h="363219">
                  <a:moveTo>
                    <a:pt x="2721638" y="0"/>
                  </a:moveTo>
                  <a:lnTo>
                    <a:pt x="0" y="0"/>
                  </a:lnTo>
                  <a:lnTo>
                    <a:pt x="0" y="362675"/>
                  </a:lnTo>
                  <a:lnTo>
                    <a:pt x="2721638" y="362675"/>
                  </a:lnTo>
                  <a:lnTo>
                    <a:pt x="2721638" y="0"/>
                  </a:lnTo>
                  <a:close/>
                </a:path>
              </a:pathLst>
            </a:custGeom>
            <a:solidFill>
              <a:srgbClr val="FFCCC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794455" y="2190323"/>
              <a:ext cx="2746375" cy="387350"/>
            </a:xfrm>
            <a:custGeom>
              <a:avLst/>
              <a:gdLst/>
              <a:ahLst/>
              <a:cxnLst/>
              <a:rect l="l" t="t" r="r" b="b"/>
              <a:pathLst>
                <a:path w="2746375" h="387350">
                  <a:moveTo>
                    <a:pt x="2746010" y="0"/>
                  </a:moveTo>
                  <a:lnTo>
                    <a:pt x="0" y="0"/>
                  </a:lnTo>
                  <a:lnTo>
                    <a:pt x="0" y="387065"/>
                  </a:lnTo>
                  <a:lnTo>
                    <a:pt x="2746010" y="387065"/>
                  </a:lnTo>
                  <a:lnTo>
                    <a:pt x="2746010" y="374873"/>
                  </a:lnTo>
                  <a:lnTo>
                    <a:pt x="25908" y="374873"/>
                  </a:lnTo>
                  <a:lnTo>
                    <a:pt x="12192" y="361157"/>
                  </a:lnTo>
                  <a:lnTo>
                    <a:pt x="25908" y="361157"/>
                  </a:lnTo>
                  <a:lnTo>
                    <a:pt x="25908" y="24384"/>
                  </a:lnTo>
                  <a:lnTo>
                    <a:pt x="12192" y="24384"/>
                  </a:lnTo>
                  <a:lnTo>
                    <a:pt x="25908" y="12192"/>
                  </a:lnTo>
                  <a:lnTo>
                    <a:pt x="2746010" y="12192"/>
                  </a:lnTo>
                  <a:lnTo>
                    <a:pt x="2746010" y="0"/>
                  </a:lnTo>
                  <a:close/>
                </a:path>
                <a:path w="2746375" h="387350">
                  <a:moveTo>
                    <a:pt x="25908" y="361157"/>
                  </a:moveTo>
                  <a:lnTo>
                    <a:pt x="12192" y="361157"/>
                  </a:lnTo>
                  <a:lnTo>
                    <a:pt x="25908" y="374873"/>
                  </a:lnTo>
                  <a:lnTo>
                    <a:pt x="25908" y="361157"/>
                  </a:lnTo>
                  <a:close/>
                </a:path>
                <a:path w="2746375" h="387350">
                  <a:moveTo>
                    <a:pt x="2721626" y="361157"/>
                  </a:moveTo>
                  <a:lnTo>
                    <a:pt x="25908" y="361157"/>
                  </a:lnTo>
                  <a:lnTo>
                    <a:pt x="25908" y="374873"/>
                  </a:lnTo>
                  <a:lnTo>
                    <a:pt x="2721626" y="374873"/>
                  </a:lnTo>
                  <a:lnTo>
                    <a:pt x="2721626" y="361157"/>
                  </a:lnTo>
                  <a:close/>
                </a:path>
                <a:path w="2746375" h="387350">
                  <a:moveTo>
                    <a:pt x="2721626" y="12192"/>
                  </a:moveTo>
                  <a:lnTo>
                    <a:pt x="2721626" y="374873"/>
                  </a:lnTo>
                  <a:lnTo>
                    <a:pt x="2733818" y="361157"/>
                  </a:lnTo>
                  <a:lnTo>
                    <a:pt x="2746010" y="361157"/>
                  </a:lnTo>
                  <a:lnTo>
                    <a:pt x="2746010" y="24384"/>
                  </a:lnTo>
                  <a:lnTo>
                    <a:pt x="2733818" y="24384"/>
                  </a:lnTo>
                  <a:lnTo>
                    <a:pt x="2721626" y="12192"/>
                  </a:lnTo>
                  <a:close/>
                </a:path>
                <a:path w="2746375" h="387350">
                  <a:moveTo>
                    <a:pt x="2746010" y="361157"/>
                  </a:moveTo>
                  <a:lnTo>
                    <a:pt x="2733818" y="361157"/>
                  </a:lnTo>
                  <a:lnTo>
                    <a:pt x="2721626" y="374873"/>
                  </a:lnTo>
                  <a:lnTo>
                    <a:pt x="2746010" y="374873"/>
                  </a:lnTo>
                  <a:lnTo>
                    <a:pt x="2746010" y="361157"/>
                  </a:lnTo>
                  <a:close/>
                </a:path>
                <a:path w="2746375" h="387350">
                  <a:moveTo>
                    <a:pt x="25908" y="12192"/>
                  </a:moveTo>
                  <a:lnTo>
                    <a:pt x="12192" y="24384"/>
                  </a:lnTo>
                  <a:lnTo>
                    <a:pt x="25908" y="24384"/>
                  </a:lnTo>
                  <a:lnTo>
                    <a:pt x="25908" y="12192"/>
                  </a:lnTo>
                  <a:close/>
                </a:path>
                <a:path w="2746375" h="387350">
                  <a:moveTo>
                    <a:pt x="2721626" y="12192"/>
                  </a:moveTo>
                  <a:lnTo>
                    <a:pt x="25908" y="12192"/>
                  </a:lnTo>
                  <a:lnTo>
                    <a:pt x="25908" y="24384"/>
                  </a:lnTo>
                  <a:lnTo>
                    <a:pt x="2721626" y="24384"/>
                  </a:lnTo>
                  <a:lnTo>
                    <a:pt x="2721626" y="12192"/>
                  </a:lnTo>
                  <a:close/>
                </a:path>
                <a:path w="2746375" h="387350">
                  <a:moveTo>
                    <a:pt x="2746010" y="12192"/>
                  </a:moveTo>
                  <a:lnTo>
                    <a:pt x="2721626" y="12192"/>
                  </a:lnTo>
                  <a:lnTo>
                    <a:pt x="2733818" y="24384"/>
                  </a:lnTo>
                  <a:lnTo>
                    <a:pt x="2746010" y="24384"/>
                  </a:lnTo>
                  <a:lnTo>
                    <a:pt x="2746010" y="1219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" name="object 21"/>
          <p:cNvSpPr txBox="1"/>
          <p:nvPr/>
        </p:nvSpPr>
        <p:spPr>
          <a:xfrm>
            <a:off x="806647" y="2227899"/>
            <a:ext cx="272224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71882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Public</a:t>
            </a:r>
            <a:r>
              <a:rPr sz="1800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Holidays</a:t>
            </a:r>
            <a:endParaRPr sz="1800">
              <a:latin typeface="Liberation Sans Narrow"/>
              <a:cs typeface="Liberation Sans Narrow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794455" y="2818150"/>
            <a:ext cx="2746375" cy="387350"/>
            <a:chOff x="794455" y="2818150"/>
            <a:chExt cx="2746375" cy="387350"/>
          </a:xfrm>
        </p:grpSpPr>
        <p:sp>
          <p:nvSpPr>
            <p:cNvPr id="23" name="object 23"/>
            <p:cNvSpPr/>
            <p:nvPr/>
          </p:nvSpPr>
          <p:spPr>
            <a:xfrm>
              <a:off x="806647" y="2831872"/>
              <a:ext cx="2722245" cy="361315"/>
            </a:xfrm>
            <a:custGeom>
              <a:avLst/>
              <a:gdLst/>
              <a:ahLst/>
              <a:cxnLst/>
              <a:rect l="l" t="t" r="r" b="b"/>
              <a:pathLst>
                <a:path w="2722245" h="361314">
                  <a:moveTo>
                    <a:pt x="2721638" y="0"/>
                  </a:moveTo>
                  <a:lnTo>
                    <a:pt x="0" y="0"/>
                  </a:lnTo>
                  <a:lnTo>
                    <a:pt x="0" y="361151"/>
                  </a:lnTo>
                  <a:lnTo>
                    <a:pt x="2721638" y="361151"/>
                  </a:lnTo>
                  <a:lnTo>
                    <a:pt x="2721638" y="0"/>
                  </a:lnTo>
                  <a:close/>
                </a:path>
              </a:pathLst>
            </a:custGeom>
            <a:solidFill>
              <a:srgbClr val="FFCCC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794455" y="2818150"/>
              <a:ext cx="2746375" cy="387350"/>
            </a:xfrm>
            <a:custGeom>
              <a:avLst/>
              <a:gdLst/>
              <a:ahLst/>
              <a:cxnLst/>
              <a:rect l="l" t="t" r="r" b="b"/>
              <a:pathLst>
                <a:path w="2746375" h="387350">
                  <a:moveTo>
                    <a:pt x="2746010" y="0"/>
                  </a:moveTo>
                  <a:lnTo>
                    <a:pt x="0" y="0"/>
                  </a:lnTo>
                  <a:lnTo>
                    <a:pt x="0" y="387065"/>
                  </a:lnTo>
                  <a:lnTo>
                    <a:pt x="2746010" y="387065"/>
                  </a:lnTo>
                  <a:lnTo>
                    <a:pt x="2746010" y="374873"/>
                  </a:lnTo>
                  <a:lnTo>
                    <a:pt x="25908" y="374873"/>
                  </a:lnTo>
                  <a:lnTo>
                    <a:pt x="12192" y="362681"/>
                  </a:lnTo>
                  <a:lnTo>
                    <a:pt x="25908" y="362681"/>
                  </a:lnTo>
                  <a:lnTo>
                    <a:pt x="25908" y="25908"/>
                  </a:lnTo>
                  <a:lnTo>
                    <a:pt x="12192" y="25908"/>
                  </a:lnTo>
                  <a:lnTo>
                    <a:pt x="25908" y="13716"/>
                  </a:lnTo>
                  <a:lnTo>
                    <a:pt x="2746010" y="13716"/>
                  </a:lnTo>
                  <a:lnTo>
                    <a:pt x="2746010" y="0"/>
                  </a:lnTo>
                  <a:close/>
                </a:path>
                <a:path w="2746375" h="387350">
                  <a:moveTo>
                    <a:pt x="25908" y="362681"/>
                  </a:moveTo>
                  <a:lnTo>
                    <a:pt x="12192" y="362681"/>
                  </a:lnTo>
                  <a:lnTo>
                    <a:pt x="25908" y="374873"/>
                  </a:lnTo>
                  <a:lnTo>
                    <a:pt x="25908" y="362681"/>
                  </a:lnTo>
                  <a:close/>
                </a:path>
                <a:path w="2746375" h="387350">
                  <a:moveTo>
                    <a:pt x="2721626" y="362681"/>
                  </a:moveTo>
                  <a:lnTo>
                    <a:pt x="25908" y="362681"/>
                  </a:lnTo>
                  <a:lnTo>
                    <a:pt x="25908" y="374873"/>
                  </a:lnTo>
                  <a:lnTo>
                    <a:pt x="2721626" y="374873"/>
                  </a:lnTo>
                  <a:lnTo>
                    <a:pt x="2721626" y="362681"/>
                  </a:lnTo>
                  <a:close/>
                </a:path>
                <a:path w="2746375" h="387350">
                  <a:moveTo>
                    <a:pt x="2721626" y="13716"/>
                  </a:moveTo>
                  <a:lnTo>
                    <a:pt x="2721626" y="374873"/>
                  </a:lnTo>
                  <a:lnTo>
                    <a:pt x="2733818" y="362681"/>
                  </a:lnTo>
                  <a:lnTo>
                    <a:pt x="2746010" y="362681"/>
                  </a:lnTo>
                  <a:lnTo>
                    <a:pt x="2746010" y="25908"/>
                  </a:lnTo>
                  <a:lnTo>
                    <a:pt x="2733818" y="25908"/>
                  </a:lnTo>
                  <a:lnTo>
                    <a:pt x="2721626" y="13716"/>
                  </a:lnTo>
                  <a:close/>
                </a:path>
                <a:path w="2746375" h="387350">
                  <a:moveTo>
                    <a:pt x="2746010" y="362681"/>
                  </a:moveTo>
                  <a:lnTo>
                    <a:pt x="2733818" y="362681"/>
                  </a:lnTo>
                  <a:lnTo>
                    <a:pt x="2721626" y="374873"/>
                  </a:lnTo>
                  <a:lnTo>
                    <a:pt x="2746010" y="374873"/>
                  </a:lnTo>
                  <a:lnTo>
                    <a:pt x="2746010" y="362681"/>
                  </a:lnTo>
                  <a:close/>
                </a:path>
                <a:path w="2746375" h="387350">
                  <a:moveTo>
                    <a:pt x="25908" y="13716"/>
                  </a:moveTo>
                  <a:lnTo>
                    <a:pt x="12192" y="25908"/>
                  </a:lnTo>
                  <a:lnTo>
                    <a:pt x="25908" y="25908"/>
                  </a:lnTo>
                  <a:lnTo>
                    <a:pt x="25908" y="13716"/>
                  </a:lnTo>
                  <a:close/>
                </a:path>
                <a:path w="2746375" h="387350">
                  <a:moveTo>
                    <a:pt x="2721626" y="13716"/>
                  </a:moveTo>
                  <a:lnTo>
                    <a:pt x="25908" y="13716"/>
                  </a:lnTo>
                  <a:lnTo>
                    <a:pt x="25908" y="25908"/>
                  </a:lnTo>
                  <a:lnTo>
                    <a:pt x="2721626" y="25908"/>
                  </a:lnTo>
                  <a:lnTo>
                    <a:pt x="2721626" y="13716"/>
                  </a:lnTo>
                  <a:close/>
                </a:path>
                <a:path w="2746375" h="387350">
                  <a:moveTo>
                    <a:pt x="2746010" y="13716"/>
                  </a:moveTo>
                  <a:lnTo>
                    <a:pt x="2721626" y="13716"/>
                  </a:lnTo>
                  <a:lnTo>
                    <a:pt x="2733818" y="25908"/>
                  </a:lnTo>
                  <a:lnTo>
                    <a:pt x="2746010" y="25908"/>
                  </a:lnTo>
                  <a:lnTo>
                    <a:pt x="2746010" y="13716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7" name="object 27"/>
          <p:cNvSpPr txBox="1"/>
          <p:nvPr/>
        </p:nvSpPr>
        <p:spPr>
          <a:xfrm>
            <a:off x="1403852" y="2850149"/>
            <a:ext cx="2124921" cy="296876"/>
          </a:xfrm>
          <a:prstGeom prst="rect">
            <a:avLst/>
          </a:prstGeom>
          <a:solidFill>
            <a:srgbClr val="FFCCCC"/>
          </a:solidFill>
        </p:spPr>
        <p:txBody>
          <a:bodyPr vert="horz" wrap="square" lIns="0" tIns="1968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55"/>
              </a:spcBef>
            </a:pPr>
            <a:r>
              <a:rPr lang="en-IN" sz="1800" spc="-5" dirty="0">
                <a:latin typeface="Liberation Sans Narrow"/>
                <a:cs typeface="Liberation Sans Narrow"/>
              </a:rPr>
              <a:t>Holiday Calendar</a:t>
            </a:r>
            <a:endParaRPr sz="1800" dirty="0">
              <a:latin typeface="Liberation Sans Narrow"/>
              <a:cs typeface="Liberation Sans Narrow"/>
            </a:endParaRPr>
          </a:p>
        </p:txBody>
      </p:sp>
      <p:grpSp>
        <p:nvGrpSpPr>
          <p:cNvPr id="28" name="object 28"/>
          <p:cNvGrpSpPr/>
          <p:nvPr/>
        </p:nvGrpSpPr>
        <p:grpSpPr>
          <a:xfrm>
            <a:off x="3938199" y="2208611"/>
            <a:ext cx="5263515" cy="387350"/>
            <a:chOff x="3938199" y="2208611"/>
            <a:chExt cx="5263515" cy="387350"/>
          </a:xfrm>
        </p:grpSpPr>
        <p:sp>
          <p:nvSpPr>
            <p:cNvPr id="29" name="object 29"/>
            <p:cNvSpPr/>
            <p:nvPr/>
          </p:nvSpPr>
          <p:spPr>
            <a:xfrm>
              <a:off x="3950390" y="2222333"/>
              <a:ext cx="5238115" cy="361315"/>
            </a:xfrm>
            <a:custGeom>
              <a:avLst/>
              <a:gdLst/>
              <a:ahLst/>
              <a:cxnLst/>
              <a:rect l="l" t="t" r="r" b="b"/>
              <a:pathLst>
                <a:path w="5238115" h="361314">
                  <a:moveTo>
                    <a:pt x="5237561" y="0"/>
                  </a:moveTo>
                  <a:lnTo>
                    <a:pt x="0" y="0"/>
                  </a:lnTo>
                  <a:lnTo>
                    <a:pt x="0" y="361151"/>
                  </a:lnTo>
                  <a:lnTo>
                    <a:pt x="5237561" y="361151"/>
                  </a:lnTo>
                  <a:lnTo>
                    <a:pt x="5237561" y="0"/>
                  </a:lnTo>
                  <a:close/>
                </a:path>
              </a:pathLst>
            </a:custGeom>
            <a:solidFill>
              <a:srgbClr val="FFCC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3938199" y="2208611"/>
              <a:ext cx="5263515" cy="387350"/>
            </a:xfrm>
            <a:custGeom>
              <a:avLst/>
              <a:gdLst/>
              <a:ahLst/>
              <a:cxnLst/>
              <a:rect l="l" t="t" r="r" b="b"/>
              <a:pathLst>
                <a:path w="5263515" h="387350">
                  <a:moveTo>
                    <a:pt x="5263469" y="0"/>
                  </a:moveTo>
                  <a:lnTo>
                    <a:pt x="0" y="0"/>
                  </a:lnTo>
                  <a:lnTo>
                    <a:pt x="0" y="387065"/>
                  </a:lnTo>
                  <a:lnTo>
                    <a:pt x="5263469" y="387065"/>
                  </a:lnTo>
                  <a:lnTo>
                    <a:pt x="5263469" y="374873"/>
                  </a:lnTo>
                  <a:lnTo>
                    <a:pt x="24384" y="374873"/>
                  </a:lnTo>
                  <a:lnTo>
                    <a:pt x="12192" y="362681"/>
                  </a:lnTo>
                  <a:lnTo>
                    <a:pt x="24384" y="362681"/>
                  </a:lnTo>
                  <a:lnTo>
                    <a:pt x="24384" y="25908"/>
                  </a:lnTo>
                  <a:lnTo>
                    <a:pt x="12192" y="25908"/>
                  </a:lnTo>
                  <a:lnTo>
                    <a:pt x="24384" y="13716"/>
                  </a:lnTo>
                  <a:lnTo>
                    <a:pt x="5263469" y="13716"/>
                  </a:lnTo>
                  <a:lnTo>
                    <a:pt x="5263469" y="0"/>
                  </a:lnTo>
                  <a:close/>
                </a:path>
                <a:path w="5263515" h="387350">
                  <a:moveTo>
                    <a:pt x="24384" y="362681"/>
                  </a:moveTo>
                  <a:lnTo>
                    <a:pt x="12192" y="362681"/>
                  </a:lnTo>
                  <a:lnTo>
                    <a:pt x="24384" y="374873"/>
                  </a:lnTo>
                  <a:lnTo>
                    <a:pt x="24384" y="362681"/>
                  </a:lnTo>
                  <a:close/>
                </a:path>
                <a:path w="5263515" h="387350">
                  <a:moveTo>
                    <a:pt x="5237561" y="362681"/>
                  </a:moveTo>
                  <a:lnTo>
                    <a:pt x="24384" y="362681"/>
                  </a:lnTo>
                  <a:lnTo>
                    <a:pt x="24384" y="374873"/>
                  </a:lnTo>
                  <a:lnTo>
                    <a:pt x="5237561" y="374873"/>
                  </a:lnTo>
                  <a:lnTo>
                    <a:pt x="5237561" y="362681"/>
                  </a:lnTo>
                  <a:close/>
                </a:path>
                <a:path w="5263515" h="387350">
                  <a:moveTo>
                    <a:pt x="5237561" y="13716"/>
                  </a:moveTo>
                  <a:lnTo>
                    <a:pt x="5237561" y="374873"/>
                  </a:lnTo>
                  <a:lnTo>
                    <a:pt x="5249753" y="362681"/>
                  </a:lnTo>
                  <a:lnTo>
                    <a:pt x="5263469" y="362681"/>
                  </a:lnTo>
                  <a:lnTo>
                    <a:pt x="5263469" y="25908"/>
                  </a:lnTo>
                  <a:lnTo>
                    <a:pt x="5249753" y="25908"/>
                  </a:lnTo>
                  <a:lnTo>
                    <a:pt x="5237561" y="13716"/>
                  </a:lnTo>
                  <a:close/>
                </a:path>
                <a:path w="5263515" h="387350">
                  <a:moveTo>
                    <a:pt x="5263469" y="362681"/>
                  </a:moveTo>
                  <a:lnTo>
                    <a:pt x="5249753" y="362681"/>
                  </a:lnTo>
                  <a:lnTo>
                    <a:pt x="5237561" y="374873"/>
                  </a:lnTo>
                  <a:lnTo>
                    <a:pt x="5263469" y="374873"/>
                  </a:lnTo>
                  <a:lnTo>
                    <a:pt x="5263469" y="362681"/>
                  </a:lnTo>
                  <a:close/>
                </a:path>
                <a:path w="5263515" h="387350">
                  <a:moveTo>
                    <a:pt x="24384" y="13716"/>
                  </a:moveTo>
                  <a:lnTo>
                    <a:pt x="12192" y="25908"/>
                  </a:lnTo>
                  <a:lnTo>
                    <a:pt x="24384" y="25908"/>
                  </a:lnTo>
                  <a:lnTo>
                    <a:pt x="24384" y="13716"/>
                  </a:lnTo>
                  <a:close/>
                </a:path>
                <a:path w="5263515" h="387350">
                  <a:moveTo>
                    <a:pt x="5237561" y="13716"/>
                  </a:moveTo>
                  <a:lnTo>
                    <a:pt x="24384" y="13716"/>
                  </a:lnTo>
                  <a:lnTo>
                    <a:pt x="24384" y="25908"/>
                  </a:lnTo>
                  <a:lnTo>
                    <a:pt x="5237561" y="25908"/>
                  </a:lnTo>
                  <a:lnTo>
                    <a:pt x="5237561" y="13716"/>
                  </a:lnTo>
                  <a:close/>
                </a:path>
                <a:path w="5263515" h="387350">
                  <a:moveTo>
                    <a:pt x="5263469" y="13716"/>
                  </a:moveTo>
                  <a:lnTo>
                    <a:pt x="5237561" y="13716"/>
                  </a:lnTo>
                  <a:lnTo>
                    <a:pt x="5249753" y="25908"/>
                  </a:lnTo>
                  <a:lnTo>
                    <a:pt x="5263469" y="25908"/>
                  </a:lnTo>
                  <a:lnTo>
                    <a:pt x="5263469" y="13716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1" name="object 31"/>
          <p:cNvSpPr txBox="1"/>
          <p:nvPr/>
        </p:nvSpPr>
        <p:spPr>
          <a:xfrm>
            <a:off x="3950390" y="2247711"/>
            <a:ext cx="523811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Daily </a:t>
            </a:r>
            <a:r>
              <a:rPr sz="1800" spc="-10" dirty="0">
                <a:latin typeface="Liberation Sans Narrow"/>
                <a:cs typeface="Liberation Sans Narrow"/>
              </a:rPr>
              <a:t>Work </a:t>
            </a:r>
            <a:r>
              <a:rPr sz="1800" spc="-5" dirty="0">
                <a:latin typeface="Liberation Sans Narrow"/>
                <a:cs typeface="Liberation Sans Narrow"/>
              </a:rPr>
              <a:t>Schedules</a:t>
            </a:r>
            <a:endParaRPr sz="1800">
              <a:latin typeface="Liberation Sans Narrow"/>
              <a:cs typeface="Liberation Sans Narrow"/>
            </a:endParaRPr>
          </a:p>
        </p:txBody>
      </p:sp>
      <p:grpSp>
        <p:nvGrpSpPr>
          <p:cNvPr id="32" name="object 32"/>
          <p:cNvGrpSpPr/>
          <p:nvPr/>
        </p:nvGrpSpPr>
        <p:grpSpPr>
          <a:xfrm>
            <a:off x="3938199" y="2837962"/>
            <a:ext cx="1900555" cy="387350"/>
            <a:chOff x="3938199" y="2837962"/>
            <a:chExt cx="1900555" cy="387350"/>
          </a:xfrm>
        </p:grpSpPr>
        <p:sp>
          <p:nvSpPr>
            <p:cNvPr id="33" name="object 33"/>
            <p:cNvSpPr/>
            <p:nvPr/>
          </p:nvSpPr>
          <p:spPr>
            <a:xfrm>
              <a:off x="3950390" y="2850148"/>
              <a:ext cx="1874520" cy="363220"/>
            </a:xfrm>
            <a:custGeom>
              <a:avLst/>
              <a:gdLst/>
              <a:ahLst/>
              <a:cxnLst/>
              <a:rect l="l" t="t" r="r" b="b"/>
              <a:pathLst>
                <a:path w="1874520" h="363219">
                  <a:moveTo>
                    <a:pt x="1874364" y="0"/>
                  </a:moveTo>
                  <a:lnTo>
                    <a:pt x="0" y="0"/>
                  </a:lnTo>
                  <a:lnTo>
                    <a:pt x="0" y="362687"/>
                  </a:lnTo>
                  <a:lnTo>
                    <a:pt x="1874364" y="362687"/>
                  </a:lnTo>
                  <a:lnTo>
                    <a:pt x="1874364" y="0"/>
                  </a:lnTo>
                  <a:close/>
                </a:path>
              </a:pathLst>
            </a:custGeom>
            <a:solidFill>
              <a:srgbClr val="FFCC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3938199" y="2837962"/>
              <a:ext cx="1900555" cy="387350"/>
            </a:xfrm>
            <a:custGeom>
              <a:avLst/>
              <a:gdLst/>
              <a:ahLst/>
              <a:cxnLst/>
              <a:rect l="l" t="t" r="r" b="b"/>
              <a:pathLst>
                <a:path w="1900554" h="387350">
                  <a:moveTo>
                    <a:pt x="1900275" y="0"/>
                  </a:moveTo>
                  <a:lnTo>
                    <a:pt x="0" y="0"/>
                  </a:lnTo>
                  <a:lnTo>
                    <a:pt x="0" y="387065"/>
                  </a:lnTo>
                  <a:lnTo>
                    <a:pt x="1900275" y="387065"/>
                  </a:lnTo>
                  <a:lnTo>
                    <a:pt x="1900275" y="374873"/>
                  </a:lnTo>
                  <a:lnTo>
                    <a:pt x="24384" y="374873"/>
                  </a:lnTo>
                  <a:lnTo>
                    <a:pt x="12192" y="361157"/>
                  </a:lnTo>
                  <a:lnTo>
                    <a:pt x="24384" y="361157"/>
                  </a:lnTo>
                  <a:lnTo>
                    <a:pt x="24384" y="24384"/>
                  </a:lnTo>
                  <a:lnTo>
                    <a:pt x="12192" y="24384"/>
                  </a:lnTo>
                  <a:lnTo>
                    <a:pt x="24384" y="12192"/>
                  </a:lnTo>
                  <a:lnTo>
                    <a:pt x="1900275" y="12192"/>
                  </a:lnTo>
                  <a:lnTo>
                    <a:pt x="1900275" y="0"/>
                  </a:lnTo>
                  <a:close/>
                </a:path>
                <a:path w="1900554" h="387350">
                  <a:moveTo>
                    <a:pt x="24384" y="361157"/>
                  </a:moveTo>
                  <a:lnTo>
                    <a:pt x="12192" y="361157"/>
                  </a:lnTo>
                  <a:lnTo>
                    <a:pt x="24384" y="374873"/>
                  </a:lnTo>
                  <a:lnTo>
                    <a:pt x="24384" y="361157"/>
                  </a:lnTo>
                  <a:close/>
                </a:path>
                <a:path w="1900554" h="387350">
                  <a:moveTo>
                    <a:pt x="1874367" y="361157"/>
                  </a:moveTo>
                  <a:lnTo>
                    <a:pt x="24384" y="361157"/>
                  </a:lnTo>
                  <a:lnTo>
                    <a:pt x="24384" y="374873"/>
                  </a:lnTo>
                  <a:lnTo>
                    <a:pt x="1874367" y="374873"/>
                  </a:lnTo>
                  <a:lnTo>
                    <a:pt x="1874367" y="361157"/>
                  </a:lnTo>
                  <a:close/>
                </a:path>
                <a:path w="1900554" h="387350">
                  <a:moveTo>
                    <a:pt x="1874367" y="12192"/>
                  </a:moveTo>
                  <a:lnTo>
                    <a:pt x="1874367" y="374873"/>
                  </a:lnTo>
                  <a:lnTo>
                    <a:pt x="1886559" y="361157"/>
                  </a:lnTo>
                  <a:lnTo>
                    <a:pt x="1900275" y="361157"/>
                  </a:lnTo>
                  <a:lnTo>
                    <a:pt x="1900275" y="24384"/>
                  </a:lnTo>
                  <a:lnTo>
                    <a:pt x="1886559" y="24384"/>
                  </a:lnTo>
                  <a:lnTo>
                    <a:pt x="1874367" y="12192"/>
                  </a:lnTo>
                  <a:close/>
                </a:path>
                <a:path w="1900554" h="387350">
                  <a:moveTo>
                    <a:pt x="1900275" y="361157"/>
                  </a:moveTo>
                  <a:lnTo>
                    <a:pt x="1886559" y="361157"/>
                  </a:lnTo>
                  <a:lnTo>
                    <a:pt x="1874367" y="374873"/>
                  </a:lnTo>
                  <a:lnTo>
                    <a:pt x="1900275" y="374873"/>
                  </a:lnTo>
                  <a:lnTo>
                    <a:pt x="1900275" y="361157"/>
                  </a:lnTo>
                  <a:close/>
                </a:path>
                <a:path w="1900554" h="387350">
                  <a:moveTo>
                    <a:pt x="24384" y="12192"/>
                  </a:moveTo>
                  <a:lnTo>
                    <a:pt x="12192" y="24384"/>
                  </a:lnTo>
                  <a:lnTo>
                    <a:pt x="24384" y="24384"/>
                  </a:lnTo>
                  <a:lnTo>
                    <a:pt x="24384" y="12192"/>
                  </a:lnTo>
                  <a:close/>
                </a:path>
                <a:path w="1900554" h="387350">
                  <a:moveTo>
                    <a:pt x="1874367" y="12192"/>
                  </a:moveTo>
                  <a:lnTo>
                    <a:pt x="24384" y="12192"/>
                  </a:lnTo>
                  <a:lnTo>
                    <a:pt x="24384" y="24384"/>
                  </a:lnTo>
                  <a:lnTo>
                    <a:pt x="1874367" y="24384"/>
                  </a:lnTo>
                  <a:lnTo>
                    <a:pt x="1874367" y="12192"/>
                  </a:lnTo>
                  <a:close/>
                </a:path>
                <a:path w="1900554" h="387350">
                  <a:moveTo>
                    <a:pt x="1900275" y="12192"/>
                  </a:moveTo>
                  <a:lnTo>
                    <a:pt x="1874367" y="12192"/>
                  </a:lnTo>
                  <a:lnTo>
                    <a:pt x="1886559" y="24384"/>
                  </a:lnTo>
                  <a:lnTo>
                    <a:pt x="1900275" y="24384"/>
                  </a:lnTo>
                  <a:lnTo>
                    <a:pt x="1900275" y="1219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5" name="object 35"/>
          <p:cNvSpPr txBox="1"/>
          <p:nvPr/>
        </p:nvSpPr>
        <p:spPr>
          <a:xfrm>
            <a:off x="3882077" y="2851041"/>
            <a:ext cx="914537" cy="315471"/>
          </a:xfrm>
          <a:prstGeom prst="rect">
            <a:avLst/>
          </a:prstGeom>
          <a:solidFill>
            <a:srgbClr val="FFCC98"/>
          </a:solidFill>
        </p:spPr>
        <p:txBody>
          <a:bodyPr vert="horz" wrap="square" lIns="0" tIns="38100" rIns="0" bIns="0" rtlCol="0">
            <a:spAutoFit/>
          </a:bodyPr>
          <a:lstStyle/>
          <a:p>
            <a:pPr marL="229870">
              <a:lnSpc>
                <a:spcPct val="100000"/>
              </a:lnSpc>
              <a:spcBef>
                <a:spcPts val="3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B</a:t>
            </a:r>
            <a:r>
              <a:rPr sz="1800" dirty="0">
                <a:latin typeface="Liberation Sans Narrow"/>
                <a:cs typeface="Liberation Sans Narrow"/>
              </a:rPr>
              <a:t>r</a:t>
            </a:r>
            <a:r>
              <a:rPr sz="1800" spc="-5" dirty="0">
                <a:latin typeface="Liberation Sans Narrow"/>
                <a:cs typeface="Liberation Sans Narrow"/>
              </a:rPr>
              <a:t>ea</a:t>
            </a:r>
            <a:r>
              <a:rPr lang="en-IN" sz="1800" spc="-5" dirty="0">
                <a:latin typeface="Liberation Sans Narrow"/>
                <a:cs typeface="Liberation Sans Narrow"/>
              </a:rPr>
              <a:t>k</a:t>
            </a:r>
            <a:endParaRPr sz="1800" dirty="0">
              <a:latin typeface="Liberation Sans Narrow"/>
              <a:cs typeface="Liberation Sans Narrow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4750418" y="2850149"/>
            <a:ext cx="1074420" cy="360680"/>
          </a:xfrm>
          <a:prstGeom prst="rect">
            <a:avLst/>
          </a:prstGeom>
          <a:solidFill>
            <a:srgbClr val="FFCC98"/>
          </a:solidFill>
        </p:spPr>
        <p:txBody>
          <a:bodyPr vert="horz" wrap="square" lIns="0" tIns="381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3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Schedules</a:t>
            </a:r>
            <a:endParaRPr sz="1800">
              <a:latin typeface="Liberation Sans Narrow"/>
              <a:cs typeface="Liberation Sans Narrow"/>
            </a:endParaRPr>
          </a:p>
        </p:txBody>
      </p:sp>
      <p:grpSp>
        <p:nvGrpSpPr>
          <p:cNvPr id="37" name="object 37"/>
          <p:cNvGrpSpPr/>
          <p:nvPr/>
        </p:nvGrpSpPr>
        <p:grpSpPr>
          <a:xfrm>
            <a:off x="5940582" y="2837962"/>
            <a:ext cx="1533525" cy="387350"/>
            <a:chOff x="5940582" y="2837962"/>
            <a:chExt cx="1533525" cy="387350"/>
          </a:xfrm>
        </p:grpSpPr>
        <p:sp>
          <p:nvSpPr>
            <p:cNvPr id="38" name="object 38"/>
            <p:cNvSpPr/>
            <p:nvPr/>
          </p:nvSpPr>
          <p:spPr>
            <a:xfrm>
              <a:off x="5954298" y="2850148"/>
              <a:ext cx="1507490" cy="363220"/>
            </a:xfrm>
            <a:custGeom>
              <a:avLst/>
              <a:gdLst/>
              <a:ahLst/>
              <a:cxnLst/>
              <a:rect l="l" t="t" r="r" b="b"/>
              <a:pathLst>
                <a:path w="1507490" h="363219">
                  <a:moveTo>
                    <a:pt x="1507104" y="0"/>
                  </a:moveTo>
                  <a:lnTo>
                    <a:pt x="0" y="0"/>
                  </a:lnTo>
                  <a:lnTo>
                    <a:pt x="0" y="362687"/>
                  </a:lnTo>
                  <a:lnTo>
                    <a:pt x="1507104" y="362687"/>
                  </a:lnTo>
                  <a:lnTo>
                    <a:pt x="1507104" y="0"/>
                  </a:lnTo>
                  <a:close/>
                </a:path>
              </a:pathLst>
            </a:custGeom>
            <a:solidFill>
              <a:srgbClr val="FFCC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/>
            <p:cNvSpPr/>
            <p:nvPr/>
          </p:nvSpPr>
          <p:spPr>
            <a:xfrm>
              <a:off x="5940582" y="2837962"/>
              <a:ext cx="1533525" cy="387350"/>
            </a:xfrm>
            <a:custGeom>
              <a:avLst/>
              <a:gdLst/>
              <a:ahLst/>
              <a:cxnLst/>
              <a:rect l="l" t="t" r="r" b="b"/>
              <a:pathLst>
                <a:path w="1533525" h="387350">
                  <a:moveTo>
                    <a:pt x="1532991" y="0"/>
                  </a:moveTo>
                  <a:lnTo>
                    <a:pt x="0" y="0"/>
                  </a:lnTo>
                  <a:lnTo>
                    <a:pt x="0" y="387065"/>
                  </a:lnTo>
                  <a:lnTo>
                    <a:pt x="1532991" y="387065"/>
                  </a:lnTo>
                  <a:lnTo>
                    <a:pt x="1532991" y="374873"/>
                  </a:lnTo>
                  <a:lnTo>
                    <a:pt x="25908" y="374873"/>
                  </a:lnTo>
                  <a:lnTo>
                    <a:pt x="13716" y="361157"/>
                  </a:lnTo>
                  <a:lnTo>
                    <a:pt x="25908" y="361157"/>
                  </a:lnTo>
                  <a:lnTo>
                    <a:pt x="25908" y="24384"/>
                  </a:lnTo>
                  <a:lnTo>
                    <a:pt x="13716" y="24384"/>
                  </a:lnTo>
                  <a:lnTo>
                    <a:pt x="25908" y="12192"/>
                  </a:lnTo>
                  <a:lnTo>
                    <a:pt x="1532991" y="12192"/>
                  </a:lnTo>
                  <a:lnTo>
                    <a:pt x="1532991" y="0"/>
                  </a:lnTo>
                  <a:close/>
                </a:path>
                <a:path w="1533525" h="387350">
                  <a:moveTo>
                    <a:pt x="25908" y="361157"/>
                  </a:moveTo>
                  <a:lnTo>
                    <a:pt x="13716" y="361157"/>
                  </a:lnTo>
                  <a:lnTo>
                    <a:pt x="25908" y="374873"/>
                  </a:lnTo>
                  <a:lnTo>
                    <a:pt x="25908" y="361157"/>
                  </a:lnTo>
                  <a:close/>
                </a:path>
                <a:path w="1533525" h="387350">
                  <a:moveTo>
                    <a:pt x="1508607" y="361157"/>
                  </a:moveTo>
                  <a:lnTo>
                    <a:pt x="25908" y="361157"/>
                  </a:lnTo>
                  <a:lnTo>
                    <a:pt x="25908" y="374873"/>
                  </a:lnTo>
                  <a:lnTo>
                    <a:pt x="1508607" y="374873"/>
                  </a:lnTo>
                  <a:lnTo>
                    <a:pt x="1508607" y="361157"/>
                  </a:lnTo>
                  <a:close/>
                </a:path>
                <a:path w="1533525" h="387350">
                  <a:moveTo>
                    <a:pt x="1508607" y="12192"/>
                  </a:moveTo>
                  <a:lnTo>
                    <a:pt x="1508607" y="374873"/>
                  </a:lnTo>
                  <a:lnTo>
                    <a:pt x="1520799" y="361157"/>
                  </a:lnTo>
                  <a:lnTo>
                    <a:pt x="1532991" y="361157"/>
                  </a:lnTo>
                  <a:lnTo>
                    <a:pt x="1532991" y="24384"/>
                  </a:lnTo>
                  <a:lnTo>
                    <a:pt x="1520799" y="24384"/>
                  </a:lnTo>
                  <a:lnTo>
                    <a:pt x="1508607" y="12192"/>
                  </a:lnTo>
                  <a:close/>
                </a:path>
                <a:path w="1533525" h="387350">
                  <a:moveTo>
                    <a:pt x="1532991" y="361157"/>
                  </a:moveTo>
                  <a:lnTo>
                    <a:pt x="1520799" y="361157"/>
                  </a:lnTo>
                  <a:lnTo>
                    <a:pt x="1508607" y="374873"/>
                  </a:lnTo>
                  <a:lnTo>
                    <a:pt x="1532991" y="374873"/>
                  </a:lnTo>
                  <a:lnTo>
                    <a:pt x="1532991" y="361157"/>
                  </a:lnTo>
                  <a:close/>
                </a:path>
                <a:path w="1533525" h="387350">
                  <a:moveTo>
                    <a:pt x="25908" y="12192"/>
                  </a:moveTo>
                  <a:lnTo>
                    <a:pt x="13716" y="24384"/>
                  </a:lnTo>
                  <a:lnTo>
                    <a:pt x="25908" y="24384"/>
                  </a:lnTo>
                  <a:lnTo>
                    <a:pt x="25908" y="12192"/>
                  </a:lnTo>
                  <a:close/>
                </a:path>
                <a:path w="1533525" h="387350">
                  <a:moveTo>
                    <a:pt x="1508607" y="12192"/>
                  </a:moveTo>
                  <a:lnTo>
                    <a:pt x="25908" y="12192"/>
                  </a:lnTo>
                  <a:lnTo>
                    <a:pt x="25908" y="24384"/>
                  </a:lnTo>
                  <a:lnTo>
                    <a:pt x="1508607" y="24384"/>
                  </a:lnTo>
                  <a:lnTo>
                    <a:pt x="1508607" y="12192"/>
                  </a:lnTo>
                  <a:close/>
                </a:path>
                <a:path w="1533525" h="387350">
                  <a:moveTo>
                    <a:pt x="1532991" y="12192"/>
                  </a:moveTo>
                  <a:lnTo>
                    <a:pt x="1508607" y="12192"/>
                  </a:lnTo>
                  <a:lnTo>
                    <a:pt x="1520799" y="24384"/>
                  </a:lnTo>
                  <a:lnTo>
                    <a:pt x="1532991" y="24384"/>
                  </a:lnTo>
                  <a:lnTo>
                    <a:pt x="1532991" y="1219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0" name="object 40"/>
          <p:cNvSpPr txBox="1"/>
          <p:nvPr/>
        </p:nvSpPr>
        <p:spPr>
          <a:xfrm>
            <a:off x="5954298" y="2875561"/>
            <a:ext cx="150749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17195">
              <a:lnSpc>
                <a:spcPct val="100000"/>
              </a:lnSpc>
              <a:spcBef>
                <a:spcPts val="100"/>
              </a:spcBef>
            </a:pPr>
            <a:r>
              <a:rPr sz="1800" spc="-20" dirty="0">
                <a:latin typeface="Liberation Sans Narrow"/>
                <a:cs typeface="Liberation Sans Narrow"/>
              </a:rPr>
              <a:t>Variants</a:t>
            </a:r>
            <a:endParaRPr sz="1800">
              <a:latin typeface="Liberation Sans Narrow"/>
              <a:cs typeface="Liberation Sans Narrow"/>
            </a:endParaRPr>
          </a:p>
        </p:txBody>
      </p:sp>
      <p:grpSp>
        <p:nvGrpSpPr>
          <p:cNvPr id="41" name="object 41"/>
          <p:cNvGrpSpPr/>
          <p:nvPr/>
        </p:nvGrpSpPr>
        <p:grpSpPr>
          <a:xfrm>
            <a:off x="7537582" y="2837962"/>
            <a:ext cx="1874520" cy="387350"/>
            <a:chOff x="7537582" y="2837962"/>
            <a:chExt cx="1874520" cy="387350"/>
          </a:xfrm>
        </p:grpSpPr>
        <p:sp>
          <p:nvSpPr>
            <p:cNvPr id="42" name="object 42"/>
            <p:cNvSpPr/>
            <p:nvPr/>
          </p:nvSpPr>
          <p:spPr>
            <a:xfrm>
              <a:off x="7549774" y="2850148"/>
              <a:ext cx="1850389" cy="363220"/>
            </a:xfrm>
            <a:custGeom>
              <a:avLst/>
              <a:gdLst/>
              <a:ahLst/>
              <a:cxnLst/>
              <a:rect l="l" t="t" r="r" b="b"/>
              <a:pathLst>
                <a:path w="1850390" h="363219">
                  <a:moveTo>
                    <a:pt x="1849980" y="0"/>
                  </a:moveTo>
                  <a:lnTo>
                    <a:pt x="0" y="0"/>
                  </a:lnTo>
                  <a:lnTo>
                    <a:pt x="0" y="362687"/>
                  </a:lnTo>
                  <a:lnTo>
                    <a:pt x="1849980" y="362687"/>
                  </a:lnTo>
                  <a:lnTo>
                    <a:pt x="1849980" y="0"/>
                  </a:lnTo>
                  <a:close/>
                </a:path>
              </a:pathLst>
            </a:custGeom>
            <a:solidFill>
              <a:srgbClr val="FFCC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3"/>
            <p:cNvSpPr/>
            <p:nvPr/>
          </p:nvSpPr>
          <p:spPr>
            <a:xfrm>
              <a:off x="7537582" y="2837962"/>
              <a:ext cx="1874520" cy="387350"/>
            </a:xfrm>
            <a:custGeom>
              <a:avLst/>
              <a:gdLst/>
              <a:ahLst/>
              <a:cxnLst/>
              <a:rect l="l" t="t" r="r" b="b"/>
              <a:pathLst>
                <a:path w="1874520" h="387350">
                  <a:moveTo>
                    <a:pt x="1874367" y="0"/>
                  </a:moveTo>
                  <a:lnTo>
                    <a:pt x="0" y="0"/>
                  </a:lnTo>
                  <a:lnTo>
                    <a:pt x="0" y="387065"/>
                  </a:lnTo>
                  <a:lnTo>
                    <a:pt x="1874367" y="387065"/>
                  </a:lnTo>
                  <a:lnTo>
                    <a:pt x="1874367" y="374873"/>
                  </a:lnTo>
                  <a:lnTo>
                    <a:pt x="25908" y="374873"/>
                  </a:lnTo>
                  <a:lnTo>
                    <a:pt x="12192" y="361157"/>
                  </a:lnTo>
                  <a:lnTo>
                    <a:pt x="25908" y="361157"/>
                  </a:lnTo>
                  <a:lnTo>
                    <a:pt x="25908" y="24384"/>
                  </a:lnTo>
                  <a:lnTo>
                    <a:pt x="12192" y="24384"/>
                  </a:lnTo>
                  <a:lnTo>
                    <a:pt x="25908" y="12192"/>
                  </a:lnTo>
                  <a:lnTo>
                    <a:pt x="1874367" y="12192"/>
                  </a:lnTo>
                  <a:lnTo>
                    <a:pt x="1874367" y="0"/>
                  </a:lnTo>
                  <a:close/>
                </a:path>
                <a:path w="1874520" h="387350">
                  <a:moveTo>
                    <a:pt x="25908" y="361157"/>
                  </a:moveTo>
                  <a:lnTo>
                    <a:pt x="12192" y="361157"/>
                  </a:lnTo>
                  <a:lnTo>
                    <a:pt x="25908" y="374873"/>
                  </a:lnTo>
                  <a:lnTo>
                    <a:pt x="25908" y="361157"/>
                  </a:lnTo>
                  <a:close/>
                </a:path>
                <a:path w="1874520" h="387350">
                  <a:moveTo>
                    <a:pt x="1849983" y="361157"/>
                  </a:moveTo>
                  <a:lnTo>
                    <a:pt x="25908" y="361157"/>
                  </a:lnTo>
                  <a:lnTo>
                    <a:pt x="25908" y="374873"/>
                  </a:lnTo>
                  <a:lnTo>
                    <a:pt x="1849983" y="374873"/>
                  </a:lnTo>
                  <a:lnTo>
                    <a:pt x="1849983" y="361157"/>
                  </a:lnTo>
                  <a:close/>
                </a:path>
                <a:path w="1874520" h="387350">
                  <a:moveTo>
                    <a:pt x="1849983" y="12192"/>
                  </a:moveTo>
                  <a:lnTo>
                    <a:pt x="1849983" y="374873"/>
                  </a:lnTo>
                  <a:lnTo>
                    <a:pt x="1862175" y="361157"/>
                  </a:lnTo>
                  <a:lnTo>
                    <a:pt x="1874367" y="361157"/>
                  </a:lnTo>
                  <a:lnTo>
                    <a:pt x="1874367" y="24384"/>
                  </a:lnTo>
                  <a:lnTo>
                    <a:pt x="1862175" y="24384"/>
                  </a:lnTo>
                  <a:lnTo>
                    <a:pt x="1849983" y="12192"/>
                  </a:lnTo>
                  <a:close/>
                </a:path>
                <a:path w="1874520" h="387350">
                  <a:moveTo>
                    <a:pt x="1874367" y="361157"/>
                  </a:moveTo>
                  <a:lnTo>
                    <a:pt x="1862175" y="361157"/>
                  </a:lnTo>
                  <a:lnTo>
                    <a:pt x="1849983" y="374873"/>
                  </a:lnTo>
                  <a:lnTo>
                    <a:pt x="1874367" y="374873"/>
                  </a:lnTo>
                  <a:lnTo>
                    <a:pt x="1874367" y="361157"/>
                  </a:lnTo>
                  <a:close/>
                </a:path>
                <a:path w="1874520" h="387350">
                  <a:moveTo>
                    <a:pt x="25908" y="12192"/>
                  </a:moveTo>
                  <a:lnTo>
                    <a:pt x="12192" y="24384"/>
                  </a:lnTo>
                  <a:lnTo>
                    <a:pt x="25908" y="24384"/>
                  </a:lnTo>
                  <a:lnTo>
                    <a:pt x="25908" y="12192"/>
                  </a:lnTo>
                  <a:close/>
                </a:path>
                <a:path w="1874520" h="387350">
                  <a:moveTo>
                    <a:pt x="1849983" y="12192"/>
                  </a:moveTo>
                  <a:lnTo>
                    <a:pt x="25908" y="12192"/>
                  </a:lnTo>
                  <a:lnTo>
                    <a:pt x="25908" y="24384"/>
                  </a:lnTo>
                  <a:lnTo>
                    <a:pt x="1849983" y="24384"/>
                  </a:lnTo>
                  <a:lnTo>
                    <a:pt x="1849983" y="12192"/>
                  </a:lnTo>
                  <a:close/>
                </a:path>
                <a:path w="1874520" h="387350">
                  <a:moveTo>
                    <a:pt x="1874367" y="12192"/>
                  </a:moveTo>
                  <a:lnTo>
                    <a:pt x="1849983" y="12192"/>
                  </a:lnTo>
                  <a:lnTo>
                    <a:pt x="1862175" y="24384"/>
                  </a:lnTo>
                  <a:lnTo>
                    <a:pt x="1874367" y="24384"/>
                  </a:lnTo>
                  <a:lnTo>
                    <a:pt x="1874367" y="1219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4" name="object 44"/>
          <p:cNvSpPr txBox="1"/>
          <p:nvPr/>
        </p:nvSpPr>
        <p:spPr>
          <a:xfrm>
            <a:off x="7549774" y="2875561"/>
            <a:ext cx="1850389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64795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Rules </a:t>
            </a:r>
            <a:r>
              <a:rPr sz="1800" dirty="0">
                <a:latin typeface="Liberation Sans Narrow"/>
                <a:cs typeface="Liberation Sans Narrow"/>
              </a:rPr>
              <a:t>-</a:t>
            </a:r>
            <a:r>
              <a:rPr sz="1800" spc="-20" dirty="0">
                <a:latin typeface="Liberation Sans Narrow"/>
                <a:cs typeface="Liberation Sans Narrow"/>
              </a:rPr>
              <a:t> Variants</a:t>
            </a:r>
            <a:endParaRPr sz="1800">
              <a:latin typeface="Liberation Sans Narrow"/>
              <a:cs typeface="Liberation Sans Narrow"/>
            </a:endParaRPr>
          </a:p>
        </p:txBody>
      </p:sp>
      <p:grpSp>
        <p:nvGrpSpPr>
          <p:cNvPr id="45" name="object 45"/>
          <p:cNvGrpSpPr/>
          <p:nvPr/>
        </p:nvGrpSpPr>
        <p:grpSpPr>
          <a:xfrm>
            <a:off x="3938199" y="3447501"/>
            <a:ext cx="3359150" cy="387350"/>
            <a:chOff x="3938199" y="3447501"/>
            <a:chExt cx="3359150" cy="387350"/>
          </a:xfrm>
        </p:grpSpPr>
        <p:sp>
          <p:nvSpPr>
            <p:cNvPr id="46" name="object 46"/>
            <p:cNvSpPr/>
            <p:nvPr/>
          </p:nvSpPr>
          <p:spPr>
            <a:xfrm>
              <a:off x="3950390" y="3459717"/>
              <a:ext cx="3333115" cy="363220"/>
            </a:xfrm>
            <a:custGeom>
              <a:avLst/>
              <a:gdLst/>
              <a:ahLst/>
              <a:cxnLst/>
              <a:rect l="l" t="t" r="r" b="b"/>
              <a:pathLst>
                <a:path w="3333115" h="363220">
                  <a:moveTo>
                    <a:pt x="3332713" y="0"/>
                  </a:moveTo>
                  <a:lnTo>
                    <a:pt x="0" y="0"/>
                  </a:lnTo>
                  <a:lnTo>
                    <a:pt x="0" y="362687"/>
                  </a:lnTo>
                  <a:lnTo>
                    <a:pt x="3332713" y="362687"/>
                  </a:lnTo>
                  <a:lnTo>
                    <a:pt x="3332713" y="0"/>
                  </a:lnTo>
                  <a:close/>
                </a:path>
              </a:pathLst>
            </a:custGeom>
            <a:solidFill>
              <a:srgbClr val="FFCC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7"/>
            <p:cNvSpPr/>
            <p:nvPr/>
          </p:nvSpPr>
          <p:spPr>
            <a:xfrm>
              <a:off x="3938199" y="3447501"/>
              <a:ext cx="3359150" cy="387350"/>
            </a:xfrm>
            <a:custGeom>
              <a:avLst/>
              <a:gdLst/>
              <a:ahLst/>
              <a:cxnLst/>
              <a:rect l="l" t="t" r="r" b="b"/>
              <a:pathLst>
                <a:path w="3359150" h="387350">
                  <a:moveTo>
                    <a:pt x="3358621" y="0"/>
                  </a:moveTo>
                  <a:lnTo>
                    <a:pt x="0" y="0"/>
                  </a:lnTo>
                  <a:lnTo>
                    <a:pt x="0" y="387096"/>
                  </a:lnTo>
                  <a:lnTo>
                    <a:pt x="3358621" y="387096"/>
                  </a:lnTo>
                  <a:lnTo>
                    <a:pt x="3358621" y="374904"/>
                  </a:lnTo>
                  <a:lnTo>
                    <a:pt x="24384" y="374904"/>
                  </a:lnTo>
                  <a:lnTo>
                    <a:pt x="12192" y="361188"/>
                  </a:lnTo>
                  <a:lnTo>
                    <a:pt x="24384" y="361188"/>
                  </a:lnTo>
                  <a:lnTo>
                    <a:pt x="24384" y="24384"/>
                  </a:lnTo>
                  <a:lnTo>
                    <a:pt x="12192" y="24384"/>
                  </a:lnTo>
                  <a:lnTo>
                    <a:pt x="24384" y="12192"/>
                  </a:lnTo>
                  <a:lnTo>
                    <a:pt x="3358621" y="12192"/>
                  </a:lnTo>
                  <a:lnTo>
                    <a:pt x="3358621" y="0"/>
                  </a:lnTo>
                  <a:close/>
                </a:path>
                <a:path w="3359150" h="387350">
                  <a:moveTo>
                    <a:pt x="24384" y="361188"/>
                  </a:moveTo>
                  <a:lnTo>
                    <a:pt x="12192" y="361188"/>
                  </a:lnTo>
                  <a:lnTo>
                    <a:pt x="24384" y="374904"/>
                  </a:lnTo>
                  <a:lnTo>
                    <a:pt x="24384" y="361188"/>
                  </a:lnTo>
                  <a:close/>
                </a:path>
                <a:path w="3359150" h="387350">
                  <a:moveTo>
                    <a:pt x="3332713" y="361188"/>
                  </a:moveTo>
                  <a:lnTo>
                    <a:pt x="24384" y="361188"/>
                  </a:lnTo>
                  <a:lnTo>
                    <a:pt x="24384" y="374904"/>
                  </a:lnTo>
                  <a:lnTo>
                    <a:pt x="3332713" y="374904"/>
                  </a:lnTo>
                  <a:lnTo>
                    <a:pt x="3332713" y="361188"/>
                  </a:lnTo>
                  <a:close/>
                </a:path>
                <a:path w="3359150" h="387350">
                  <a:moveTo>
                    <a:pt x="3332713" y="12192"/>
                  </a:moveTo>
                  <a:lnTo>
                    <a:pt x="3332713" y="374904"/>
                  </a:lnTo>
                  <a:lnTo>
                    <a:pt x="3344905" y="361188"/>
                  </a:lnTo>
                  <a:lnTo>
                    <a:pt x="3358621" y="361188"/>
                  </a:lnTo>
                  <a:lnTo>
                    <a:pt x="3358621" y="24384"/>
                  </a:lnTo>
                  <a:lnTo>
                    <a:pt x="3344905" y="24384"/>
                  </a:lnTo>
                  <a:lnTo>
                    <a:pt x="3332713" y="12192"/>
                  </a:lnTo>
                  <a:close/>
                </a:path>
                <a:path w="3359150" h="387350">
                  <a:moveTo>
                    <a:pt x="3358621" y="361188"/>
                  </a:moveTo>
                  <a:lnTo>
                    <a:pt x="3344905" y="361188"/>
                  </a:lnTo>
                  <a:lnTo>
                    <a:pt x="3332713" y="374904"/>
                  </a:lnTo>
                  <a:lnTo>
                    <a:pt x="3358621" y="374904"/>
                  </a:lnTo>
                  <a:lnTo>
                    <a:pt x="3358621" y="361188"/>
                  </a:lnTo>
                  <a:close/>
                </a:path>
                <a:path w="3359150" h="387350">
                  <a:moveTo>
                    <a:pt x="24384" y="12192"/>
                  </a:moveTo>
                  <a:lnTo>
                    <a:pt x="12192" y="24384"/>
                  </a:lnTo>
                  <a:lnTo>
                    <a:pt x="24384" y="24384"/>
                  </a:lnTo>
                  <a:lnTo>
                    <a:pt x="24384" y="12192"/>
                  </a:lnTo>
                  <a:close/>
                </a:path>
                <a:path w="3359150" h="387350">
                  <a:moveTo>
                    <a:pt x="3332713" y="12192"/>
                  </a:moveTo>
                  <a:lnTo>
                    <a:pt x="24384" y="12192"/>
                  </a:lnTo>
                  <a:lnTo>
                    <a:pt x="24384" y="24384"/>
                  </a:lnTo>
                  <a:lnTo>
                    <a:pt x="3332713" y="24384"/>
                  </a:lnTo>
                  <a:lnTo>
                    <a:pt x="3332713" y="12192"/>
                  </a:lnTo>
                  <a:close/>
                </a:path>
                <a:path w="3359150" h="387350">
                  <a:moveTo>
                    <a:pt x="3358621" y="12192"/>
                  </a:moveTo>
                  <a:lnTo>
                    <a:pt x="3332713" y="12192"/>
                  </a:lnTo>
                  <a:lnTo>
                    <a:pt x="3344905" y="24384"/>
                  </a:lnTo>
                  <a:lnTo>
                    <a:pt x="3358621" y="24384"/>
                  </a:lnTo>
                  <a:lnTo>
                    <a:pt x="3358621" y="1219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8" name="object 48"/>
          <p:cNvSpPr txBox="1"/>
          <p:nvPr/>
        </p:nvSpPr>
        <p:spPr>
          <a:xfrm>
            <a:off x="4636130" y="3459717"/>
            <a:ext cx="139700" cy="363220"/>
          </a:xfrm>
          <a:prstGeom prst="rect">
            <a:avLst/>
          </a:prstGeom>
          <a:solidFill>
            <a:srgbClr val="FFCC98"/>
          </a:solidFill>
        </p:spPr>
        <p:txBody>
          <a:bodyPr vert="horz" wrap="square" lIns="0" tIns="38100" rIns="0" bIns="0" rtlCol="0">
            <a:spAutoFit/>
          </a:bodyPr>
          <a:lstStyle/>
          <a:p>
            <a:pPr marL="4445">
              <a:lnSpc>
                <a:spcPct val="100000"/>
              </a:lnSpc>
              <a:spcBef>
                <a:spcPts val="300"/>
              </a:spcBef>
            </a:pPr>
            <a:r>
              <a:rPr sz="1800" dirty="0">
                <a:latin typeface="Liberation Sans Narrow"/>
                <a:cs typeface="Liberation Sans Narrow"/>
              </a:rPr>
              <a:t>P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4750418" y="3459717"/>
            <a:ext cx="2533015" cy="363220"/>
          </a:xfrm>
          <a:prstGeom prst="rect">
            <a:avLst/>
          </a:prstGeom>
          <a:solidFill>
            <a:srgbClr val="FFCC98"/>
          </a:solidFill>
        </p:spPr>
        <p:txBody>
          <a:bodyPr vert="horz" wrap="square" lIns="0" tIns="38100" rIns="0" bIns="0" rtlCol="0">
            <a:spAutoFit/>
          </a:bodyPr>
          <a:lstStyle/>
          <a:p>
            <a:pPr marL="15240">
              <a:lnSpc>
                <a:spcPct val="100000"/>
              </a:lnSpc>
              <a:spcBef>
                <a:spcPts val="3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eriod </a:t>
            </a:r>
            <a:r>
              <a:rPr sz="1800" spc="-10" dirty="0">
                <a:latin typeface="Liberation Sans Narrow"/>
                <a:cs typeface="Liberation Sans Narrow"/>
              </a:rPr>
              <a:t>Work</a:t>
            </a:r>
            <a:r>
              <a:rPr sz="1800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Schedules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50" name="object 50"/>
          <p:cNvSpPr txBox="1">
            <a:spLocks noGrp="1"/>
          </p:cNvSpPr>
          <p:nvPr>
            <p:ph type="title"/>
          </p:nvPr>
        </p:nvSpPr>
        <p:spPr>
          <a:xfrm>
            <a:off x="803092" y="627840"/>
            <a:ext cx="455866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pc="-5" dirty="0">
                <a:solidFill>
                  <a:schemeClr val="accent1"/>
                </a:solidFill>
              </a:rPr>
              <a:t>IMG Customizing Steps</a:t>
            </a:r>
          </a:p>
        </p:txBody>
      </p:sp>
      <p:grpSp>
        <p:nvGrpSpPr>
          <p:cNvPr id="52" name="object 52"/>
          <p:cNvGrpSpPr/>
          <p:nvPr/>
        </p:nvGrpSpPr>
        <p:grpSpPr>
          <a:xfrm>
            <a:off x="1746872" y="3892479"/>
            <a:ext cx="3811270" cy="2601595"/>
            <a:chOff x="1746872" y="3892479"/>
            <a:chExt cx="3811270" cy="2601595"/>
          </a:xfrm>
        </p:grpSpPr>
        <p:sp>
          <p:nvSpPr>
            <p:cNvPr id="53" name="object 53"/>
            <p:cNvSpPr/>
            <p:nvPr/>
          </p:nvSpPr>
          <p:spPr>
            <a:xfrm>
              <a:off x="4636130" y="3892479"/>
              <a:ext cx="114300" cy="387350"/>
            </a:xfrm>
            <a:custGeom>
              <a:avLst/>
              <a:gdLst/>
              <a:ahLst/>
              <a:cxnLst/>
              <a:rect l="l" t="t" r="r" b="b"/>
              <a:pathLst>
                <a:path w="114300" h="387350">
                  <a:moveTo>
                    <a:pt x="0" y="387065"/>
                  </a:moveTo>
                  <a:lnTo>
                    <a:pt x="114288" y="387065"/>
                  </a:lnTo>
                  <a:lnTo>
                    <a:pt x="114288" y="0"/>
                  </a:lnTo>
                  <a:lnTo>
                    <a:pt x="0" y="0"/>
                  </a:lnTo>
                  <a:lnTo>
                    <a:pt x="0" y="387065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4"/>
            <p:cNvSpPr/>
            <p:nvPr/>
          </p:nvSpPr>
          <p:spPr>
            <a:xfrm>
              <a:off x="4623938" y="3892479"/>
              <a:ext cx="139065" cy="399415"/>
            </a:xfrm>
            <a:custGeom>
              <a:avLst/>
              <a:gdLst/>
              <a:ahLst/>
              <a:cxnLst/>
              <a:rect l="l" t="t" r="r" b="b"/>
              <a:pathLst>
                <a:path w="139064" h="399414">
                  <a:moveTo>
                    <a:pt x="24384" y="0"/>
                  </a:moveTo>
                  <a:lnTo>
                    <a:pt x="0" y="0"/>
                  </a:lnTo>
                  <a:lnTo>
                    <a:pt x="0" y="399257"/>
                  </a:lnTo>
                  <a:lnTo>
                    <a:pt x="138684" y="399257"/>
                  </a:lnTo>
                  <a:lnTo>
                    <a:pt x="138684" y="387065"/>
                  </a:lnTo>
                  <a:lnTo>
                    <a:pt x="24384" y="387065"/>
                  </a:lnTo>
                  <a:lnTo>
                    <a:pt x="12192" y="373349"/>
                  </a:lnTo>
                  <a:lnTo>
                    <a:pt x="24384" y="373349"/>
                  </a:lnTo>
                  <a:lnTo>
                    <a:pt x="24384" y="0"/>
                  </a:lnTo>
                  <a:close/>
                </a:path>
                <a:path w="139064" h="399414">
                  <a:moveTo>
                    <a:pt x="24384" y="373349"/>
                  </a:moveTo>
                  <a:lnTo>
                    <a:pt x="12192" y="373349"/>
                  </a:lnTo>
                  <a:lnTo>
                    <a:pt x="24384" y="387065"/>
                  </a:lnTo>
                  <a:lnTo>
                    <a:pt x="24384" y="373349"/>
                  </a:lnTo>
                  <a:close/>
                </a:path>
                <a:path w="139064" h="399414">
                  <a:moveTo>
                    <a:pt x="114300" y="373349"/>
                  </a:moveTo>
                  <a:lnTo>
                    <a:pt x="24384" y="373349"/>
                  </a:lnTo>
                  <a:lnTo>
                    <a:pt x="24384" y="387065"/>
                  </a:lnTo>
                  <a:lnTo>
                    <a:pt x="114300" y="387065"/>
                  </a:lnTo>
                  <a:lnTo>
                    <a:pt x="114300" y="373349"/>
                  </a:lnTo>
                  <a:close/>
                </a:path>
                <a:path w="139064" h="399414">
                  <a:moveTo>
                    <a:pt x="138684" y="0"/>
                  </a:moveTo>
                  <a:lnTo>
                    <a:pt x="114300" y="0"/>
                  </a:lnTo>
                  <a:lnTo>
                    <a:pt x="114300" y="387065"/>
                  </a:lnTo>
                  <a:lnTo>
                    <a:pt x="126492" y="373349"/>
                  </a:lnTo>
                  <a:lnTo>
                    <a:pt x="138684" y="373349"/>
                  </a:lnTo>
                  <a:lnTo>
                    <a:pt x="138684" y="0"/>
                  </a:lnTo>
                  <a:close/>
                </a:path>
                <a:path w="139064" h="399414">
                  <a:moveTo>
                    <a:pt x="138684" y="373349"/>
                  </a:moveTo>
                  <a:lnTo>
                    <a:pt x="126492" y="373349"/>
                  </a:lnTo>
                  <a:lnTo>
                    <a:pt x="114300" y="387065"/>
                  </a:lnTo>
                  <a:lnTo>
                    <a:pt x="138684" y="387065"/>
                  </a:lnTo>
                  <a:lnTo>
                    <a:pt x="138684" y="373349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55"/>
            <p:cNvSpPr/>
            <p:nvPr/>
          </p:nvSpPr>
          <p:spPr>
            <a:xfrm>
              <a:off x="2063840" y="3892479"/>
              <a:ext cx="114300" cy="387350"/>
            </a:xfrm>
            <a:custGeom>
              <a:avLst/>
              <a:gdLst/>
              <a:ahLst/>
              <a:cxnLst/>
              <a:rect l="l" t="t" r="r" b="b"/>
              <a:pathLst>
                <a:path w="114300" h="387350">
                  <a:moveTo>
                    <a:pt x="0" y="387065"/>
                  </a:moveTo>
                  <a:lnTo>
                    <a:pt x="114288" y="387065"/>
                  </a:lnTo>
                  <a:lnTo>
                    <a:pt x="114288" y="0"/>
                  </a:lnTo>
                  <a:lnTo>
                    <a:pt x="0" y="0"/>
                  </a:lnTo>
                  <a:lnTo>
                    <a:pt x="0" y="387065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56"/>
            <p:cNvSpPr/>
            <p:nvPr/>
          </p:nvSpPr>
          <p:spPr>
            <a:xfrm>
              <a:off x="2051648" y="3892479"/>
              <a:ext cx="140335" cy="399415"/>
            </a:xfrm>
            <a:custGeom>
              <a:avLst/>
              <a:gdLst/>
              <a:ahLst/>
              <a:cxnLst/>
              <a:rect l="l" t="t" r="r" b="b"/>
              <a:pathLst>
                <a:path w="140335" h="399414">
                  <a:moveTo>
                    <a:pt x="25908" y="0"/>
                  </a:moveTo>
                  <a:lnTo>
                    <a:pt x="0" y="0"/>
                  </a:lnTo>
                  <a:lnTo>
                    <a:pt x="0" y="399257"/>
                  </a:lnTo>
                  <a:lnTo>
                    <a:pt x="140195" y="399257"/>
                  </a:lnTo>
                  <a:lnTo>
                    <a:pt x="140195" y="387065"/>
                  </a:lnTo>
                  <a:lnTo>
                    <a:pt x="25908" y="387065"/>
                  </a:lnTo>
                  <a:lnTo>
                    <a:pt x="12192" y="373349"/>
                  </a:lnTo>
                  <a:lnTo>
                    <a:pt x="25908" y="373349"/>
                  </a:lnTo>
                  <a:lnTo>
                    <a:pt x="25908" y="0"/>
                  </a:lnTo>
                  <a:close/>
                </a:path>
                <a:path w="140335" h="399414">
                  <a:moveTo>
                    <a:pt x="25908" y="373349"/>
                  </a:moveTo>
                  <a:lnTo>
                    <a:pt x="12192" y="373349"/>
                  </a:lnTo>
                  <a:lnTo>
                    <a:pt x="25908" y="387065"/>
                  </a:lnTo>
                  <a:lnTo>
                    <a:pt x="25908" y="373349"/>
                  </a:lnTo>
                  <a:close/>
                </a:path>
                <a:path w="140335" h="399414">
                  <a:moveTo>
                    <a:pt x="114287" y="373349"/>
                  </a:moveTo>
                  <a:lnTo>
                    <a:pt x="25908" y="373349"/>
                  </a:lnTo>
                  <a:lnTo>
                    <a:pt x="25908" y="387065"/>
                  </a:lnTo>
                  <a:lnTo>
                    <a:pt x="114287" y="387065"/>
                  </a:lnTo>
                  <a:lnTo>
                    <a:pt x="114287" y="373349"/>
                  </a:lnTo>
                  <a:close/>
                </a:path>
                <a:path w="140335" h="399414">
                  <a:moveTo>
                    <a:pt x="140195" y="0"/>
                  </a:moveTo>
                  <a:lnTo>
                    <a:pt x="114287" y="0"/>
                  </a:lnTo>
                  <a:lnTo>
                    <a:pt x="114287" y="387065"/>
                  </a:lnTo>
                  <a:lnTo>
                    <a:pt x="126479" y="373349"/>
                  </a:lnTo>
                  <a:lnTo>
                    <a:pt x="140195" y="373349"/>
                  </a:lnTo>
                  <a:lnTo>
                    <a:pt x="140195" y="0"/>
                  </a:lnTo>
                  <a:close/>
                </a:path>
                <a:path w="140335" h="399414">
                  <a:moveTo>
                    <a:pt x="140195" y="373349"/>
                  </a:moveTo>
                  <a:lnTo>
                    <a:pt x="126479" y="373349"/>
                  </a:lnTo>
                  <a:lnTo>
                    <a:pt x="114287" y="387065"/>
                  </a:lnTo>
                  <a:lnTo>
                    <a:pt x="140195" y="387065"/>
                  </a:lnTo>
                  <a:lnTo>
                    <a:pt x="140195" y="373349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57"/>
            <p:cNvSpPr/>
            <p:nvPr/>
          </p:nvSpPr>
          <p:spPr>
            <a:xfrm>
              <a:off x="1759064" y="4297826"/>
              <a:ext cx="3657600" cy="325120"/>
            </a:xfrm>
            <a:custGeom>
              <a:avLst/>
              <a:gdLst/>
              <a:ahLst/>
              <a:cxnLst/>
              <a:rect l="l" t="t" r="r" b="b"/>
              <a:pathLst>
                <a:path w="3657600" h="325120">
                  <a:moveTo>
                    <a:pt x="3657295" y="0"/>
                  </a:moveTo>
                  <a:lnTo>
                    <a:pt x="0" y="0"/>
                  </a:lnTo>
                  <a:lnTo>
                    <a:pt x="0" y="324587"/>
                  </a:lnTo>
                  <a:lnTo>
                    <a:pt x="3657295" y="324587"/>
                  </a:lnTo>
                  <a:lnTo>
                    <a:pt x="3657295" y="0"/>
                  </a:lnTo>
                  <a:close/>
                </a:path>
              </a:pathLst>
            </a:custGeom>
            <a:solidFill>
              <a:srgbClr val="FF9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58"/>
            <p:cNvSpPr/>
            <p:nvPr/>
          </p:nvSpPr>
          <p:spPr>
            <a:xfrm>
              <a:off x="1746872" y="4285640"/>
              <a:ext cx="3683635" cy="349250"/>
            </a:xfrm>
            <a:custGeom>
              <a:avLst/>
              <a:gdLst/>
              <a:ahLst/>
              <a:cxnLst/>
              <a:rect l="l" t="t" r="r" b="b"/>
              <a:pathLst>
                <a:path w="3683635" h="349250">
                  <a:moveTo>
                    <a:pt x="3683200" y="0"/>
                  </a:moveTo>
                  <a:lnTo>
                    <a:pt x="0" y="0"/>
                  </a:lnTo>
                  <a:lnTo>
                    <a:pt x="0" y="348965"/>
                  </a:lnTo>
                  <a:lnTo>
                    <a:pt x="3683200" y="348965"/>
                  </a:lnTo>
                  <a:lnTo>
                    <a:pt x="3683200" y="336773"/>
                  </a:lnTo>
                  <a:lnTo>
                    <a:pt x="25908" y="336773"/>
                  </a:lnTo>
                  <a:lnTo>
                    <a:pt x="12192" y="323057"/>
                  </a:lnTo>
                  <a:lnTo>
                    <a:pt x="25908" y="323057"/>
                  </a:lnTo>
                  <a:lnTo>
                    <a:pt x="25908" y="24384"/>
                  </a:lnTo>
                  <a:lnTo>
                    <a:pt x="12192" y="24384"/>
                  </a:lnTo>
                  <a:lnTo>
                    <a:pt x="25908" y="12192"/>
                  </a:lnTo>
                  <a:lnTo>
                    <a:pt x="3683200" y="12192"/>
                  </a:lnTo>
                  <a:lnTo>
                    <a:pt x="3683200" y="0"/>
                  </a:lnTo>
                  <a:close/>
                </a:path>
                <a:path w="3683635" h="349250">
                  <a:moveTo>
                    <a:pt x="25908" y="323057"/>
                  </a:moveTo>
                  <a:lnTo>
                    <a:pt x="12192" y="323057"/>
                  </a:lnTo>
                  <a:lnTo>
                    <a:pt x="25908" y="336773"/>
                  </a:lnTo>
                  <a:lnTo>
                    <a:pt x="25908" y="323057"/>
                  </a:lnTo>
                  <a:close/>
                </a:path>
                <a:path w="3683635" h="349250">
                  <a:moveTo>
                    <a:pt x="3657292" y="323057"/>
                  </a:moveTo>
                  <a:lnTo>
                    <a:pt x="25908" y="323057"/>
                  </a:lnTo>
                  <a:lnTo>
                    <a:pt x="25908" y="336773"/>
                  </a:lnTo>
                  <a:lnTo>
                    <a:pt x="3657292" y="336773"/>
                  </a:lnTo>
                  <a:lnTo>
                    <a:pt x="3657292" y="323057"/>
                  </a:lnTo>
                  <a:close/>
                </a:path>
                <a:path w="3683635" h="349250">
                  <a:moveTo>
                    <a:pt x="3657292" y="12192"/>
                  </a:moveTo>
                  <a:lnTo>
                    <a:pt x="3657292" y="336773"/>
                  </a:lnTo>
                  <a:lnTo>
                    <a:pt x="3669484" y="323057"/>
                  </a:lnTo>
                  <a:lnTo>
                    <a:pt x="3683200" y="323057"/>
                  </a:lnTo>
                  <a:lnTo>
                    <a:pt x="3683200" y="24384"/>
                  </a:lnTo>
                  <a:lnTo>
                    <a:pt x="3669484" y="24384"/>
                  </a:lnTo>
                  <a:lnTo>
                    <a:pt x="3657292" y="12192"/>
                  </a:lnTo>
                  <a:close/>
                </a:path>
                <a:path w="3683635" h="349250">
                  <a:moveTo>
                    <a:pt x="3683200" y="323057"/>
                  </a:moveTo>
                  <a:lnTo>
                    <a:pt x="3669484" y="323057"/>
                  </a:lnTo>
                  <a:lnTo>
                    <a:pt x="3657292" y="336773"/>
                  </a:lnTo>
                  <a:lnTo>
                    <a:pt x="3683200" y="336773"/>
                  </a:lnTo>
                  <a:lnTo>
                    <a:pt x="3683200" y="323057"/>
                  </a:lnTo>
                  <a:close/>
                </a:path>
                <a:path w="3683635" h="349250">
                  <a:moveTo>
                    <a:pt x="25908" y="12192"/>
                  </a:moveTo>
                  <a:lnTo>
                    <a:pt x="12192" y="24384"/>
                  </a:lnTo>
                  <a:lnTo>
                    <a:pt x="25908" y="24384"/>
                  </a:lnTo>
                  <a:lnTo>
                    <a:pt x="25908" y="12192"/>
                  </a:lnTo>
                  <a:close/>
                </a:path>
                <a:path w="3683635" h="349250">
                  <a:moveTo>
                    <a:pt x="3657292" y="12192"/>
                  </a:moveTo>
                  <a:lnTo>
                    <a:pt x="25908" y="12192"/>
                  </a:lnTo>
                  <a:lnTo>
                    <a:pt x="25908" y="24384"/>
                  </a:lnTo>
                  <a:lnTo>
                    <a:pt x="3657292" y="24384"/>
                  </a:lnTo>
                  <a:lnTo>
                    <a:pt x="3657292" y="12192"/>
                  </a:lnTo>
                  <a:close/>
                </a:path>
                <a:path w="3683635" h="349250">
                  <a:moveTo>
                    <a:pt x="3683200" y="12192"/>
                  </a:moveTo>
                  <a:lnTo>
                    <a:pt x="3657292" y="12192"/>
                  </a:lnTo>
                  <a:lnTo>
                    <a:pt x="3669484" y="24384"/>
                  </a:lnTo>
                  <a:lnTo>
                    <a:pt x="3683200" y="24384"/>
                  </a:lnTo>
                  <a:lnTo>
                    <a:pt x="3683200" y="1219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59"/>
            <p:cNvSpPr/>
            <p:nvPr/>
          </p:nvSpPr>
          <p:spPr>
            <a:xfrm>
              <a:off x="1774304" y="6118872"/>
              <a:ext cx="3657600" cy="361315"/>
            </a:xfrm>
            <a:custGeom>
              <a:avLst/>
              <a:gdLst/>
              <a:ahLst/>
              <a:cxnLst/>
              <a:rect l="l" t="t" r="r" b="b"/>
              <a:pathLst>
                <a:path w="3657600" h="361314">
                  <a:moveTo>
                    <a:pt x="3657295" y="0"/>
                  </a:moveTo>
                  <a:lnTo>
                    <a:pt x="0" y="0"/>
                  </a:lnTo>
                  <a:lnTo>
                    <a:pt x="0" y="361151"/>
                  </a:lnTo>
                  <a:lnTo>
                    <a:pt x="3657295" y="361151"/>
                  </a:lnTo>
                  <a:lnTo>
                    <a:pt x="3657295" y="0"/>
                  </a:lnTo>
                  <a:close/>
                </a:path>
              </a:pathLst>
            </a:custGeom>
            <a:solidFill>
              <a:srgbClr val="FF9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" name="object 60"/>
            <p:cNvSpPr/>
            <p:nvPr/>
          </p:nvSpPr>
          <p:spPr>
            <a:xfrm>
              <a:off x="1762112" y="6106680"/>
              <a:ext cx="3681729" cy="387350"/>
            </a:xfrm>
            <a:custGeom>
              <a:avLst/>
              <a:gdLst/>
              <a:ahLst/>
              <a:cxnLst/>
              <a:rect l="l" t="t" r="r" b="b"/>
              <a:pathLst>
                <a:path w="3681729" h="387350">
                  <a:moveTo>
                    <a:pt x="3681676" y="0"/>
                  </a:moveTo>
                  <a:lnTo>
                    <a:pt x="0" y="0"/>
                  </a:lnTo>
                  <a:lnTo>
                    <a:pt x="0" y="387059"/>
                  </a:lnTo>
                  <a:lnTo>
                    <a:pt x="3681676" y="387059"/>
                  </a:lnTo>
                  <a:lnTo>
                    <a:pt x="3681676" y="373343"/>
                  </a:lnTo>
                  <a:lnTo>
                    <a:pt x="24384" y="373343"/>
                  </a:lnTo>
                  <a:lnTo>
                    <a:pt x="12192" y="361151"/>
                  </a:lnTo>
                  <a:lnTo>
                    <a:pt x="24384" y="361151"/>
                  </a:lnTo>
                  <a:lnTo>
                    <a:pt x="24384" y="24371"/>
                  </a:lnTo>
                  <a:lnTo>
                    <a:pt x="12192" y="24371"/>
                  </a:lnTo>
                  <a:lnTo>
                    <a:pt x="24384" y="12192"/>
                  </a:lnTo>
                  <a:lnTo>
                    <a:pt x="3681676" y="12192"/>
                  </a:lnTo>
                  <a:lnTo>
                    <a:pt x="3681676" y="0"/>
                  </a:lnTo>
                  <a:close/>
                </a:path>
                <a:path w="3681729" h="387350">
                  <a:moveTo>
                    <a:pt x="24384" y="361151"/>
                  </a:moveTo>
                  <a:lnTo>
                    <a:pt x="12192" y="361151"/>
                  </a:lnTo>
                  <a:lnTo>
                    <a:pt x="24384" y="373343"/>
                  </a:lnTo>
                  <a:lnTo>
                    <a:pt x="24384" y="361151"/>
                  </a:lnTo>
                  <a:close/>
                </a:path>
                <a:path w="3681729" h="387350">
                  <a:moveTo>
                    <a:pt x="3657292" y="361151"/>
                  </a:moveTo>
                  <a:lnTo>
                    <a:pt x="24384" y="361151"/>
                  </a:lnTo>
                  <a:lnTo>
                    <a:pt x="24384" y="373343"/>
                  </a:lnTo>
                  <a:lnTo>
                    <a:pt x="3657292" y="373343"/>
                  </a:lnTo>
                  <a:lnTo>
                    <a:pt x="3657292" y="361151"/>
                  </a:lnTo>
                  <a:close/>
                </a:path>
                <a:path w="3681729" h="387350">
                  <a:moveTo>
                    <a:pt x="3657292" y="12192"/>
                  </a:moveTo>
                  <a:lnTo>
                    <a:pt x="3657292" y="373343"/>
                  </a:lnTo>
                  <a:lnTo>
                    <a:pt x="3669484" y="361151"/>
                  </a:lnTo>
                  <a:lnTo>
                    <a:pt x="3681676" y="361151"/>
                  </a:lnTo>
                  <a:lnTo>
                    <a:pt x="3681676" y="24371"/>
                  </a:lnTo>
                  <a:lnTo>
                    <a:pt x="3669484" y="24371"/>
                  </a:lnTo>
                  <a:lnTo>
                    <a:pt x="3657292" y="12192"/>
                  </a:lnTo>
                  <a:close/>
                </a:path>
                <a:path w="3681729" h="387350">
                  <a:moveTo>
                    <a:pt x="3681676" y="361151"/>
                  </a:moveTo>
                  <a:lnTo>
                    <a:pt x="3669484" y="361151"/>
                  </a:lnTo>
                  <a:lnTo>
                    <a:pt x="3657292" y="373343"/>
                  </a:lnTo>
                  <a:lnTo>
                    <a:pt x="3681676" y="373343"/>
                  </a:lnTo>
                  <a:lnTo>
                    <a:pt x="3681676" y="361151"/>
                  </a:lnTo>
                  <a:close/>
                </a:path>
                <a:path w="3681729" h="387350">
                  <a:moveTo>
                    <a:pt x="24384" y="12192"/>
                  </a:moveTo>
                  <a:lnTo>
                    <a:pt x="12192" y="24371"/>
                  </a:lnTo>
                  <a:lnTo>
                    <a:pt x="24384" y="24371"/>
                  </a:lnTo>
                  <a:lnTo>
                    <a:pt x="24384" y="12192"/>
                  </a:lnTo>
                  <a:close/>
                </a:path>
                <a:path w="3681729" h="387350">
                  <a:moveTo>
                    <a:pt x="3657292" y="12192"/>
                  </a:moveTo>
                  <a:lnTo>
                    <a:pt x="24384" y="12192"/>
                  </a:lnTo>
                  <a:lnTo>
                    <a:pt x="24384" y="24371"/>
                  </a:lnTo>
                  <a:lnTo>
                    <a:pt x="3657292" y="24371"/>
                  </a:lnTo>
                  <a:lnTo>
                    <a:pt x="3657292" y="12192"/>
                  </a:lnTo>
                  <a:close/>
                </a:path>
                <a:path w="3681729" h="387350">
                  <a:moveTo>
                    <a:pt x="3681676" y="12192"/>
                  </a:moveTo>
                  <a:lnTo>
                    <a:pt x="3657292" y="12192"/>
                  </a:lnTo>
                  <a:lnTo>
                    <a:pt x="3669484" y="24371"/>
                  </a:lnTo>
                  <a:lnTo>
                    <a:pt x="3681676" y="24371"/>
                  </a:lnTo>
                  <a:lnTo>
                    <a:pt x="3681676" y="1219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" name="object 61"/>
            <p:cNvSpPr/>
            <p:nvPr/>
          </p:nvSpPr>
          <p:spPr>
            <a:xfrm>
              <a:off x="3295131" y="5651040"/>
              <a:ext cx="571500" cy="457200"/>
            </a:xfrm>
            <a:custGeom>
              <a:avLst/>
              <a:gdLst/>
              <a:ahLst/>
              <a:cxnLst/>
              <a:rect l="l" t="t" r="r" b="b"/>
              <a:pathLst>
                <a:path w="571500" h="457200">
                  <a:moveTo>
                    <a:pt x="428213" y="0"/>
                  </a:moveTo>
                  <a:lnTo>
                    <a:pt x="143225" y="0"/>
                  </a:lnTo>
                  <a:lnTo>
                    <a:pt x="143225" y="342863"/>
                  </a:lnTo>
                  <a:lnTo>
                    <a:pt x="0" y="342863"/>
                  </a:lnTo>
                  <a:lnTo>
                    <a:pt x="284957" y="457163"/>
                  </a:lnTo>
                  <a:lnTo>
                    <a:pt x="571439" y="342863"/>
                  </a:lnTo>
                  <a:lnTo>
                    <a:pt x="428213" y="342863"/>
                  </a:lnTo>
                  <a:lnTo>
                    <a:pt x="428213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" name="object 62"/>
            <p:cNvSpPr/>
            <p:nvPr/>
          </p:nvSpPr>
          <p:spPr>
            <a:xfrm>
              <a:off x="3228075" y="5637324"/>
              <a:ext cx="704215" cy="485140"/>
            </a:xfrm>
            <a:custGeom>
              <a:avLst/>
              <a:gdLst/>
              <a:ahLst/>
              <a:cxnLst/>
              <a:rect l="l" t="t" r="r" b="b"/>
              <a:pathLst>
                <a:path w="704214" h="485139">
                  <a:moveTo>
                    <a:pt x="196565" y="342863"/>
                  </a:moveTo>
                  <a:lnTo>
                    <a:pt x="0" y="342863"/>
                  </a:lnTo>
                  <a:lnTo>
                    <a:pt x="352013" y="484595"/>
                  </a:lnTo>
                  <a:lnTo>
                    <a:pt x="416360" y="458687"/>
                  </a:lnTo>
                  <a:lnTo>
                    <a:pt x="347441" y="458687"/>
                  </a:lnTo>
                  <a:lnTo>
                    <a:pt x="352025" y="456858"/>
                  </a:lnTo>
                  <a:lnTo>
                    <a:pt x="132418" y="368771"/>
                  </a:lnTo>
                  <a:lnTo>
                    <a:pt x="67056" y="368771"/>
                  </a:lnTo>
                  <a:lnTo>
                    <a:pt x="71628" y="344387"/>
                  </a:lnTo>
                  <a:lnTo>
                    <a:pt x="196565" y="344387"/>
                  </a:lnTo>
                  <a:lnTo>
                    <a:pt x="196565" y="342863"/>
                  </a:lnTo>
                  <a:close/>
                </a:path>
                <a:path w="704214" h="485139">
                  <a:moveTo>
                    <a:pt x="352025" y="456858"/>
                  </a:moveTo>
                  <a:lnTo>
                    <a:pt x="347441" y="458687"/>
                  </a:lnTo>
                  <a:lnTo>
                    <a:pt x="356585" y="458687"/>
                  </a:lnTo>
                  <a:lnTo>
                    <a:pt x="352025" y="456858"/>
                  </a:lnTo>
                  <a:close/>
                </a:path>
                <a:path w="704214" h="485139">
                  <a:moveTo>
                    <a:pt x="633923" y="344387"/>
                  </a:moveTo>
                  <a:lnTo>
                    <a:pt x="352025" y="456858"/>
                  </a:lnTo>
                  <a:lnTo>
                    <a:pt x="356585" y="458687"/>
                  </a:lnTo>
                  <a:lnTo>
                    <a:pt x="416360" y="458687"/>
                  </a:lnTo>
                  <a:lnTo>
                    <a:pt x="639680" y="368771"/>
                  </a:lnTo>
                  <a:lnTo>
                    <a:pt x="638495" y="368771"/>
                  </a:lnTo>
                  <a:lnTo>
                    <a:pt x="633923" y="344387"/>
                  </a:lnTo>
                  <a:close/>
                </a:path>
                <a:path w="704214" h="485139">
                  <a:moveTo>
                    <a:pt x="71628" y="344387"/>
                  </a:moveTo>
                  <a:lnTo>
                    <a:pt x="67056" y="368771"/>
                  </a:lnTo>
                  <a:lnTo>
                    <a:pt x="132418" y="368771"/>
                  </a:lnTo>
                  <a:lnTo>
                    <a:pt x="71628" y="344387"/>
                  </a:lnTo>
                  <a:close/>
                </a:path>
                <a:path w="704214" h="485139">
                  <a:moveTo>
                    <a:pt x="196565" y="344387"/>
                  </a:moveTo>
                  <a:lnTo>
                    <a:pt x="71628" y="344387"/>
                  </a:lnTo>
                  <a:lnTo>
                    <a:pt x="132418" y="368771"/>
                  </a:lnTo>
                  <a:lnTo>
                    <a:pt x="222473" y="368771"/>
                  </a:lnTo>
                  <a:lnTo>
                    <a:pt x="222473" y="356579"/>
                  </a:lnTo>
                  <a:lnTo>
                    <a:pt x="196565" y="356579"/>
                  </a:lnTo>
                  <a:lnTo>
                    <a:pt x="196565" y="344387"/>
                  </a:lnTo>
                  <a:close/>
                </a:path>
                <a:path w="704214" h="485139">
                  <a:moveTo>
                    <a:pt x="483077" y="13716"/>
                  </a:moveTo>
                  <a:lnTo>
                    <a:pt x="483077" y="368771"/>
                  </a:lnTo>
                  <a:lnTo>
                    <a:pt x="572807" y="368771"/>
                  </a:lnTo>
                  <a:lnTo>
                    <a:pt x="603365" y="356579"/>
                  </a:lnTo>
                  <a:lnTo>
                    <a:pt x="507461" y="356579"/>
                  </a:lnTo>
                  <a:lnTo>
                    <a:pt x="495269" y="342863"/>
                  </a:lnTo>
                  <a:lnTo>
                    <a:pt x="507461" y="342863"/>
                  </a:lnTo>
                  <a:lnTo>
                    <a:pt x="507461" y="25908"/>
                  </a:lnTo>
                  <a:lnTo>
                    <a:pt x="495269" y="25908"/>
                  </a:lnTo>
                  <a:lnTo>
                    <a:pt x="483077" y="13716"/>
                  </a:lnTo>
                  <a:close/>
                </a:path>
                <a:path w="704214" h="485139">
                  <a:moveTo>
                    <a:pt x="700241" y="344387"/>
                  </a:moveTo>
                  <a:lnTo>
                    <a:pt x="633923" y="344387"/>
                  </a:lnTo>
                  <a:lnTo>
                    <a:pt x="638495" y="368771"/>
                  </a:lnTo>
                  <a:lnTo>
                    <a:pt x="639680" y="368771"/>
                  </a:lnTo>
                  <a:lnTo>
                    <a:pt x="700241" y="344387"/>
                  </a:lnTo>
                  <a:close/>
                </a:path>
                <a:path w="704214" h="485139">
                  <a:moveTo>
                    <a:pt x="507461" y="0"/>
                  </a:moveTo>
                  <a:lnTo>
                    <a:pt x="196565" y="0"/>
                  </a:lnTo>
                  <a:lnTo>
                    <a:pt x="196565" y="356579"/>
                  </a:lnTo>
                  <a:lnTo>
                    <a:pt x="210281" y="342863"/>
                  </a:lnTo>
                  <a:lnTo>
                    <a:pt x="222473" y="342863"/>
                  </a:lnTo>
                  <a:lnTo>
                    <a:pt x="222473" y="25908"/>
                  </a:lnTo>
                  <a:lnTo>
                    <a:pt x="210281" y="25908"/>
                  </a:lnTo>
                  <a:lnTo>
                    <a:pt x="222473" y="13716"/>
                  </a:lnTo>
                  <a:lnTo>
                    <a:pt x="507461" y="13716"/>
                  </a:lnTo>
                  <a:lnTo>
                    <a:pt x="507461" y="0"/>
                  </a:lnTo>
                  <a:close/>
                </a:path>
                <a:path w="704214" h="485139">
                  <a:moveTo>
                    <a:pt x="222473" y="342863"/>
                  </a:moveTo>
                  <a:lnTo>
                    <a:pt x="210281" y="342863"/>
                  </a:lnTo>
                  <a:lnTo>
                    <a:pt x="196565" y="356579"/>
                  </a:lnTo>
                  <a:lnTo>
                    <a:pt x="222473" y="356579"/>
                  </a:lnTo>
                  <a:lnTo>
                    <a:pt x="222473" y="342863"/>
                  </a:lnTo>
                  <a:close/>
                </a:path>
                <a:path w="704214" h="485139">
                  <a:moveTo>
                    <a:pt x="507461" y="342863"/>
                  </a:moveTo>
                  <a:lnTo>
                    <a:pt x="495269" y="342863"/>
                  </a:lnTo>
                  <a:lnTo>
                    <a:pt x="507461" y="356579"/>
                  </a:lnTo>
                  <a:lnTo>
                    <a:pt x="507461" y="342863"/>
                  </a:lnTo>
                  <a:close/>
                </a:path>
                <a:path w="704214" h="485139">
                  <a:moveTo>
                    <a:pt x="704027" y="342863"/>
                  </a:moveTo>
                  <a:lnTo>
                    <a:pt x="507461" y="342863"/>
                  </a:lnTo>
                  <a:lnTo>
                    <a:pt x="507461" y="356579"/>
                  </a:lnTo>
                  <a:lnTo>
                    <a:pt x="603365" y="356579"/>
                  </a:lnTo>
                  <a:lnTo>
                    <a:pt x="633923" y="344387"/>
                  </a:lnTo>
                  <a:lnTo>
                    <a:pt x="700241" y="344387"/>
                  </a:lnTo>
                  <a:lnTo>
                    <a:pt x="704027" y="342863"/>
                  </a:lnTo>
                  <a:close/>
                </a:path>
                <a:path w="704214" h="485139">
                  <a:moveTo>
                    <a:pt x="222473" y="13716"/>
                  </a:moveTo>
                  <a:lnTo>
                    <a:pt x="210281" y="25908"/>
                  </a:lnTo>
                  <a:lnTo>
                    <a:pt x="222473" y="25908"/>
                  </a:lnTo>
                  <a:lnTo>
                    <a:pt x="222473" y="13716"/>
                  </a:lnTo>
                  <a:close/>
                </a:path>
                <a:path w="704214" h="485139">
                  <a:moveTo>
                    <a:pt x="483077" y="13716"/>
                  </a:moveTo>
                  <a:lnTo>
                    <a:pt x="222473" y="13716"/>
                  </a:lnTo>
                  <a:lnTo>
                    <a:pt x="222473" y="25908"/>
                  </a:lnTo>
                  <a:lnTo>
                    <a:pt x="483077" y="25908"/>
                  </a:lnTo>
                  <a:lnTo>
                    <a:pt x="483077" y="13716"/>
                  </a:lnTo>
                  <a:close/>
                </a:path>
                <a:path w="704214" h="485139">
                  <a:moveTo>
                    <a:pt x="507461" y="13716"/>
                  </a:moveTo>
                  <a:lnTo>
                    <a:pt x="483077" y="13716"/>
                  </a:lnTo>
                  <a:lnTo>
                    <a:pt x="495269" y="25908"/>
                  </a:lnTo>
                  <a:lnTo>
                    <a:pt x="507461" y="25908"/>
                  </a:lnTo>
                  <a:lnTo>
                    <a:pt x="507461" y="13716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" name="object 63"/>
            <p:cNvSpPr/>
            <p:nvPr/>
          </p:nvSpPr>
          <p:spPr>
            <a:xfrm>
              <a:off x="1888592" y="5419405"/>
              <a:ext cx="3657600" cy="323215"/>
            </a:xfrm>
            <a:custGeom>
              <a:avLst/>
              <a:gdLst/>
              <a:ahLst/>
              <a:cxnLst/>
              <a:rect l="l" t="t" r="r" b="b"/>
              <a:pathLst>
                <a:path w="3657600" h="323214">
                  <a:moveTo>
                    <a:pt x="3657295" y="0"/>
                  </a:moveTo>
                  <a:lnTo>
                    <a:pt x="0" y="0"/>
                  </a:lnTo>
                  <a:lnTo>
                    <a:pt x="0" y="323063"/>
                  </a:lnTo>
                  <a:lnTo>
                    <a:pt x="3657295" y="323063"/>
                  </a:lnTo>
                  <a:lnTo>
                    <a:pt x="3657295" y="0"/>
                  </a:lnTo>
                  <a:close/>
                </a:path>
              </a:pathLst>
            </a:custGeom>
            <a:solidFill>
              <a:srgbClr val="FF9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" name="object 64"/>
            <p:cNvSpPr/>
            <p:nvPr/>
          </p:nvSpPr>
          <p:spPr>
            <a:xfrm>
              <a:off x="1876400" y="5405698"/>
              <a:ext cx="3681729" cy="349250"/>
            </a:xfrm>
            <a:custGeom>
              <a:avLst/>
              <a:gdLst/>
              <a:ahLst/>
              <a:cxnLst/>
              <a:rect l="l" t="t" r="r" b="b"/>
              <a:pathLst>
                <a:path w="3681729" h="349250">
                  <a:moveTo>
                    <a:pt x="3681688" y="0"/>
                  </a:moveTo>
                  <a:lnTo>
                    <a:pt x="0" y="0"/>
                  </a:lnTo>
                  <a:lnTo>
                    <a:pt x="0" y="348962"/>
                  </a:lnTo>
                  <a:lnTo>
                    <a:pt x="3681688" y="348962"/>
                  </a:lnTo>
                  <a:lnTo>
                    <a:pt x="3681688" y="336770"/>
                  </a:lnTo>
                  <a:lnTo>
                    <a:pt x="24384" y="336770"/>
                  </a:lnTo>
                  <a:lnTo>
                    <a:pt x="12192" y="324578"/>
                  </a:lnTo>
                  <a:lnTo>
                    <a:pt x="24384" y="324578"/>
                  </a:lnTo>
                  <a:lnTo>
                    <a:pt x="24384" y="25898"/>
                  </a:lnTo>
                  <a:lnTo>
                    <a:pt x="12192" y="25898"/>
                  </a:lnTo>
                  <a:lnTo>
                    <a:pt x="24384" y="13706"/>
                  </a:lnTo>
                  <a:lnTo>
                    <a:pt x="3681688" y="13706"/>
                  </a:lnTo>
                  <a:lnTo>
                    <a:pt x="3681688" y="0"/>
                  </a:lnTo>
                  <a:close/>
                </a:path>
                <a:path w="3681729" h="349250">
                  <a:moveTo>
                    <a:pt x="24384" y="324578"/>
                  </a:moveTo>
                  <a:lnTo>
                    <a:pt x="12192" y="324578"/>
                  </a:lnTo>
                  <a:lnTo>
                    <a:pt x="24384" y="336770"/>
                  </a:lnTo>
                  <a:lnTo>
                    <a:pt x="24384" y="324578"/>
                  </a:lnTo>
                  <a:close/>
                </a:path>
                <a:path w="3681729" h="349250">
                  <a:moveTo>
                    <a:pt x="3657304" y="324578"/>
                  </a:moveTo>
                  <a:lnTo>
                    <a:pt x="24384" y="324578"/>
                  </a:lnTo>
                  <a:lnTo>
                    <a:pt x="24384" y="336770"/>
                  </a:lnTo>
                  <a:lnTo>
                    <a:pt x="3657304" y="336770"/>
                  </a:lnTo>
                  <a:lnTo>
                    <a:pt x="3657304" y="324578"/>
                  </a:lnTo>
                  <a:close/>
                </a:path>
                <a:path w="3681729" h="349250">
                  <a:moveTo>
                    <a:pt x="3657304" y="13706"/>
                  </a:moveTo>
                  <a:lnTo>
                    <a:pt x="3657304" y="336770"/>
                  </a:lnTo>
                  <a:lnTo>
                    <a:pt x="3669496" y="324578"/>
                  </a:lnTo>
                  <a:lnTo>
                    <a:pt x="3681688" y="324578"/>
                  </a:lnTo>
                  <a:lnTo>
                    <a:pt x="3681688" y="25898"/>
                  </a:lnTo>
                  <a:lnTo>
                    <a:pt x="3669496" y="25898"/>
                  </a:lnTo>
                  <a:lnTo>
                    <a:pt x="3657304" y="13706"/>
                  </a:lnTo>
                  <a:close/>
                </a:path>
                <a:path w="3681729" h="349250">
                  <a:moveTo>
                    <a:pt x="3681688" y="324578"/>
                  </a:moveTo>
                  <a:lnTo>
                    <a:pt x="3669496" y="324578"/>
                  </a:lnTo>
                  <a:lnTo>
                    <a:pt x="3657304" y="336770"/>
                  </a:lnTo>
                  <a:lnTo>
                    <a:pt x="3681688" y="336770"/>
                  </a:lnTo>
                  <a:lnTo>
                    <a:pt x="3681688" y="324578"/>
                  </a:lnTo>
                  <a:close/>
                </a:path>
                <a:path w="3681729" h="349250">
                  <a:moveTo>
                    <a:pt x="24384" y="13706"/>
                  </a:moveTo>
                  <a:lnTo>
                    <a:pt x="12192" y="25898"/>
                  </a:lnTo>
                  <a:lnTo>
                    <a:pt x="24384" y="25898"/>
                  </a:lnTo>
                  <a:lnTo>
                    <a:pt x="24384" y="13706"/>
                  </a:lnTo>
                  <a:close/>
                </a:path>
                <a:path w="3681729" h="349250">
                  <a:moveTo>
                    <a:pt x="3657304" y="13706"/>
                  </a:moveTo>
                  <a:lnTo>
                    <a:pt x="24384" y="13706"/>
                  </a:lnTo>
                  <a:lnTo>
                    <a:pt x="24384" y="25898"/>
                  </a:lnTo>
                  <a:lnTo>
                    <a:pt x="3657304" y="25898"/>
                  </a:lnTo>
                  <a:lnTo>
                    <a:pt x="3657304" y="13706"/>
                  </a:lnTo>
                  <a:close/>
                </a:path>
                <a:path w="3681729" h="349250">
                  <a:moveTo>
                    <a:pt x="3681688" y="13706"/>
                  </a:moveTo>
                  <a:lnTo>
                    <a:pt x="3657304" y="13706"/>
                  </a:lnTo>
                  <a:lnTo>
                    <a:pt x="3669496" y="25898"/>
                  </a:lnTo>
                  <a:lnTo>
                    <a:pt x="3681688" y="25898"/>
                  </a:lnTo>
                  <a:lnTo>
                    <a:pt x="3681688" y="13706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" name="object 65"/>
            <p:cNvSpPr/>
            <p:nvPr/>
          </p:nvSpPr>
          <p:spPr>
            <a:xfrm>
              <a:off x="2274127" y="4666610"/>
              <a:ext cx="2590800" cy="723900"/>
            </a:xfrm>
            <a:custGeom>
              <a:avLst/>
              <a:gdLst/>
              <a:ahLst/>
              <a:cxnLst/>
              <a:rect l="l" t="t" r="r" b="b"/>
              <a:pathLst>
                <a:path w="2590800" h="723900">
                  <a:moveTo>
                    <a:pt x="2590601" y="0"/>
                  </a:moveTo>
                  <a:lnTo>
                    <a:pt x="0" y="0"/>
                  </a:lnTo>
                  <a:lnTo>
                    <a:pt x="1295293" y="723848"/>
                  </a:lnTo>
                  <a:lnTo>
                    <a:pt x="2590601" y="0"/>
                  </a:lnTo>
                  <a:close/>
                </a:path>
              </a:pathLst>
            </a:custGeom>
            <a:solidFill>
              <a:srgbClr val="FCDA8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" name="object 66"/>
            <p:cNvSpPr/>
            <p:nvPr/>
          </p:nvSpPr>
          <p:spPr>
            <a:xfrm>
              <a:off x="2225372" y="4652893"/>
              <a:ext cx="2688590" cy="751840"/>
            </a:xfrm>
            <a:custGeom>
              <a:avLst/>
              <a:gdLst/>
              <a:ahLst/>
              <a:cxnLst/>
              <a:rect l="l" t="t" r="r" b="b"/>
              <a:pathLst>
                <a:path w="2688590" h="751839">
                  <a:moveTo>
                    <a:pt x="2688125" y="0"/>
                  </a:moveTo>
                  <a:lnTo>
                    <a:pt x="0" y="0"/>
                  </a:lnTo>
                  <a:lnTo>
                    <a:pt x="1344049" y="751280"/>
                  </a:lnTo>
                  <a:lnTo>
                    <a:pt x="1390399" y="725372"/>
                  </a:lnTo>
                  <a:lnTo>
                    <a:pt x="1337953" y="725372"/>
                  </a:lnTo>
                  <a:lnTo>
                    <a:pt x="1344049" y="721965"/>
                  </a:lnTo>
                  <a:lnTo>
                    <a:pt x="98485" y="25908"/>
                  </a:lnTo>
                  <a:lnTo>
                    <a:pt x="48755" y="25908"/>
                  </a:lnTo>
                  <a:lnTo>
                    <a:pt x="54851" y="1524"/>
                  </a:lnTo>
                  <a:lnTo>
                    <a:pt x="2685399" y="1524"/>
                  </a:lnTo>
                  <a:lnTo>
                    <a:pt x="2688125" y="0"/>
                  </a:lnTo>
                  <a:close/>
                </a:path>
                <a:path w="2688590" h="751839">
                  <a:moveTo>
                    <a:pt x="1344049" y="721965"/>
                  </a:moveTo>
                  <a:lnTo>
                    <a:pt x="1337953" y="725372"/>
                  </a:lnTo>
                  <a:lnTo>
                    <a:pt x="1350145" y="725372"/>
                  </a:lnTo>
                  <a:lnTo>
                    <a:pt x="1344049" y="721965"/>
                  </a:lnTo>
                  <a:close/>
                </a:path>
                <a:path w="2688590" h="751839">
                  <a:moveTo>
                    <a:pt x="2633261" y="1524"/>
                  </a:moveTo>
                  <a:lnTo>
                    <a:pt x="1344049" y="721965"/>
                  </a:lnTo>
                  <a:lnTo>
                    <a:pt x="1350145" y="725372"/>
                  </a:lnTo>
                  <a:lnTo>
                    <a:pt x="1390399" y="725372"/>
                  </a:lnTo>
                  <a:lnTo>
                    <a:pt x="2641775" y="25908"/>
                  </a:lnTo>
                  <a:lnTo>
                    <a:pt x="2639357" y="25908"/>
                  </a:lnTo>
                  <a:lnTo>
                    <a:pt x="2633261" y="1524"/>
                  </a:lnTo>
                  <a:close/>
                </a:path>
                <a:path w="2688590" h="751839">
                  <a:moveTo>
                    <a:pt x="54851" y="1524"/>
                  </a:moveTo>
                  <a:lnTo>
                    <a:pt x="48755" y="25908"/>
                  </a:lnTo>
                  <a:lnTo>
                    <a:pt x="98485" y="25908"/>
                  </a:lnTo>
                  <a:lnTo>
                    <a:pt x="54851" y="1524"/>
                  </a:lnTo>
                  <a:close/>
                </a:path>
                <a:path w="2688590" h="751839">
                  <a:moveTo>
                    <a:pt x="2633261" y="1524"/>
                  </a:moveTo>
                  <a:lnTo>
                    <a:pt x="54851" y="1524"/>
                  </a:lnTo>
                  <a:lnTo>
                    <a:pt x="98485" y="25908"/>
                  </a:lnTo>
                  <a:lnTo>
                    <a:pt x="2589627" y="25908"/>
                  </a:lnTo>
                  <a:lnTo>
                    <a:pt x="2633261" y="1524"/>
                  </a:lnTo>
                  <a:close/>
                </a:path>
                <a:path w="2688590" h="751839">
                  <a:moveTo>
                    <a:pt x="2685399" y="1524"/>
                  </a:moveTo>
                  <a:lnTo>
                    <a:pt x="2633261" y="1524"/>
                  </a:lnTo>
                  <a:lnTo>
                    <a:pt x="2639357" y="25908"/>
                  </a:lnTo>
                  <a:lnTo>
                    <a:pt x="2641775" y="25908"/>
                  </a:lnTo>
                  <a:lnTo>
                    <a:pt x="2685399" y="1524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67" name="object 67"/>
          <p:cNvGrpSpPr/>
          <p:nvPr/>
        </p:nvGrpSpPr>
        <p:grpSpPr>
          <a:xfrm>
            <a:off x="6252908" y="5419404"/>
            <a:ext cx="2465705" cy="604520"/>
            <a:chOff x="6402324" y="5236996"/>
            <a:chExt cx="2465705" cy="604520"/>
          </a:xfrm>
        </p:grpSpPr>
        <p:sp>
          <p:nvSpPr>
            <p:cNvPr id="68" name="object 68"/>
            <p:cNvSpPr/>
            <p:nvPr/>
          </p:nvSpPr>
          <p:spPr>
            <a:xfrm>
              <a:off x="6409944" y="5242642"/>
              <a:ext cx="2452370" cy="591820"/>
            </a:xfrm>
            <a:custGeom>
              <a:avLst/>
              <a:gdLst/>
              <a:ahLst/>
              <a:cxnLst/>
              <a:rect l="l" t="t" r="r" b="b"/>
              <a:pathLst>
                <a:path w="2452370" h="591820">
                  <a:moveTo>
                    <a:pt x="1225174" y="0"/>
                  </a:moveTo>
                  <a:lnTo>
                    <a:pt x="1153190" y="502"/>
                  </a:lnTo>
                  <a:lnTo>
                    <a:pt x="1082302" y="1992"/>
                  </a:lnTo>
                  <a:lnTo>
                    <a:pt x="1012623" y="4440"/>
                  </a:lnTo>
                  <a:lnTo>
                    <a:pt x="944268" y="7819"/>
                  </a:lnTo>
                  <a:lnTo>
                    <a:pt x="877353" y="12101"/>
                  </a:lnTo>
                  <a:lnTo>
                    <a:pt x="811993" y="17258"/>
                  </a:lnTo>
                  <a:lnTo>
                    <a:pt x="748302" y="23262"/>
                  </a:lnTo>
                  <a:lnTo>
                    <a:pt x="686395" y="30086"/>
                  </a:lnTo>
                  <a:lnTo>
                    <a:pt x="626387" y="37701"/>
                  </a:lnTo>
                  <a:lnTo>
                    <a:pt x="568394" y="46079"/>
                  </a:lnTo>
                  <a:lnTo>
                    <a:pt x="512530" y="55193"/>
                  </a:lnTo>
                  <a:lnTo>
                    <a:pt x="458911" y="65015"/>
                  </a:lnTo>
                  <a:lnTo>
                    <a:pt x="407650" y="75516"/>
                  </a:lnTo>
                  <a:lnTo>
                    <a:pt x="358863" y="86670"/>
                  </a:lnTo>
                  <a:lnTo>
                    <a:pt x="312666" y="98447"/>
                  </a:lnTo>
                  <a:lnTo>
                    <a:pt x="269172" y="110820"/>
                  </a:lnTo>
                  <a:lnTo>
                    <a:pt x="228498" y="123762"/>
                  </a:lnTo>
                  <a:lnTo>
                    <a:pt x="190757" y="137243"/>
                  </a:lnTo>
                  <a:lnTo>
                    <a:pt x="124536" y="165716"/>
                  </a:lnTo>
                  <a:lnTo>
                    <a:pt x="71431" y="196014"/>
                  </a:lnTo>
                  <a:lnTo>
                    <a:pt x="32360" y="227916"/>
                  </a:lnTo>
                  <a:lnTo>
                    <a:pt x="8243" y="261197"/>
                  </a:lnTo>
                  <a:lnTo>
                    <a:pt x="0" y="295634"/>
                  </a:lnTo>
                  <a:lnTo>
                    <a:pt x="2079" y="312982"/>
                  </a:lnTo>
                  <a:lnTo>
                    <a:pt x="32360" y="363348"/>
                  </a:lnTo>
                  <a:lnTo>
                    <a:pt x="71431" y="395248"/>
                  </a:lnTo>
                  <a:lnTo>
                    <a:pt x="124536" y="425545"/>
                  </a:lnTo>
                  <a:lnTo>
                    <a:pt x="190757" y="454017"/>
                  </a:lnTo>
                  <a:lnTo>
                    <a:pt x="228498" y="467499"/>
                  </a:lnTo>
                  <a:lnTo>
                    <a:pt x="269172" y="480440"/>
                  </a:lnTo>
                  <a:lnTo>
                    <a:pt x="312666" y="492814"/>
                  </a:lnTo>
                  <a:lnTo>
                    <a:pt x="358863" y="504591"/>
                  </a:lnTo>
                  <a:lnTo>
                    <a:pt x="407650" y="515745"/>
                  </a:lnTo>
                  <a:lnTo>
                    <a:pt x="458911" y="526247"/>
                  </a:lnTo>
                  <a:lnTo>
                    <a:pt x="512530" y="536069"/>
                  </a:lnTo>
                  <a:lnTo>
                    <a:pt x="568394" y="545183"/>
                  </a:lnTo>
                  <a:lnTo>
                    <a:pt x="626387" y="553562"/>
                  </a:lnTo>
                  <a:lnTo>
                    <a:pt x="686395" y="561177"/>
                  </a:lnTo>
                  <a:lnTo>
                    <a:pt x="748302" y="568001"/>
                  </a:lnTo>
                  <a:lnTo>
                    <a:pt x="811993" y="574006"/>
                  </a:lnTo>
                  <a:lnTo>
                    <a:pt x="877353" y="579164"/>
                  </a:lnTo>
                  <a:lnTo>
                    <a:pt x="944268" y="583446"/>
                  </a:lnTo>
                  <a:lnTo>
                    <a:pt x="1012623" y="586825"/>
                  </a:lnTo>
                  <a:lnTo>
                    <a:pt x="1082302" y="589274"/>
                  </a:lnTo>
                  <a:lnTo>
                    <a:pt x="1153190" y="590763"/>
                  </a:lnTo>
                  <a:lnTo>
                    <a:pt x="1225174" y="591266"/>
                  </a:lnTo>
                  <a:lnTo>
                    <a:pt x="1297315" y="590763"/>
                  </a:lnTo>
                  <a:lnTo>
                    <a:pt x="1368350" y="589274"/>
                  </a:lnTo>
                  <a:lnTo>
                    <a:pt x="1438165" y="586825"/>
                  </a:lnTo>
                  <a:lnTo>
                    <a:pt x="1506645" y="583446"/>
                  </a:lnTo>
                  <a:lnTo>
                    <a:pt x="1573676" y="579164"/>
                  </a:lnTo>
                  <a:lnTo>
                    <a:pt x="1639143" y="574006"/>
                  </a:lnTo>
                  <a:lnTo>
                    <a:pt x="1702931" y="568001"/>
                  </a:lnTo>
                  <a:lnTo>
                    <a:pt x="1764927" y="561177"/>
                  </a:lnTo>
                  <a:lnTo>
                    <a:pt x="1825015" y="553562"/>
                  </a:lnTo>
                  <a:lnTo>
                    <a:pt x="1883081" y="545183"/>
                  </a:lnTo>
                  <a:lnTo>
                    <a:pt x="1939010" y="536069"/>
                  </a:lnTo>
                  <a:lnTo>
                    <a:pt x="1992688" y="526247"/>
                  </a:lnTo>
                  <a:lnTo>
                    <a:pt x="2044001" y="515745"/>
                  </a:lnTo>
                  <a:lnTo>
                    <a:pt x="2092833" y="504591"/>
                  </a:lnTo>
                  <a:lnTo>
                    <a:pt x="2139070" y="492814"/>
                  </a:lnTo>
                  <a:lnTo>
                    <a:pt x="2182598" y="480440"/>
                  </a:lnTo>
                  <a:lnTo>
                    <a:pt x="2223301" y="467499"/>
                  </a:lnTo>
                  <a:lnTo>
                    <a:pt x="2261067" y="454017"/>
                  </a:lnTo>
                  <a:lnTo>
                    <a:pt x="2327324" y="425545"/>
                  </a:lnTo>
                  <a:lnTo>
                    <a:pt x="2380452" y="395248"/>
                  </a:lnTo>
                  <a:lnTo>
                    <a:pt x="2419536" y="363348"/>
                  </a:lnTo>
                  <a:lnTo>
                    <a:pt x="2443658" y="330069"/>
                  </a:lnTo>
                  <a:lnTo>
                    <a:pt x="2451902" y="295634"/>
                  </a:lnTo>
                  <a:lnTo>
                    <a:pt x="2449822" y="278285"/>
                  </a:lnTo>
                  <a:lnTo>
                    <a:pt x="2419536" y="227916"/>
                  </a:lnTo>
                  <a:lnTo>
                    <a:pt x="2380452" y="196014"/>
                  </a:lnTo>
                  <a:lnTo>
                    <a:pt x="2327324" y="165716"/>
                  </a:lnTo>
                  <a:lnTo>
                    <a:pt x="2261067" y="137243"/>
                  </a:lnTo>
                  <a:lnTo>
                    <a:pt x="2223301" y="123762"/>
                  </a:lnTo>
                  <a:lnTo>
                    <a:pt x="2182598" y="110820"/>
                  </a:lnTo>
                  <a:lnTo>
                    <a:pt x="2139070" y="98447"/>
                  </a:lnTo>
                  <a:lnTo>
                    <a:pt x="2092833" y="86670"/>
                  </a:lnTo>
                  <a:lnTo>
                    <a:pt x="2044001" y="75516"/>
                  </a:lnTo>
                  <a:lnTo>
                    <a:pt x="1992688" y="65015"/>
                  </a:lnTo>
                  <a:lnTo>
                    <a:pt x="1939010" y="55193"/>
                  </a:lnTo>
                  <a:lnTo>
                    <a:pt x="1883081" y="46079"/>
                  </a:lnTo>
                  <a:lnTo>
                    <a:pt x="1825015" y="37701"/>
                  </a:lnTo>
                  <a:lnTo>
                    <a:pt x="1764927" y="30086"/>
                  </a:lnTo>
                  <a:lnTo>
                    <a:pt x="1702931" y="23262"/>
                  </a:lnTo>
                  <a:lnTo>
                    <a:pt x="1639143" y="17258"/>
                  </a:lnTo>
                  <a:lnTo>
                    <a:pt x="1573676" y="12101"/>
                  </a:lnTo>
                  <a:lnTo>
                    <a:pt x="1506645" y="7819"/>
                  </a:lnTo>
                  <a:lnTo>
                    <a:pt x="1438165" y="4440"/>
                  </a:lnTo>
                  <a:lnTo>
                    <a:pt x="1368350" y="1992"/>
                  </a:lnTo>
                  <a:lnTo>
                    <a:pt x="1297315" y="502"/>
                  </a:lnTo>
                  <a:lnTo>
                    <a:pt x="1225174" y="0"/>
                  </a:lnTo>
                  <a:close/>
                </a:path>
              </a:pathLst>
            </a:custGeom>
            <a:solidFill>
              <a:srgbClr val="FFCC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" name="object 69"/>
            <p:cNvSpPr/>
            <p:nvPr/>
          </p:nvSpPr>
          <p:spPr>
            <a:xfrm>
              <a:off x="6402324" y="5236996"/>
              <a:ext cx="2465705" cy="604520"/>
            </a:xfrm>
            <a:custGeom>
              <a:avLst/>
              <a:gdLst/>
              <a:ahLst/>
              <a:cxnLst/>
              <a:rect l="l" t="t" r="r" b="b"/>
              <a:pathLst>
                <a:path w="2465704" h="604520">
                  <a:moveTo>
                    <a:pt x="1238890" y="595630"/>
                  </a:moveTo>
                  <a:lnTo>
                    <a:pt x="1232794" y="603250"/>
                  </a:lnTo>
                  <a:lnTo>
                    <a:pt x="1170310" y="603250"/>
                  </a:lnTo>
                  <a:lnTo>
                    <a:pt x="1232794" y="604520"/>
                  </a:lnTo>
                  <a:lnTo>
                    <a:pt x="1234318" y="604520"/>
                  </a:lnTo>
                  <a:lnTo>
                    <a:pt x="1237366" y="603250"/>
                  </a:lnTo>
                  <a:lnTo>
                    <a:pt x="1237366" y="601980"/>
                  </a:lnTo>
                  <a:lnTo>
                    <a:pt x="1240414" y="599440"/>
                  </a:lnTo>
                  <a:lnTo>
                    <a:pt x="1238890" y="595630"/>
                  </a:lnTo>
                  <a:close/>
                </a:path>
                <a:path w="2465704" h="604520">
                  <a:moveTo>
                    <a:pt x="1296802" y="0"/>
                  </a:moveTo>
                  <a:lnTo>
                    <a:pt x="1170310" y="0"/>
                  </a:lnTo>
                  <a:lnTo>
                    <a:pt x="1045342" y="3810"/>
                  </a:lnTo>
                  <a:lnTo>
                    <a:pt x="867064" y="12700"/>
                  </a:lnTo>
                  <a:lnTo>
                    <a:pt x="810676" y="19050"/>
                  </a:lnTo>
                  <a:lnTo>
                    <a:pt x="754288" y="22860"/>
                  </a:lnTo>
                  <a:lnTo>
                    <a:pt x="647639" y="35560"/>
                  </a:lnTo>
                  <a:lnTo>
                    <a:pt x="498287" y="58420"/>
                  </a:lnTo>
                  <a:lnTo>
                    <a:pt x="451043" y="67310"/>
                  </a:lnTo>
                  <a:lnTo>
                    <a:pt x="406847" y="76200"/>
                  </a:lnTo>
                  <a:lnTo>
                    <a:pt x="364175" y="87630"/>
                  </a:lnTo>
                  <a:lnTo>
                    <a:pt x="323027" y="97790"/>
                  </a:lnTo>
                  <a:lnTo>
                    <a:pt x="284957" y="107950"/>
                  </a:lnTo>
                  <a:lnTo>
                    <a:pt x="248381" y="119380"/>
                  </a:lnTo>
                  <a:lnTo>
                    <a:pt x="181325" y="143510"/>
                  </a:lnTo>
                  <a:lnTo>
                    <a:pt x="124937" y="167640"/>
                  </a:lnTo>
                  <a:lnTo>
                    <a:pt x="112745" y="175260"/>
                  </a:lnTo>
                  <a:lnTo>
                    <a:pt x="88361" y="187960"/>
                  </a:lnTo>
                  <a:lnTo>
                    <a:pt x="67025" y="203200"/>
                  </a:lnTo>
                  <a:lnTo>
                    <a:pt x="57881" y="209550"/>
                  </a:lnTo>
                  <a:lnTo>
                    <a:pt x="48737" y="217170"/>
                  </a:lnTo>
                  <a:lnTo>
                    <a:pt x="27401" y="237490"/>
                  </a:lnTo>
                  <a:lnTo>
                    <a:pt x="15209" y="252730"/>
                  </a:lnTo>
                  <a:lnTo>
                    <a:pt x="10668" y="262890"/>
                  </a:lnTo>
                  <a:lnTo>
                    <a:pt x="1524" y="285750"/>
                  </a:lnTo>
                  <a:lnTo>
                    <a:pt x="1524" y="294640"/>
                  </a:lnTo>
                  <a:lnTo>
                    <a:pt x="0" y="302260"/>
                  </a:lnTo>
                  <a:lnTo>
                    <a:pt x="1524" y="311150"/>
                  </a:lnTo>
                  <a:lnTo>
                    <a:pt x="3048" y="318770"/>
                  </a:lnTo>
                  <a:lnTo>
                    <a:pt x="4572" y="327660"/>
                  </a:lnTo>
                  <a:lnTo>
                    <a:pt x="33497" y="373380"/>
                  </a:lnTo>
                  <a:lnTo>
                    <a:pt x="57881" y="394970"/>
                  </a:lnTo>
                  <a:lnTo>
                    <a:pt x="67025" y="402590"/>
                  </a:lnTo>
                  <a:lnTo>
                    <a:pt x="77693" y="408940"/>
                  </a:lnTo>
                  <a:lnTo>
                    <a:pt x="88361" y="416560"/>
                  </a:lnTo>
                  <a:lnTo>
                    <a:pt x="100553" y="422910"/>
                  </a:lnTo>
                  <a:lnTo>
                    <a:pt x="112745" y="430530"/>
                  </a:lnTo>
                  <a:lnTo>
                    <a:pt x="124937" y="435610"/>
                  </a:lnTo>
                  <a:lnTo>
                    <a:pt x="138653" y="441960"/>
                  </a:lnTo>
                  <a:lnTo>
                    <a:pt x="198089" y="468630"/>
                  </a:lnTo>
                  <a:lnTo>
                    <a:pt x="284957" y="496570"/>
                  </a:lnTo>
                  <a:lnTo>
                    <a:pt x="364175" y="518160"/>
                  </a:lnTo>
                  <a:lnTo>
                    <a:pt x="498287" y="546100"/>
                  </a:lnTo>
                  <a:lnTo>
                    <a:pt x="647639" y="568960"/>
                  </a:lnTo>
                  <a:lnTo>
                    <a:pt x="700979" y="575310"/>
                  </a:lnTo>
                  <a:lnTo>
                    <a:pt x="810676" y="586740"/>
                  </a:lnTo>
                  <a:lnTo>
                    <a:pt x="926500" y="595630"/>
                  </a:lnTo>
                  <a:lnTo>
                    <a:pt x="985936" y="599440"/>
                  </a:lnTo>
                  <a:lnTo>
                    <a:pt x="1046866" y="600710"/>
                  </a:lnTo>
                  <a:lnTo>
                    <a:pt x="1107826" y="603250"/>
                  </a:lnTo>
                  <a:lnTo>
                    <a:pt x="1232794" y="603250"/>
                  </a:lnTo>
                  <a:lnTo>
                    <a:pt x="1235842" y="599440"/>
                  </a:lnTo>
                  <a:lnTo>
                    <a:pt x="1226698" y="599440"/>
                  </a:lnTo>
                  <a:lnTo>
                    <a:pt x="1226698" y="595630"/>
                  </a:lnTo>
                  <a:lnTo>
                    <a:pt x="1231270" y="591820"/>
                  </a:lnTo>
                  <a:lnTo>
                    <a:pt x="1170310" y="591820"/>
                  </a:lnTo>
                  <a:lnTo>
                    <a:pt x="1107826" y="590550"/>
                  </a:lnTo>
                  <a:lnTo>
                    <a:pt x="926500" y="582930"/>
                  </a:lnTo>
                  <a:lnTo>
                    <a:pt x="812200" y="575310"/>
                  </a:lnTo>
                  <a:lnTo>
                    <a:pt x="649163" y="556260"/>
                  </a:lnTo>
                  <a:lnTo>
                    <a:pt x="499811" y="533400"/>
                  </a:lnTo>
                  <a:lnTo>
                    <a:pt x="409895" y="515620"/>
                  </a:lnTo>
                  <a:lnTo>
                    <a:pt x="367223" y="504190"/>
                  </a:lnTo>
                  <a:lnTo>
                    <a:pt x="327599" y="495300"/>
                  </a:lnTo>
                  <a:lnTo>
                    <a:pt x="288005" y="485140"/>
                  </a:lnTo>
                  <a:lnTo>
                    <a:pt x="252953" y="472440"/>
                  </a:lnTo>
                  <a:lnTo>
                    <a:pt x="234665" y="468630"/>
                  </a:lnTo>
                  <a:lnTo>
                    <a:pt x="156941" y="438150"/>
                  </a:lnTo>
                  <a:lnTo>
                    <a:pt x="118841" y="417830"/>
                  </a:lnTo>
                  <a:lnTo>
                    <a:pt x="94457" y="405130"/>
                  </a:lnTo>
                  <a:lnTo>
                    <a:pt x="85313" y="397510"/>
                  </a:lnTo>
                  <a:lnTo>
                    <a:pt x="74645" y="392430"/>
                  </a:lnTo>
                  <a:lnTo>
                    <a:pt x="65501" y="386080"/>
                  </a:lnTo>
                  <a:lnTo>
                    <a:pt x="57881" y="378460"/>
                  </a:lnTo>
                  <a:lnTo>
                    <a:pt x="50261" y="372110"/>
                  </a:lnTo>
                  <a:lnTo>
                    <a:pt x="36545" y="358140"/>
                  </a:lnTo>
                  <a:lnTo>
                    <a:pt x="30449" y="350520"/>
                  </a:lnTo>
                  <a:lnTo>
                    <a:pt x="25877" y="342900"/>
                  </a:lnTo>
                  <a:lnTo>
                    <a:pt x="22829" y="336550"/>
                  </a:lnTo>
                  <a:lnTo>
                    <a:pt x="18257" y="328930"/>
                  </a:lnTo>
                  <a:lnTo>
                    <a:pt x="16733" y="323850"/>
                  </a:lnTo>
                  <a:lnTo>
                    <a:pt x="15209" y="316230"/>
                  </a:lnTo>
                  <a:lnTo>
                    <a:pt x="13685" y="309880"/>
                  </a:lnTo>
                  <a:lnTo>
                    <a:pt x="13685" y="294640"/>
                  </a:lnTo>
                  <a:lnTo>
                    <a:pt x="15209" y="288290"/>
                  </a:lnTo>
                  <a:lnTo>
                    <a:pt x="16733" y="280670"/>
                  </a:lnTo>
                  <a:lnTo>
                    <a:pt x="19781" y="274320"/>
                  </a:lnTo>
                  <a:lnTo>
                    <a:pt x="22829" y="266700"/>
                  </a:lnTo>
                  <a:lnTo>
                    <a:pt x="25877" y="260350"/>
                  </a:lnTo>
                  <a:lnTo>
                    <a:pt x="31973" y="252730"/>
                  </a:lnTo>
                  <a:lnTo>
                    <a:pt x="36545" y="247650"/>
                  </a:lnTo>
                  <a:lnTo>
                    <a:pt x="42641" y="240030"/>
                  </a:lnTo>
                  <a:lnTo>
                    <a:pt x="50261" y="233680"/>
                  </a:lnTo>
                  <a:lnTo>
                    <a:pt x="57881" y="226060"/>
                  </a:lnTo>
                  <a:lnTo>
                    <a:pt x="74645" y="212090"/>
                  </a:lnTo>
                  <a:lnTo>
                    <a:pt x="85313" y="205740"/>
                  </a:lnTo>
                  <a:lnTo>
                    <a:pt x="95981" y="198120"/>
                  </a:lnTo>
                  <a:lnTo>
                    <a:pt x="106649" y="191770"/>
                  </a:lnTo>
                  <a:lnTo>
                    <a:pt x="131033" y="180340"/>
                  </a:lnTo>
                  <a:lnTo>
                    <a:pt x="143225" y="172720"/>
                  </a:lnTo>
                  <a:lnTo>
                    <a:pt x="156941" y="166370"/>
                  </a:lnTo>
                  <a:lnTo>
                    <a:pt x="217901" y="142240"/>
                  </a:lnTo>
                  <a:lnTo>
                    <a:pt x="234665" y="137160"/>
                  </a:lnTo>
                  <a:lnTo>
                    <a:pt x="252953" y="130810"/>
                  </a:lnTo>
                  <a:lnTo>
                    <a:pt x="289529" y="120650"/>
                  </a:lnTo>
                  <a:lnTo>
                    <a:pt x="327599" y="110490"/>
                  </a:lnTo>
                  <a:lnTo>
                    <a:pt x="367223" y="99060"/>
                  </a:lnTo>
                  <a:lnTo>
                    <a:pt x="409895" y="88900"/>
                  </a:lnTo>
                  <a:lnTo>
                    <a:pt x="454091" y="80010"/>
                  </a:lnTo>
                  <a:lnTo>
                    <a:pt x="499811" y="72390"/>
                  </a:lnTo>
                  <a:lnTo>
                    <a:pt x="548579" y="62230"/>
                  </a:lnTo>
                  <a:lnTo>
                    <a:pt x="649163" y="46990"/>
                  </a:lnTo>
                  <a:lnTo>
                    <a:pt x="755812" y="35560"/>
                  </a:lnTo>
                  <a:lnTo>
                    <a:pt x="926500" y="21590"/>
                  </a:lnTo>
                  <a:lnTo>
                    <a:pt x="985936" y="19050"/>
                  </a:lnTo>
                  <a:lnTo>
                    <a:pt x="1046866" y="15240"/>
                  </a:lnTo>
                  <a:lnTo>
                    <a:pt x="1170310" y="12700"/>
                  </a:lnTo>
                  <a:lnTo>
                    <a:pt x="1598523" y="12700"/>
                  </a:lnTo>
                  <a:lnTo>
                    <a:pt x="1540611" y="8890"/>
                  </a:lnTo>
                  <a:lnTo>
                    <a:pt x="1359286" y="1270"/>
                  </a:lnTo>
                  <a:lnTo>
                    <a:pt x="1296802" y="0"/>
                  </a:lnTo>
                  <a:close/>
                </a:path>
                <a:path w="2465704" h="604520">
                  <a:moveTo>
                    <a:pt x="1525752" y="595630"/>
                  </a:moveTo>
                  <a:lnTo>
                    <a:pt x="1238890" y="595630"/>
                  </a:lnTo>
                  <a:lnTo>
                    <a:pt x="1240414" y="599440"/>
                  </a:lnTo>
                  <a:lnTo>
                    <a:pt x="1237366" y="601980"/>
                  </a:lnTo>
                  <a:lnTo>
                    <a:pt x="1237366" y="603250"/>
                  </a:lnTo>
                  <a:lnTo>
                    <a:pt x="1296802" y="603250"/>
                  </a:lnTo>
                  <a:lnTo>
                    <a:pt x="1481175" y="599440"/>
                  </a:lnTo>
                  <a:lnTo>
                    <a:pt x="1525752" y="595630"/>
                  </a:lnTo>
                  <a:close/>
                </a:path>
                <a:path w="2465704" h="604520">
                  <a:moveTo>
                    <a:pt x="1232794" y="591820"/>
                  </a:moveTo>
                  <a:lnTo>
                    <a:pt x="1231270" y="591820"/>
                  </a:lnTo>
                  <a:lnTo>
                    <a:pt x="1226698" y="595630"/>
                  </a:lnTo>
                  <a:lnTo>
                    <a:pt x="1226698" y="599440"/>
                  </a:lnTo>
                  <a:lnTo>
                    <a:pt x="1232794" y="591820"/>
                  </a:lnTo>
                  <a:close/>
                </a:path>
                <a:path w="2465704" h="604520">
                  <a:moveTo>
                    <a:pt x="1598523" y="12700"/>
                  </a:moveTo>
                  <a:lnTo>
                    <a:pt x="1296802" y="12700"/>
                  </a:lnTo>
                  <a:lnTo>
                    <a:pt x="1420246" y="15240"/>
                  </a:lnTo>
                  <a:lnTo>
                    <a:pt x="1539087" y="21590"/>
                  </a:lnTo>
                  <a:lnTo>
                    <a:pt x="1654911" y="30480"/>
                  </a:lnTo>
                  <a:lnTo>
                    <a:pt x="1709775" y="35560"/>
                  </a:lnTo>
                  <a:lnTo>
                    <a:pt x="1764639" y="41910"/>
                  </a:lnTo>
                  <a:lnTo>
                    <a:pt x="1816455" y="46990"/>
                  </a:lnTo>
                  <a:lnTo>
                    <a:pt x="1918533" y="62230"/>
                  </a:lnTo>
                  <a:lnTo>
                    <a:pt x="1965777" y="72390"/>
                  </a:lnTo>
                  <a:lnTo>
                    <a:pt x="2011497" y="80010"/>
                  </a:lnTo>
                  <a:lnTo>
                    <a:pt x="2055693" y="88900"/>
                  </a:lnTo>
                  <a:lnTo>
                    <a:pt x="2098365" y="99060"/>
                  </a:lnTo>
                  <a:lnTo>
                    <a:pt x="2139513" y="110490"/>
                  </a:lnTo>
                  <a:lnTo>
                    <a:pt x="2177582" y="120650"/>
                  </a:lnTo>
                  <a:lnTo>
                    <a:pt x="2214158" y="130810"/>
                  </a:lnTo>
                  <a:lnTo>
                    <a:pt x="2247686" y="143510"/>
                  </a:lnTo>
                  <a:lnTo>
                    <a:pt x="2264450" y="148590"/>
                  </a:lnTo>
                  <a:lnTo>
                    <a:pt x="2294930" y="160020"/>
                  </a:lnTo>
                  <a:lnTo>
                    <a:pt x="2308646" y="166370"/>
                  </a:lnTo>
                  <a:lnTo>
                    <a:pt x="2322362" y="173990"/>
                  </a:lnTo>
                  <a:lnTo>
                    <a:pt x="2360462" y="191770"/>
                  </a:lnTo>
                  <a:lnTo>
                    <a:pt x="2371130" y="199390"/>
                  </a:lnTo>
                  <a:lnTo>
                    <a:pt x="2381798" y="205740"/>
                  </a:lnTo>
                  <a:lnTo>
                    <a:pt x="2390942" y="212090"/>
                  </a:lnTo>
                  <a:lnTo>
                    <a:pt x="2400086" y="219710"/>
                  </a:lnTo>
                  <a:lnTo>
                    <a:pt x="2409230" y="226060"/>
                  </a:lnTo>
                  <a:lnTo>
                    <a:pt x="2422946" y="240030"/>
                  </a:lnTo>
                  <a:lnTo>
                    <a:pt x="2429042" y="247650"/>
                  </a:lnTo>
                  <a:lnTo>
                    <a:pt x="2435138" y="252730"/>
                  </a:lnTo>
                  <a:lnTo>
                    <a:pt x="2444282" y="267970"/>
                  </a:lnTo>
                  <a:lnTo>
                    <a:pt x="2447330" y="274320"/>
                  </a:lnTo>
                  <a:lnTo>
                    <a:pt x="2450378" y="281940"/>
                  </a:lnTo>
                  <a:lnTo>
                    <a:pt x="2451902" y="288290"/>
                  </a:lnTo>
                  <a:lnTo>
                    <a:pt x="2453426" y="295910"/>
                  </a:lnTo>
                  <a:lnTo>
                    <a:pt x="2453426" y="302260"/>
                  </a:lnTo>
                  <a:lnTo>
                    <a:pt x="2451902" y="309880"/>
                  </a:lnTo>
                  <a:lnTo>
                    <a:pt x="2451902" y="317500"/>
                  </a:lnTo>
                  <a:lnTo>
                    <a:pt x="2429042" y="358140"/>
                  </a:lnTo>
                  <a:lnTo>
                    <a:pt x="2422946" y="364490"/>
                  </a:lnTo>
                  <a:lnTo>
                    <a:pt x="2416850" y="372110"/>
                  </a:lnTo>
                  <a:lnTo>
                    <a:pt x="2400086" y="386080"/>
                  </a:lnTo>
                  <a:lnTo>
                    <a:pt x="2390942" y="392430"/>
                  </a:lnTo>
                  <a:lnTo>
                    <a:pt x="2381798" y="400050"/>
                  </a:lnTo>
                  <a:lnTo>
                    <a:pt x="2360462" y="411480"/>
                  </a:lnTo>
                  <a:lnTo>
                    <a:pt x="2348270" y="419100"/>
                  </a:lnTo>
                  <a:lnTo>
                    <a:pt x="2336078" y="425450"/>
                  </a:lnTo>
                  <a:lnTo>
                    <a:pt x="2294930" y="443230"/>
                  </a:lnTo>
                  <a:lnTo>
                    <a:pt x="2264450" y="455930"/>
                  </a:lnTo>
                  <a:lnTo>
                    <a:pt x="2230922" y="468630"/>
                  </a:lnTo>
                  <a:lnTo>
                    <a:pt x="2214158" y="472440"/>
                  </a:lnTo>
                  <a:lnTo>
                    <a:pt x="2177582" y="485140"/>
                  </a:lnTo>
                  <a:lnTo>
                    <a:pt x="2139513" y="495300"/>
                  </a:lnTo>
                  <a:lnTo>
                    <a:pt x="2098365" y="504190"/>
                  </a:lnTo>
                  <a:lnTo>
                    <a:pt x="2055693" y="515620"/>
                  </a:lnTo>
                  <a:lnTo>
                    <a:pt x="1965777" y="533400"/>
                  </a:lnTo>
                  <a:lnTo>
                    <a:pt x="1816455" y="556260"/>
                  </a:lnTo>
                  <a:lnTo>
                    <a:pt x="1709775" y="568960"/>
                  </a:lnTo>
                  <a:lnTo>
                    <a:pt x="1654911" y="572770"/>
                  </a:lnTo>
                  <a:lnTo>
                    <a:pt x="1539087" y="582930"/>
                  </a:lnTo>
                  <a:lnTo>
                    <a:pt x="1357762" y="590550"/>
                  </a:lnTo>
                  <a:lnTo>
                    <a:pt x="1296802" y="591820"/>
                  </a:lnTo>
                  <a:lnTo>
                    <a:pt x="1232794" y="591820"/>
                  </a:lnTo>
                  <a:lnTo>
                    <a:pt x="1226698" y="599440"/>
                  </a:lnTo>
                  <a:lnTo>
                    <a:pt x="1235842" y="599440"/>
                  </a:lnTo>
                  <a:lnTo>
                    <a:pt x="1238890" y="595630"/>
                  </a:lnTo>
                  <a:lnTo>
                    <a:pt x="1525752" y="595630"/>
                  </a:lnTo>
                  <a:lnTo>
                    <a:pt x="1540611" y="594360"/>
                  </a:lnTo>
                  <a:lnTo>
                    <a:pt x="1598523" y="591820"/>
                  </a:lnTo>
                  <a:lnTo>
                    <a:pt x="1654911" y="586740"/>
                  </a:lnTo>
                  <a:lnTo>
                    <a:pt x="1711299" y="580390"/>
                  </a:lnTo>
                  <a:lnTo>
                    <a:pt x="1766163" y="575310"/>
                  </a:lnTo>
                  <a:lnTo>
                    <a:pt x="1817979" y="568960"/>
                  </a:lnTo>
                  <a:lnTo>
                    <a:pt x="1920057" y="553720"/>
                  </a:lnTo>
                  <a:lnTo>
                    <a:pt x="1967301" y="546100"/>
                  </a:lnTo>
                  <a:lnTo>
                    <a:pt x="2014545" y="537210"/>
                  </a:lnTo>
                  <a:lnTo>
                    <a:pt x="2058741" y="527050"/>
                  </a:lnTo>
                  <a:lnTo>
                    <a:pt x="2101413" y="518160"/>
                  </a:lnTo>
                  <a:lnTo>
                    <a:pt x="2142561" y="508000"/>
                  </a:lnTo>
                  <a:lnTo>
                    <a:pt x="2180630" y="496570"/>
                  </a:lnTo>
                  <a:lnTo>
                    <a:pt x="2217206" y="485140"/>
                  </a:lnTo>
                  <a:lnTo>
                    <a:pt x="2235494" y="480060"/>
                  </a:lnTo>
                  <a:lnTo>
                    <a:pt x="2269022" y="468630"/>
                  </a:lnTo>
                  <a:lnTo>
                    <a:pt x="2299502" y="455930"/>
                  </a:lnTo>
                  <a:lnTo>
                    <a:pt x="2313218" y="449580"/>
                  </a:lnTo>
                  <a:lnTo>
                    <a:pt x="2340650" y="435610"/>
                  </a:lnTo>
                  <a:lnTo>
                    <a:pt x="2354366" y="430530"/>
                  </a:lnTo>
                  <a:lnTo>
                    <a:pt x="2366558" y="422910"/>
                  </a:lnTo>
                  <a:lnTo>
                    <a:pt x="2377226" y="416560"/>
                  </a:lnTo>
                  <a:lnTo>
                    <a:pt x="2387894" y="408940"/>
                  </a:lnTo>
                  <a:lnTo>
                    <a:pt x="2398562" y="402590"/>
                  </a:lnTo>
                  <a:lnTo>
                    <a:pt x="2407706" y="394970"/>
                  </a:lnTo>
                  <a:lnTo>
                    <a:pt x="2416850" y="388620"/>
                  </a:lnTo>
                  <a:lnTo>
                    <a:pt x="2425994" y="381000"/>
                  </a:lnTo>
                  <a:lnTo>
                    <a:pt x="2432090" y="373380"/>
                  </a:lnTo>
                  <a:lnTo>
                    <a:pt x="2439710" y="365760"/>
                  </a:lnTo>
                  <a:lnTo>
                    <a:pt x="2462570" y="326390"/>
                  </a:lnTo>
                  <a:lnTo>
                    <a:pt x="2465618" y="309880"/>
                  </a:lnTo>
                  <a:lnTo>
                    <a:pt x="2465618" y="293370"/>
                  </a:lnTo>
                  <a:lnTo>
                    <a:pt x="2464094" y="285750"/>
                  </a:lnTo>
                  <a:lnTo>
                    <a:pt x="2461046" y="278130"/>
                  </a:lnTo>
                  <a:lnTo>
                    <a:pt x="2457998" y="267970"/>
                  </a:lnTo>
                  <a:lnTo>
                    <a:pt x="2424470" y="222250"/>
                  </a:lnTo>
                  <a:lnTo>
                    <a:pt x="2416850" y="217170"/>
                  </a:lnTo>
                  <a:lnTo>
                    <a:pt x="2398562" y="201930"/>
                  </a:lnTo>
                  <a:lnTo>
                    <a:pt x="2387894" y="195580"/>
                  </a:lnTo>
                  <a:lnTo>
                    <a:pt x="2377226" y="187960"/>
                  </a:lnTo>
                  <a:lnTo>
                    <a:pt x="2366558" y="181610"/>
                  </a:lnTo>
                  <a:lnTo>
                    <a:pt x="2354366" y="175260"/>
                  </a:lnTo>
                  <a:lnTo>
                    <a:pt x="2340650" y="167640"/>
                  </a:lnTo>
                  <a:lnTo>
                    <a:pt x="2328458" y="161290"/>
                  </a:lnTo>
                  <a:lnTo>
                    <a:pt x="2313218" y="156210"/>
                  </a:lnTo>
                  <a:lnTo>
                    <a:pt x="2299502" y="149860"/>
                  </a:lnTo>
                  <a:lnTo>
                    <a:pt x="2269022" y="137160"/>
                  </a:lnTo>
                  <a:lnTo>
                    <a:pt x="2217206" y="119380"/>
                  </a:lnTo>
                  <a:lnTo>
                    <a:pt x="2180630" y="107950"/>
                  </a:lnTo>
                  <a:lnTo>
                    <a:pt x="2142561" y="96520"/>
                  </a:lnTo>
                  <a:lnTo>
                    <a:pt x="2101413" y="87630"/>
                  </a:lnTo>
                  <a:lnTo>
                    <a:pt x="2058741" y="76200"/>
                  </a:lnTo>
                  <a:lnTo>
                    <a:pt x="2014545" y="67310"/>
                  </a:lnTo>
                  <a:lnTo>
                    <a:pt x="1967301" y="58420"/>
                  </a:lnTo>
                  <a:lnTo>
                    <a:pt x="1817979" y="35560"/>
                  </a:lnTo>
                  <a:lnTo>
                    <a:pt x="1711299" y="22860"/>
                  </a:lnTo>
                  <a:lnTo>
                    <a:pt x="1654911" y="19050"/>
                  </a:lnTo>
                  <a:lnTo>
                    <a:pt x="1598523" y="1270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0" name="object 70"/>
          <p:cNvSpPr txBox="1"/>
          <p:nvPr/>
        </p:nvSpPr>
        <p:spPr>
          <a:xfrm>
            <a:off x="6830014" y="5484423"/>
            <a:ext cx="147701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10" dirty="0">
                <a:latin typeface="Liberation Sans Narrow"/>
                <a:cs typeface="Liberation Sans Narrow"/>
              </a:rPr>
              <a:t>Work</a:t>
            </a:r>
            <a:r>
              <a:rPr sz="1800" b="1" spc="-75" dirty="0">
                <a:latin typeface="Liberation Sans Narrow"/>
                <a:cs typeface="Liberation Sans Narrow"/>
              </a:rPr>
              <a:t> </a:t>
            </a:r>
            <a:r>
              <a:rPr sz="1800" b="1" spc="-5" dirty="0">
                <a:latin typeface="Liberation Sans Narrow"/>
                <a:cs typeface="Liberation Sans Narrow"/>
              </a:rPr>
              <a:t>Schedules</a:t>
            </a:r>
            <a:endParaRPr sz="1800" dirty="0">
              <a:latin typeface="Liberation Sans Narrow"/>
              <a:cs typeface="Liberation Sans Narrow"/>
            </a:endParaRPr>
          </a:p>
        </p:txBody>
      </p:sp>
      <p:grpSp>
        <p:nvGrpSpPr>
          <p:cNvPr id="71" name="object 71"/>
          <p:cNvGrpSpPr/>
          <p:nvPr/>
        </p:nvGrpSpPr>
        <p:grpSpPr>
          <a:xfrm>
            <a:off x="7485765" y="4076882"/>
            <a:ext cx="1152525" cy="1400810"/>
            <a:chOff x="7485765" y="4076882"/>
            <a:chExt cx="1152525" cy="1400810"/>
          </a:xfrm>
        </p:grpSpPr>
        <p:sp>
          <p:nvSpPr>
            <p:cNvPr id="72" name="object 72"/>
            <p:cNvSpPr/>
            <p:nvPr/>
          </p:nvSpPr>
          <p:spPr>
            <a:xfrm>
              <a:off x="7485761" y="4076890"/>
              <a:ext cx="1152525" cy="1400810"/>
            </a:xfrm>
            <a:custGeom>
              <a:avLst/>
              <a:gdLst/>
              <a:ahLst/>
              <a:cxnLst/>
              <a:rect l="l" t="t" r="r" b="b"/>
              <a:pathLst>
                <a:path w="1152525" h="1400810">
                  <a:moveTo>
                    <a:pt x="310896" y="327621"/>
                  </a:moveTo>
                  <a:lnTo>
                    <a:pt x="297180" y="324573"/>
                  </a:lnTo>
                  <a:lnTo>
                    <a:pt x="259080" y="356577"/>
                  </a:lnTo>
                  <a:lnTo>
                    <a:pt x="249936" y="327621"/>
                  </a:lnTo>
                  <a:lnTo>
                    <a:pt x="233172" y="281901"/>
                  </a:lnTo>
                  <a:lnTo>
                    <a:pt x="211836" y="269709"/>
                  </a:lnTo>
                  <a:lnTo>
                    <a:pt x="173736" y="254469"/>
                  </a:lnTo>
                  <a:lnTo>
                    <a:pt x="135636" y="254469"/>
                  </a:lnTo>
                  <a:lnTo>
                    <a:pt x="100584" y="269709"/>
                  </a:lnTo>
                  <a:lnTo>
                    <a:pt x="88392" y="287997"/>
                  </a:lnTo>
                  <a:lnTo>
                    <a:pt x="77724" y="315429"/>
                  </a:lnTo>
                  <a:lnTo>
                    <a:pt x="80772" y="373341"/>
                  </a:lnTo>
                  <a:lnTo>
                    <a:pt x="97536" y="416013"/>
                  </a:lnTo>
                  <a:lnTo>
                    <a:pt x="120396" y="463257"/>
                  </a:lnTo>
                  <a:lnTo>
                    <a:pt x="144780" y="493712"/>
                  </a:lnTo>
                  <a:lnTo>
                    <a:pt x="182880" y="508952"/>
                  </a:lnTo>
                  <a:lnTo>
                    <a:pt x="211836" y="508952"/>
                  </a:lnTo>
                  <a:lnTo>
                    <a:pt x="233172" y="493712"/>
                  </a:lnTo>
                  <a:lnTo>
                    <a:pt x="249936" y="466305"/>
                  </a:lnTo>
                  <a:lnTo>
                    <a:pt x="259080" y="428205"/>
                  </a:lnTo>
                  <a:lnTo>
                    <a:pt x="259080" y="391629"/>
                  </a:lnTo>
                  <a:lnTo>
                    <a:pt x="307848" y="342861"/>
                  </a:lnTo>
                  <a:lnTo>
                    <a:pt x="310896" y="327621"/>
                  </a:lnTo>
                  <a:close/>
                </a:path>
                <a:path w="1152525" h="1400810">
                  <a:moveTo>
                    <a:pt x="420598" y="790879"/>
                  </a:moveTo>
                  <a:lnTo>
                    <a:pt x="417550" y="726884"/>
                  </a:lnTo>
                  <a:lnTo>
                    <a:pt x="391642" y="668972"/>
                  </a:lnTo>
                  <a:lnTo>
                    <a:pt x="352044" y="609536"/>
                  </a:lnTo>
                  <a:lnTo>
                    <a:pt x="298704" y="572960"/>
                  </a:lnTo>
                  <a:lnTo>
                    <a:pt x="245999" y="561505"/>
                  </a:lnTo>
                  <a:lnTo>
                    <a:pt x="239268" y="550100"/>
                  </a:lnTo>
                  <a:lnTo>
                    <a:pt x="211836" y="540956"/>
                  </a:lnTo>
                  <a:lnTo>
                    <a:pt x="173736" y="540956"/>
                  </a:lnTo>
                  <a:lnTo>
                    <a:pt x="147828" y="556196"/>
                  </a:lnTo>
                  <a:lnTo>
                    <a:pt x="132588" y="554672"/>
                  </a:lnTo>
                  <a:lnTo>
                    <a:pt x="73152" y="606488"/>
                  </a:lnTo>
                  <a:lnTo>
                    <a:pt x="38100" y="652208"/>
                  </a:lnTo>
                  <a:lnTo>
                    <a:pt x="9144" y="707072"/>
                  </a:lnTo>
                  <a:lnTo>
                    <a:pt x="0" y="764971"/>
                  </a:lnTo>
                  <a:lnTo>
                    <a:pt x="0" y="798499"/>
                  </a:lnTo>
                  <a:lnTo>
                    <a:pt x="35052" y="825931"/>
                  </a:lnTo>
                  <a:lnTo>
                    <a:pt x="76200" y="844219"/>
                  </a:lnTo>
                  <a:lnTo>
                    <a:pt x="111252" y="862507"/>
                  </a:lnTo>
                  <a:lnTo>
                    <a:pt x="91440" y="880795"/>
                  </a:lnTo>
                  <a:lnTo>
                    <a:pt x="82296" y="926503"/>
                  </a:lnTo>
                  <a:lnTo>
                    <a:pt x="82296" y="956983"/>
                  </a:lnTo>
                  <a:lnTo>
                    <a:pt x="100584" y="963079"/>
                  </a:lnTo>
                  <a:lnTo>
                    <a:pt x="111252" y="920407"/>
                  </a:lnTo>
                  <a:lnTo>
                    <a:pt x="120396" y="889939"/>
                  </a:lnTo>
                  <a:lnTo>
                    <a:pt x="141732" y="865555"/>
                  </a:lnTo>
                  <a:lnTo>
                    <a:pt x="138684" y="853363"/>
                  </a:lnTo>
                  <a:lnTo>
                    <a:pt x="123444" y="838123"/>
                  </a:lnTo>
                  <a:lnTo>
                    <a:pt x="85344" y="825931"/>
                  </a:lnTo>
                  <a:lnTo>
                    <a:pt x="44196" y="807643"/>
                  </a:lnTo>
                  <a:lnTo>
                    <a:pt x="35052" y="792403"/>
                  </a:lnTo>
                  <a:lnTo>
                    <a:pt x="28956" y="764971"/>
                  </a:lnTo>
                  <a:lnTo>
                    <a:pt x="38100" y="719264"/>
                  </a:lnTo>
                  <a:lnTo>
                    <a:pt x="76200" y="664400"/>
                  </a:lnTo>
                  <a:lnTo>
                    <a:pt x="111252" y="624776"/>
                  </a:lnTo>
                  <a:lnTo>
                    <a:pt x="126492" y="616318"/>
                  </a:lnTo>
                  <a:lnTo>
                    <a:pt x="126492" y="643064"/>
                  </a:lnTo>
                  <a:lnTo>
                    <a:pt x="138684" y="691832"/>
                  </a:lnTo>
                  <a:lnTo>
                    <a:pt x="155448" y="728408"/>
                  </a:lnTo>
                  <a:lnTo>
                    <a:pt x="155448" y="783259"/>
                  </a:lnTo>
                  <a:lnTo>
                    <a:pt x="144780" y="835075"/>
                  </a:lnTo>
                  <a:lnTo>
                    <a:pt x="155448" y="906691"/>
                  </a:lnTo>
                  <a:lnTo>
                    <a:pt x="160235" y="927455"/>
                  </a:lnTo>
                  <a:lnTo>
                    <a:pt x="140208" y="970699"/>
                  </a:lnTo>
                  <a:lnTo>
                    <a:pt x="111252" y="1024039"/>
                  </a:lnTo>
                  <a:lnTo>
                    <a:pt x="97536" y="1109370"/>
                  </a:lnTo>
                  <a:lnTo>
                    <a:pt x="88392" y="1226705"/>
                  </a:lnTo>
                  <a:lnTo>
                    <a:pt x="80772" y="1340993"/>
                  </a:lnTo>
                  <a:lnTo>
                    <a:pt x="80772" y="1380617"/>
                  </a:lnTo>
                  <a:lnTo>
                    <a:pt x="91440" y="1398905"/>
                  </a:lnTo>
                  <a:lnTo>
                    <a:pt x="111252" y="1398905"/>
                  </a:lnTo>
                  <a:lnTo>
                    <a:pt x="149352" y="1353185"/>
                  </a:lnTo>
                  <a:lnTo>
                    <a:pt x="188976" y="1307477"/>
                  </a:lnTo>
                  <a:lnTo>
                    <a:pt x="204216" y="1261757"/>
                  </a:lnTo>
                  <a:lnTo>
                    <a:pt x="178308" y="1251089"/>
                  </a:lnTo>
                  <a:lnTo>
                    <a:pt x="158496" y="1251089"/>
                  </a:lnTo>
                  <a:lnTo>
                    <a:pt x="149352" y="1304429"/>
                  </a:lnTo>
                  <a:lnTo>
                    <a:pt x="126492" y="1340993"/>
                  </a:lnTo>
                  <a:lnTo>
                    <a:pt x="117348" y="1350137"/>
                  </a:lnTo>
                  <a:lnTo>
                    <a:pt x="117348" y="1252613"/>
                  </a:lnTo>
                  <a:lnTo>
                    <a:pt x="129540" y="1141374"/>
                  </a:lnTo>
                  <a:lnTo>
                    <a:pt x="149352" y="1042327"/>
                  </a:lnTo>
                  <a:lnTo>
                    <a:pt x="178308" y="973747"/>
                  </a:lnTo>
                  <a:lnTo>
                    <a:pt x="183019" y="965771"/>
                  </a:lnTo>
                  <a:lnTo>
                    <a:pt x="192024" y="975271"/>
                  </a:lnTo>
                  <a:lnTo>
                    <a:pt x="214884" y="979843"/>
                  </a:lnTo>
                  <a:lnTo>
                    <a:pt x="238518" y="966800"/>
                  </a:lnTo>
                  <a:lnTo>
                    <a:pt x="248412" y="975271"/>
                  </a:lnTo>
                  <a:lnTo>
                    <a:pt x="274320" y="1040803"/>
                  </a:lnTo>
                  <a:lnTo>
                    <a:pt x="266700" y="1148994"/>
                  </a:lnTo>
                  <a:lnTo>
                    <a:pt x="257556" y="1246517"/>
                  </a:lnTo>
                  <a:lnTo>
                    <a:pt x="245364" y="1327289"/>
                  </a:lnTo>
                  <a:lnTo>
                    <a:pt x="225552" y="1366901"/>
                  </a:lnTo>
                  <a:lnTo>
                    <a:pt x="225552" y="1394333"/>
                  </a:lnTo>
                  <a:lnTo>
                    <a:pt x="248412" y="1400429"/>
                  </a:lnTo>
                  <a:lnTo>
                    <a:pt x="295656" y="1376045"/>
                  </a:lnTo>
                  <a:lnTo>
                    <a:pt x="353568" y="1345565"/>
                  </a:lnTo>
                  <a:lnTo>
                    <a:pt x="406882" y="1321193"/>
                  </a:lnTo>
                  <a:lnTo>
                    <a:pt x="406882" y="1312049"/>
                  </a:lnTo>
                  <a:lnTo>
                    <a:pt x="380974" y="1295285"/>
                  </a:lnTo>
                  <a:lnTo>
                    <a:pt x="368782" y="1292237"/>
                  </a:lnTo>
                  <a:lnTo>
                    <a:pt x="324612" y="1319669"/>
                  </a:lnTo>
                  <a:lnTo>
                    <a:pt x="286512" y="1354709"/>
                  </a:lnTo>
                  <a:lnTo>
                    <a:pt x="266700" y="1345565"/>
                  </a:lnTo>
                  <a:lnTo>
                    <a:pt x="277368" y="1299857"/>
                  </a:lnTo>
                  <a:lnTo>
                    <a:pt x="295656" y="1194701"/>
                  </a:lnTo>
                  <a:lnTo>
                    <a:pt x="301752" y="1059078"/>
                  </a:lnTo>
                  <a:lnTo>
                    <a:pt x="295656" y="976795"/>
                  </a:lnTo>
                  <a:lnTo>
                    <a:pt x="274320" y="931075"/>
                  </a:lnTo>
                  <a:lnTo>
                    <a:pt x="271754" y="930109"/>
                  </a:lnTo>
                  <a:lnTo>
                    <a:pt x="277368" y="918883"/>
                  </a:lnTo>
                  <a:lnTo>
                    <a:pt x="289560" y="853363"/>
                  </a:lnTo>
                  <a:lnTo>
                    <a:pt x="289560" y="771067"/>
                  </a:lnTo>
                  <a:lnTo>
                    <a:pt x="288036" y="699452"/>
                  </a:lnTo>
                  <a:lnTo>
                    <a:pt x="277368" y="638492"/>
                  </a:lnTo>
                  <a:lnTo>
                    <a:pt x="269379" y="614540"/>
                  </a:lnTo>
                  <a:lnTo>
                    <a:pt x="288036" y="618680"/>
                  </a:lnTo>
                  <a:lnTo>
                    <a:pt x="316992" y="643064"/>
                  </a:lnTo>
                  <a:lnTo>
                    <a:pt x="364210" y="690308"/>
                  </a:lnTo>
                  <a:lnTo>
                    <a:pt x="391642" y="746696"/>
                  </a:lnTo>
                  <a:lnTo>
                    <a:pt x="391642" y="781735"/>
                  </a:lnTo>
                  <a:lnTo>
                    <a:pt x="370306" y="815263"/>
                  </a:lnTo>
                  <a:lnTo>
                    <a:pt x="316992" y="851839"/>
                  </a:lnTo>
                  <a:lnTo>
                    <a:pt x="288036" y="870127"/>
                  </a:lnTo>
                  <a:lnTo>
                    <a:pt x="294132" y="897559"/>
                  </a:lnTo>
                  <a:lnTo>
                    <a:pt x="313944" y="918883"/>
                  </a:lnTo>
                  <a:lnTo>
                    <a:pt x="326136" y="955459"/>
                  </a:lnTo>
                  <a:lnTo>
                    <a:pt x="326136" y="979843"/>
                  </a:lnTo>
                  <a:lnTo>
                    <a:pt x="341376" y="992035"/>
                  </a:lnTo>
                  <a:lnTo>
                    <a:pt x="355092" y="964603"/>
                  </a:lnTo>
                  <a:lnTo>
                    <a:pt x="341376" y="918883"/>
                  </a:lnTo>
                  <a:lnTo>
                    <a:pt x="316992" y="897559"/>
                  </a:lnTo>
                  <a:lnTo>
                    <a:pt x="316992" y="879271"/>
                  </a:lnTo>
                  <a:lnTo>
                    <a:pt x="355092" y="860983"/>
                  </a:lnTo>
                  <a:lnTo>
                    <a:pt x="400786" y="833551"/>
                  </a:lnTo>
                  <a:lnTo>
                    <a:pt x="420598" y="790879"/>
                  </a:lnTo>
                  <a:close/>
                </a:path>
                <a:path w="1152525" h="1400810">
                  <a:moveTo>
                    <a:pt x="1152055" y="379437"/>
                  </a:moveTo>
                  <a:lnTo>
                    <a:pt x="1148918" y="331698"/>
                  </a:lnTo>
                  <a:lnTo>
                    <a:pt x="1139799" y="285762"/>
                  </a:lnTo>
                  <a:lnTo>
                    <a:pt x="1125042" y="241998"/>
                  </a:lnTo>
                  <a:lnTo>
                    <a:pt x="1105065" y="200736"/>
                  </a:lnTo>
                  <a:lnTo>
                    <a:pt x="1080236" y="162331"/>
                  </a:lnTo>
                  <a:lnTo>
                    <a:pt x="1050925" y="127139"/>
                  </a:lnTo>
                  <a:lnTo>
                    <a:pt x="1017536" y="95504"/>
                  </a:lnTo>
                  <a:lnTo>
                    <a:pt x="980452" y="67779"/>
                  </a:lnTo>
                  <a:lnTo>
                    <a:pt x="940028" y="44310"/>
                  </a:lnTo>
                  <a:lnTo>
                    <a:pt x="896683" y="25450"/>
                  </a:lnTo>
                  <a:lnTo>
                    <a:pt x="850773" y="11544"/>
                  </a:lnTo>
                  <a:lnTo>
                    <a:pt x="802690" y="2946"/>
                  </a:lnTo>
                  <a:lnTo>
                    <a:pt x="752830" y="0"/>
                  </a:lnTo>
                  <a:lnTo>
                    <a:pt x="702627" y="2946"/>
                  </a:lnTo>
                  <a:lnTo>
                    <a:pt x="654265" y="11544"/>
                  </a:lnTo>
                  <a:lnTo>
                    <a:pt x="608126" y="25450"/>
                  </a:lnTo>
                  <a:lnTo>
                    <a:pt x="564578" y="44310"/>
                  </a:lnTo>
                  <a:lnTo>
                    <a:pt x="524014" y="67779"/>
                  </a:lnTo>
                  <a:lnTo>
                    <a:pt x="486791" y="95504"/>
                  </a:lnTo>
                  <a:lnTo>
                    <a:pt x="453313" y="127139"/>
                  </a:lnTo>
                  <a:lnTo>
                    <a:pt x="423951" y="162331"/>
                  </a:lnTo>
                  <a:lnTo>
                    <a:pt x="399072" y="200736"/>
                  </a:lnTo>
                  <a:lnTo>
                    <a:pt x="379069" y="241998"/>
                  </a:lnTo>
                  <a:lnTo>
                    <a:pt x="364299" y="285762"/>
                  </a:lnTo>
                  <a:lnTo>
                    <a:pt x="355168" y="331698"/>
                  </a:lnTo>
                  <a:lnTo>
                    <a:pt x="352044" y="379437"/>
                  </a:lnTo>
                  <a:lnTo>
                    <a:pt x="355168" y="426859"/>
                  </a:lnTo>
                  <a:lnTo>
                    <a:pt x="364299" y="472516"/>
                  </a:lnTo>
                  <a:lnTo>
                    <a:pt x="379069" y="516051"/>
                  </a:lnTo>
                  <a:lnTo>
                    <a:pt x="399072" y="557123"/>
                  </a:lnTo>
                  <a:lnTo>
                    <a:pt x="423951" y="595376"/>
                  </a:lnTo>
                  <a:lnTo>
                    <a:pt x="453313" y="630453"/>
                  </a:lnTo>
                  <a:lnTo>
                    <a:pt x="486791" y="662000"/>
                  </a:lnTo>
                  <a:lnTo>
                    <a:pt x="524014" y="689660"/>
                  </a:lnTo>
                  <a:lnTo>
                    <a:pt x="564578" y="713092"/>
                  </a:lnTo>
                  <a:lnTo>
                    <a:pt x="608126" y="731926"/>
                  </a:lnTo>
                  <a:lnTo>
                    <a:pt x="654265" y="745820"/>
                  </a:lnTo>
                  <a:lnTo>
                    <a:pt x="702627" y="754418"/>
                  </a:lnTo>
                  <a:lnTo>
                    <a:pt x="752830" y="757364"/>
                  </a:lnTo>
                  <a:lnTo>
                    <a:pt x="802690" y="754418"/>
                  </a:lnTo>
                  <a:lnTo>
                    <a:pt x="850773" y="745820"/>
                  </a:lnTo>
                  <a:lnTo>
                    <a:pt x="896683" y="731926"/>
                  </a:lnTo>
                  <a:lnTo>
                    <a:pt x="940028" y="713092"/>
                  </a:lnTo>
                  <a:lnTo>
                    <a:pt x="980452" y="689660"/>
                  </a:lnTo>
                  <a:lnTo>
                    <a:pt x="1017536" y="662000"/>
                  </a:lnTo>
                  <a:lnTo>
                    <a:pt x="1050925" y="630453"/>
                  </a:lnTo>
                  <a:lnTo>
                    <a:pt x="1080236" y="595376"/>
                  </a:lnTo>
                  <a:lnTo>
                    <a:pt x="1105065" y="557123"/>
                  </a:lnTo>
                  <a:lnTo>
                    <a:pt x="1125042" y="516051"/>
                  </a:lnTo>
                  <a:lnTo>
                    <a:pt x="1139799" y="472516"/>
                  </a:lnTo>
                  <a:lnTo>
                    <a:pt x="1148918" y="426859"/>
                  </a:lnTo>
                  <a:lnTo>
                    <a:pt x="1152055" y="379437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3" name="object 73"/>
            <p:cNvSpPr/>
            <p:nvPr/>
          </p:nvSpPr>
          <p:spPr>
            <a:xfrm>
              <a:off x="7869783" y="4119554"/>
              <a:ext cx="713740" cy="681355"/>
            </a:xfrm>
            <a:custGeom>
              <a:avLst/>
              <a:gdLst/>
              <a:ahLst/>
              <a:cxnLst/>
              <a:rect l="l" t="t" r="r" b="b"/>
              <a:pathLst>
                <a:path w="713740" h="681354">
                  <a:moveTo>
                    <a:pt x="356615" y="0"/>
                  </a:moveTo>
                  <a:lnTo>
                    <a:pt x="308300" y="3107"/>
                  </a:lnTo>
                  <a:lnTo>
                    <a:pt x="261937" y="12161"/>
                  </a:lnTo>
                  <a:lnTo>
                    <a:pt x="217955" y="26760"/>
                  </a:lnTo>
                  <a:lnTo>
                    <a:pt x="176783" y="46502"/>
                  </a:lnTo>
                  <a:lnTo>
                    <a:pt x="138850" y="70985"/>
                  </a:lnTo>
                  <a:lnTo>
                    <a:pt x="104584" y="99806"/>
                  </a:lnTo>
                  <a:lnTo>
                    <a:pt x="74414" y="132565"/>
                  </a:lnTo>
                  <a:lnTo>
                    <a:pt x="48767" y="168859"/>
                  </a:lnTo>
                  <a:lnTo>
                    <a:pt x="28074" y="208286"/>
                  </a:lnTo>
                  <a:lnTo>
                    <a:pt x="12763" y="250443"/>
                  </a:lnTo>
                  <a:lnTo>
                    <a:pt x="3262" y="294931"/>
                  </a:lnTo>
                  <a:lnTo>
                    <a:pt x="0" y="341345"/>
                  </a:lnTo>
                  <a:lnTo>
                    <a:pt x="3262" y="387403"/>
                  </a:lnTo>
                  <a:lnTo>
                    <a:pt x="12763" y="431594"/>
                  </a:lnTo>
                  <a:lnTo>
                    <a:pt x="28074" y="473510"/>
                  </a:lnTo>
                  <a:lnTo>
                    <a:pt x="48767" y="512745"/>
                  </a:lnTo>
                  <a:lnTo>
                    <a:pt x="74414" y="548889"/>
                  </a:lnTo>
                  <a:lnTo>
                    <a:pt x="104584" y="581537"/>
                  </a:lnTo>
                  <a:lnTo>
                    <a:pt x="138850" y="610281"/>
                  </a:lnTo>
                  <a:lnTo>
                    <a:pt x="176783" y="634712"/>
                  </a:lnTo>
                  <a:lnTo>
                    <a:pt x="217955" y="654423"/>
                  </a:lnTo>
                  <a:lnTo>
                    <a:pt x="261937" y="669007"/>
                  </a:lnTo>
                  <a:lnTo>
                    <a:pt x="308300" y="678056"/>
                  </a:lnTo>
                  <a:lnTo>
                    <a:pt x="356615" y="681163"/>
                  </a:lnTo>
                  <a:lnTo>
                    <a:pt x="404923" y="678056"/>
                  </a:lnTo>
                  <a:lnTo>
                    <a:pt x="451279" y="669007"/>
                  </a:lnTo>
                  <a:lnTo>
                    <a:pt x="495253" y="654423"/>
                  </a:lnTo>
                  <a:lnTo>
                    <a:pt x="536418" y="634712"/>
                  </a:lnTo>
                  <a:lnTo>
                    <a:pt x="574345" y="610281"/>
                  </a:lnTo>
                  <a:lnTo>
                    <a:pt x="608605" y="581537"/>
                  </a:lnTo>
                  <a:lnTo>
                    <a:pt x="638770" y="548889"/>
                  </a:lnTo>
                  <a:lnTo>
                    <a:pt x="664412" y="512745"/>
                  </a:lnTo>
                  <a:lnTo>
                    <a:pt x="685101" y="473510"/>
                  </a:lnTo>
                  <a:lnTo>
                    <a:pt x="700409" y="431594"/>
                  </a:lnTo>
                  <a:lnTo>
                    <a:pt x="709909" y="387403"/>
                  </a:lnTo>
                  <a:lnTo>
                    <a:pt x="713171" y="341345"/>
                  </a:lnTo>
                  <a:lnTo>
                    <a:pt x="709909" y="294931"/>
                  </a:lnTo>
                  <a:lnTo>
                    <a:pt x="700409" y="250443"/>
                  </a:lnTo>
                  <a:lnTo>
                    <a:pt x="685101" y="208286"/>
                  </a:lnTo>
                  <a:lnTo>
                    <a:pt x="664412" y="168859"/>
                  </a:lnTo>
                  <a:lnTo>
                    <a:pt x="638770" y="132565"/>
                  </a:lnTo>
                  <a:lnTo>
                    <a:pt x="608605" y="99806"/>
                  </a:lnTo>
                  <a:lnTo>
                    <a:pt x="574345" y="70985"/>
                  </a:lnTo>
                  <a:lnTo>
                    <a:pt x="536418" y="46502"/>
                  </a:lnTo>
                  <a:lnTo>
                    <a:pt x="495253" y="26760"/>
                  </a:lnTo>
                  <a:lnTo>
                    <a:pt x="451279" y="12161"/>
                  </a:lnTo>
                  <a:lnTo>
                    <a:pt x="404923" y="3107"/>
                  </a:lnTo>
                  <a:lnTo>
                    <a:pt x="35661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" name="object 74"/>
            <p:cNvSpPr/>
            <p:nvPr/>
          </p:nvSpPr>
          <p:spPr>
            <a:xfrm>
              <a:off x="8061807" y="4189628"/>
              <a:ext cx="190500" cy="329565"/>
            </a:xfrm>
            <a:custGeom>
              <a:avLst/>
              <a:gdLst/>
              <a:ahLst/>
              <a:cxnLst/>
              <a:rect l="l" t="t" r="r" b="b"/>
              <a:pathLst>
                <a:path w="190500" h="329564">
                  <a:moveTo>
                    <a:pt x="0" y="0"/>
                  </a:moveTo>
                  <a:lnTo>
                    <a:pt x="3047" y="152399"/>
                  </a:lnTo>
                  <a:lnTo>
                    <a:pt x="41147" y="97535"/>
                  </a:lnTo>
                  <a:lnTo>
                    <a:pt x="169163" y="329183"/>
                  </a:lnTo>
                  <a:lnTo>
                    <a:pt x="190499" y="289559"/>
                  </a:lnTo>
                  <a:lnTo>
                    <a:pt x="71627" y="108203"/>
                  </a:lnTo>
                  <a:lnTo>
                    <a:pt x="126491" y="838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5" name="object 75"/>
            <p:cNvSpPr/>
            <p:nvPr/>
          </p:nvSpPr>
          <p:spPr>
            <a:xfrm>
              <a:off x="8206587" y="4468520"/>
              <a:ext cx="188945" cy="190469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6" name="object 76"/>
          <p:cNvSpPr txBox="1"/>
          <p:nvPr/>
        </p:nvSpPr>
        <p:spPr>
          <a:xfrm>
            <a:off x="1759064" y="4304948"/>
            <a:ext cx="3657600" cy="822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148715">
              <a:lnSpc>
                <a:spcPct val="100000"/>
              </a:lnSpc>
              <a:spcBef>
                <a:spcPts val="100"/>
              </a:spcBef>
            </a:pPr>
            <a:r>
              <a:rPr sz="1800" spc="-10" dirty="0">
                <a:latin typeface="Liberation Sans Narrow"/>
                <a:cs typeface="Liberation Sans Narrow"/>
              </a:rPr>
              <a:t>Work</a:t>
            </a:r>
            <a:r>
              <a:rPr sz="1800" spc="-15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Schedules</a:t>
            </a:r>
            <a:endParaRPr sz="1800">
              <a:latin typeface="Liberation Sans Narrow"/>
              <a:cs typeface="Liberation Sans Narrow"/>
            </a:endParaRPr>
          </a:p>
          <a:p>
            <a:pPr>
              <a:lnSpc>
                <a:spcPct val="100000"/>
              </a:lnSpc>
            </a:pPr>
            <a:endParaRPr sz="1700">
              <a:latin typeface="Liberation Sans Narrow"/>
              <a:cs typeface="Liberation Sans Narrow"/>
            </a:endParaRPr>
          </a:p>
          <a:p>
            <a:pPr marR="183515" algn="ctr">
              <a:lnSpc>
                <a:spcPct val="100000"/>
              </a:lnSpc>
              <a:spcBef>
                <a:spcPts val="5"/>
              </a:spcBef>
            </a:pPr>
            <a:r>
              <a:rPr sz="1800" b="1" spc="-5" dirty="0">
                <a:latin typeface="Liberation Sans Narrow"/>
                <a:cs typeface="Liberation Sans Narrow"/>
              </a:rPr>
              <a:t>Generate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77" name="object 77"/>
          <p:cNvSpPr txBox="1"/>
          <p:nvPr/>
        </p:nvSpPr>
        <p:spPr>
          <a:xfrm>
            <a:off x="1888592" y="5419404"/>
            <a:ext cx="3657600" cy="3232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454025">
              <a:lnSpc>
                <a:spcPct val="100000"/>
              </a:lnSpc>
              <a:spcBef>
                <a:spcPts val="95"/>
              </a:spcBef>
            </a:pPr>
            <a:r>
              <a:rPr sz="1800" b="1" spc="-5" dirty="0">
                <a:latin typeface="Liberation Sans Narrow"/>
                <a:cs typeface="Liberation Sans Narrow"/>
              </a:rPr>
              <a:t>Monthly </a:t>
            </a:r>
            <a:r>
              <a:rPr sz="1800" b="1" spc="-10" dirty="0">
                <a:latin typeface="Liberation Sans Narrow"/>
                <a:cs typeface="Liberation Sans Narrow"/>
              </a:rPr>
              <a:t>Work</a:t>
            </a:r>
            <a:r>
              <a:rPr sz="1800" b="1" spc="-15" dirty="0">
                <a:latin typeface="Liberation Sans Narrow"/>
                <a:cs typeface="Liberation Sans Narrow"/>
              </a:rPr>
              <a:t> </a:t>
            </a:r>
            <a:r>
              <a:rPr sz="1800" b="1" spc="-5" dirty="0">
                <a:latin typeface="Liberation Sans Narrow"/>
                <a:cs typeface="Liberation Sans Narrow"/>
              </a:rPr>
              <a:t>Schedules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78" name="object 78"/>
          <p:cNvSpPr txBox="1"/>
          <p:nvPr/>
        </p:nvSpPr>
        <p:spPr>
          <a:xfrm>
            <a:off x="1570482" y="6133096"/>
            <a:ext cx="3940696" cy="293670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327025">
              <a:lnSpc>
                <a:spcPct val="100000"/>
              </a:lnSpc>
              <a:spcBef>
                <a:spcPts val="130"/>
              </a:spcBef>
            </a:pPr>
            <a:r>
              <a:rPr sz="1800" b="1" spc="-5" dirty="0">
                <a:latin typeface="Liberation Sans Narrow"/>
                <a:cs typeface="Liberation Sans Narrow"/>
              </a:rPr>
              <a:t>Infotype 0007 Plan </a:t>
            </a:r>
            <a:r>
              <a:rPr sz="1800" b="1" spc="-10" dirty="0">
                <a:latin typeface="Liberation Sans Narrow"/>
                <a:cs typeface="Liberation Sans Narrow"/>
              </a:rPr>
              <a:t>Working</a:t>
            </a:r>
            <a:r>
              <a:rPr sz="1800" b="1" spc="45" dirty="0">
                <a:latin typeface="Liberation Sans Narrow"/>
                <a:cs typeface="Liberation Sans Narrow"/>
              </a:rPr>
              <a:t> </a:t>
            </a:r>
            <a:r>
              <a:rPr sz="1800" b="1" spc="-10" dirty="0">
                <a:latin typeface="Liberation Sans Narrow"/>
                <a:cs typeface="Liberation Sans Narrow"/>
              </a:rPr>
              <a:t>Time</a:t>
            </a:r>
            <a:endParaRPr sz="1800" dirty="0">
              <a:latin typeface="Liberation Sans Narrow"/>
              <a:cs typeface="Liberation Sans Narrow"/>
            </a:endParaRP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1859636" y="1626473"/>
            <a:ext cx="2562225" cy="2266315"/>
            <a:chOff x="1859636" y="1626473"/>
            <a:chExt cx="2562225" cy="2266315"/>
          </a:xfrm>
        </p:grpSpPr>
        <p:sp>
          <p:nvSpPr>
            <p:cNvPr id="3" name="object 3"/>
            <p:cNvSpPr/>
            <p:nvPr/>
          </p:nvSpPr>
          <p:spPr>
            <a:xfrm>
              <a:off x="1859635" y="1626476"/>
              <a:ext cx="1329055" cy="2266315"/>
            </a:xfrm>
            <a:custGeom>
              <a:avLst/>
              <a:gdLst/>
              <a:ahLst/>
              <a:cxnLst/>
              <a:rect l="l" t="t" r="r" b="b"/>
              <a:pathLst>
                <a:path w="1329055" h="2266315">
                  <a:moveTo>
                    <a:pt x="9144" y="2243150"/>
                  </a:moveTo>
                  <a:lnTo>
                    <a:pt x="0" y="2243150"/>
                  </a:lnTo>
                  <a:lnTo>
                    <a:pt x="0" y="2266010"/>
                  </a:lnTo>
                  <a:lnTo>
                    <a:pt x="9144" y="2266010"/>
                  </a:lnTo>
                  <a:lnTo>
                    <a:pt x="9144" y="2243150"/>
                  </a:lnTo>
                  <a:close/>
                </a:path>
                <a:path w="1329055" h="2266315">
                  <a:moveTo>
                    <a:pt x="9144" y="2205075"/>
                  </a:moveTo>
                  <a:lnTo>
                    <a:pt x="0" y="2205075"/>
                  </a:lnTo>
                  <a:lnTo>
                    <a:pt x="0" y="2214194"/>
                  </a:lnTo>
                  <a:lnTo>
                    <a:pt x="9144" y="2214194"/>
                  </a:lnTo>
                  <a:lnTo>
                    <a:pt x="9144" y="2205075"/>
                  </a:lnTo>
                  <a:close/>
                </a:path>
                <a:path w="1329055" h="2266315">
                  <a:moveTo>
                    <a:pt x="9144" y="2138019"/>
                  </a:moveTo>
                  <a:lnTo>
                    <a:pt x="0" y="2138019"/>
                  </a:lnTo>
                  <a:lnTo>
                    <a:pt x="0" y="2176119"/>
                  </a:lnTo>
                  <a:lnTo>
                    <a:pt x="9144" y="2176119"/>
                  </a:lnTo>
                  <a:lnTo>
                    <a:pt x="9144" y="2138019"/>
                  </a:lnTo>
                  <a:close/>
                </a:path>
                <a:path w="1329055" h="2266315">
                  <a:moveTo>
                    <a:pt x="9144" y="2099919"/>
                  </a:moveTo>
                  <a:lnTo>
                    <a:pt x="0" y="2099919"/>
                  </a:lnTo>
                  <a:lnTo>
                    <a:pt x="0" y="2109063"/>
                  </a:lnTo>
                  <a:lnTo>
                    <a:pt x="9144" y="2109063"/>
                  </a:lnTo>
                  <a:lnTo>
                    <a:pt x="9144" y="2099919"/>
                  </a:lnTo>
                  <a:close/>
                </a:path>
                <a:path w="1329055" h="2266315">
                  <a:moveTo>
                    <a:pt x="9144" y="2032863"/>
                  </a:moveTo>
                  <a:lnTo>
                    <a:pt x="0" y="2032863"/>
                  </a:lnTo>
                  <a:lnTo>
                    <a:pt x="0" y="2070963"/>
                  </a:lnTo>
                  <a:lnTo>
                    <a:pt x="9144" y="2070963"/>
                  </a:lnTo>
                  <a:lnTo>
                    <a:pt x="9144" y="2032863"/>
                  </a:lnTo>
                  <a:close/>
                </a:path>
                <a:path w="1329055" h="2266315">
                  <a:moveTo>
                    <a:pt x="9144" y="1994763"/>
                  </a:moveTo>
                  <a:lnTo>
                    <a:pt x="0" y="1994763"/>
                  </a:lnTo>
                  <a:lnTo>
                    <a:pt x="0" y="2005431"/>
                  </a:lnTo>
                  <a:lnTo>
                    <a:pt x="9144" y="2005431"/>
                  </a:lnTo>
                  <a:lnTo>
                    <a:pt x="9144" y="1994763"/>
                  </a:lnTo>
                  <a:close/>
                </a:path>
                <a:path w="1329055" h="2266315">
                  <a:moveTo>
                    <a:pt x="9144" y="1929231"/>
                  </a:moveTo>
                  <a:lnTo>
                    <a:pt x="0" y="1929231"/>
                  </a:lnTo>
                  <a:lnTo>
                    <a:pt x="0" y="1967331"/>
                  </a:lnTo>
                  <a:lnTo>
                    <a:pt x="9144" y="1967331"/>
                  </a:lnTo>
                  <a:lnTo>
                    <a:pt x="9144" y="1929231"/>
                  </a:lnTo>
                  <a:close/>
                </a:path>
                <a:path w="1329055" h="2266315">
                  <a:moveTo>
                    <a:pt x="9144" y="1891131"/>
                  </a:moveTo>
                  <a:lnTo>
                    <a:pt x="0" y="1891131"/>
                  </a:lnTo>
                  <a:lnTo>
                    <a:pt x="0" y="1900275"/>
                  </a:lnTo>
                  <a:lnTo>
                    <a:pt x="9144" y="1900275"/>
                  </a:lnTo>
                  <a:lnTo>
                    <a:pt x="9144" y="1891131"/>
                  </a:lnTo>
                  <a:close/>
                </a:path>
                <a:path w="1329055" h="2266315">
                  <a:moveTo>
                    <a:pt x="9144" y="1824075"/>
                  </a:moveTo>
                  <a:lnTo>
                    <a:pt x="0" y="1824075"/>
                  </a:lnTo>
                  <a:lnTo>
                    <a:pt x="0" y="1862175"/>
                  </a:lnTo>
                  <a:lnTo>
                    <a:pt x="9144" y="1862175"/>
                  </a:lnTo>
                  <a:lnTo>
                    <a:pt x="9144" y="1824075"/>
                  </a:lnTo>
                  <a:close/>
                </a:path>
                <a:path w="1329055" h="2266315">
                  <a:moveTo>
                    <a:pt x="9144" y="1785975"/>
                  </a:moveTo>
                  <a:lnTo>
                    <a:pt x="0" y="1785975"/>
                  </a:lnTo>
                  <a:lnTo>
                    <a:pt x="0" y="1795119"/>
                  </a:lnTo>
                  <a:lnTo>
                    <a:pt x="9144" y="1795119"/>
                  </a:lnTo>
                  <a:lnTo>
                    <a:pt x="9144" y="1785975"/>
                  </a:lnTo>
                  <a:close/>
                </a:path>
                <a:path w="1329055" h="2266315">
                  <a:moveTo>
                    <a:pt x="9144" y="1718957"/>
                  </a:moveTo>
                  <a:lnTo>
                    <a:pt x="0" y="1718957"/>
                  </a:lnTo>
                  <a:lnTo>
                    <a:pt x="0" y="1757057"/>
                  </a:lnTo>
                  <a:lnTo>
                    <a:pt x="9144" y="1757057"/>
                  </a:lnTo>
                  <a:lnTo>
                    <a:pt x="9144" y="1718957"/>
                  </a:lnTo>
                  <a:close/>
                </a:path>
                <a:path w="1329055" h="2266315">
                  <a:moveTo>
                    <a:pt x="9144" y="1680857"/>
                  </a:moveTo>
                  <a:lnTo>
                    <a:pt x="0" y="1680857"/>
                  </a:lnTo>
                  <a:lnTo>
                    <a:pt x="0" y="1690001"/>
                  </a:lnTo>
                  <a:lnTo>
                    <a:pt x="9144" y="1690001"/>
                  </a:lnTo>
                  <a:lnTo>
                    <a:pt x="9144" y="1680857"/>
                  </a:lnTo>
                  <a:close/>
                </a:path>
                <a:path w="1329055" h="2266315">
                  <a:moveTo>
                    <a:pt x="9144" y="1613801"/>
                  </a:moveTo>
                  <a:lnTo>
                    <a:pt x="0" y="1613801"/>
                  </a:lnTo>
                  <a:lnTo>
                    <a:pt x="0" y="1651901"/>
                  </a:lnTo>
                  <a:lnTo>
                    <a:pt x="9144" y="1651901"/>
                  </a:lnTo>
                  <a:lnTo>
                    <a:pt x="9144" y="1613801"/>
                  </a:lnTo>
                  <a:close/>
                </a:path>
                <a:path w="1329055" h="2266315">
                  <a:moveTo>
                    <a:pt x="9144" y="1575701"/>
                  </a:moveTo>
                  <a:lnTo>
                    <a:pt x="0" y="1575701"/>
                  </a:lnTo>
                  <a:lnTo>
                    <a:pt x="0" y="1586369"/>
                  </a:lnTo>
                  <a:lnTo>
                    <a:pt x="9144" y="1586369"/>
                  </a:lnTo>
                  <a:lnTo>
                    <a:pt x="9144" y="1575701"/>
                  </a:lnTo>
                  <a:close/>
                </a:path>
                <a:path w="1329055" h="2266315">
                  <a:moveTo>
                    <a:pt x="9144" y="1510169"/>
                  </a:moveTo>
                  <a:lnTo>
                    <a:pt x="0" y="1510169"/>
                  </a:lnTo>
                  <a:lnTo>
                    <a:pt x="0" y="1548269"/>
                  </a:lnTo>
                  <a:lnTo>
                    <a:pt x="9144" y="1548269"/>
                  </a:lnTo>
                  <a:lnTo>
                    <a:pt x="9144" y="1510169"/>
                  </a:lnTo>
                  <a:close/>
                </a:path>
                <a:path w="1329055" h="2266315">
                  <a:moveTo>
                    <a:pt x="9144" y="1472095"/>
                  </a:moveTo>
                  <a:lnTo>
                    <a:pt x="0" y="1472095"/>
                  </a:lnTo>
                  <a:lnTo>
                    <a:pt x="0" y="1481239"/>
                  </a:lnTo>
                  <a:lnTo>
                    <a:pt x="9144" y="1481239"/>
                  </a:lnTo>
                  <a:lnTo>
                    <a:pt x="9144" y="1472095"/>
                  </a:lnTo>
                  <a:close/>
                </a:path>
                <a:path w="1329055" h="2266315">
                  <a:moveTo>
                    <a:pt x="9144" y="1405039"/>
                  </a:moveTo>
                  <a:lnTo>
                    <a:pt x="0" y="1405039"/>
                  </a:lnTo>
                  <a:lnTo>
                    <a:pt x="0" y="1443139"/>
                  </a:lnTo>
                  <a:lnTo>
                    <a:pt x="9144" y="1443139"/>
                  </a:lnTo>
                  <a:lnTo>
                    <a:pt x="9144" y="1405039"/>
                  </a:lnTo>
                  <a:close/>
                </a:path>
                <a:path w="1329055" h="2266315">
                  <a:moveTo>
                    <a:pt x="9144" y="1366939"/>
                  </a:moveTo>
                  <a:lnTo>
                    <a:pt x="0" y="1366939"/>
                  </a:lnTo>
                  <a:lnTo>
                    <a:pt x="0" y="1376083"/>
                  </a:lnTo>
                  <a:lnTo>
                    <a:pt x="9144" y="1376083"/>
                  </a:lnTo>
                  <a:lnTo>
                    <a:pt x="9144" y="1366939"/>
                  </a:lnTo>
                  <a:close/>
                </a:path>
                <a:path w="1329055" h="2266315">
                  <a:moveTo>
                    <a:pt x="9144" y="1299883"/>
                  </a:moveTo>
                  <a:lnTo>
                    <a:pt x="0" y="1299883"/>
                  </a:lnTo>
                  <a:lnTo>
                    <a:pt x="0" y="1337983"/>
                  </a:lnTo>
                  <a:lnTo>
                    <a:pt x="9144" y="1337983"/>
                  </a:lnTo>
                  <a:lnTo>
                    <a:pt x="9144" y="1299883"/>
                  </a:lnTo>
                  <a:close/>
                </a:path>
                <a:path w="1329055" h="2266315">
                  <a:moveTo>
                    <a:pt x="9144" y="1261783"/>
                  </a:moveTo>
                  <a:lnTo>
                    <a:pt x="0" y="1261783"/>
                  </a:lnTo>
                  <a:lnTo>
                    <a:pt x="0" y="1270927"/>
                  </a:lnTo>
                  <a:lnTo>
                    <a:pt x="9144" y="1270927"/>
                  </a:lnTo>
                  <a:lnTo>
                    <a:pt x="9144" y="1261783"/>
                  </a:lnTo>
                  <a:close/>
                </a:path>
                <a:path w="1329055" h="2266315">
                  <a:moveTo>
                    <a:pt x="9144" y="1194727"/>
                  </a:moveTo>
                  <a:lnTo>
                    <a:pt x="0" y="1194727"/>
                  </a:lnTo>
                  <a:lnTo>
                    <a:pt x="0" y="1232827"/>
                  </a:lnTo>
                  <a:lnTo>
                    <a:pt x="9144" y="1232827"/>
                  </a:lnTo>
                  <a:lnTo>
                    <a:pt x="9144" y="1194727"/>
                  </a:lnTo>
                  <a:close/>
                </a:path>
                <a:path w="1329055" h="2266315">
                  <a:moveTo>
                    <a:pt x="9144" y="1156627"/>
                  </a:moveTo>
                  <a:lnTo>
                    <a:pt x="0" y="1156627"/>
                  </a:lnTo>
                  <a:lnTo>
                    <a:pt x="0" y="1167295"/>
                  </a:lnTo>
                  <a:lnTo>
                    <a:pt x="9144" y="1167295"/>
                  </a:lnTo>
                  <a:lnTo>
                    <a:pt x="9144" y="1156627"/>
                  </a:lnTo>
                  <a:close/>
                </a:path>
                <a:path w="1329055" h="2266315">
                  <a:moveTo>
                    <a:pt x="9144" y="1091095"/>
                  </a:moveTo>
                  <a:lnTo>
                    <a:pt x="0" y="1091095"/>
                  </a:lnTo>
                  <a:lnTo>
                    <a:pt x="0" y="1129195"/>
                  </a:lnTo>
                  <a:lnTo>
                    <a:pt x="9144" y="1129195"/>
                  </a:lnTo>
                  <a:lnTo>
                    <a:pt x="9144" y="1091095"/>
                  </a:lnTo>
                  <a:close/>
                </a:path>
                <a:path w="1329055" h="2266315">
                  <a:moveTo>
                    <a:pt x="9144" y="1053020"/>
                  </a:moveTo>
                  <a:lnTo>
                    <a:pt x="0" y="1053020"/>
                  </a:lnTo>
                  <a:lnTo>
                    <a:pt x="0" y="1062164"/>
                  </a:lnTo>
                  <a:lnTo>
                    <a:pt x="9144" y="1062164"/>
                  </a:lnTo>
                  <a:lnTo>
                    <a:pt x="9144" y="1053020"/>
                  </a:lnTo>
                  <a:close/>
                </a:path>
                <a:path w="1329055" h="2266315">
                  <a:moveTo>
                    <a:pt x="9144" y="985964"/>
                  </a:moveTo>
                  <a:lnTo>
                    <a:pt x="0" y="985964"/>
                  </a:lnTo>
                  <a:lnTo>
                    <a:pt x="0" y="1024064"/>
                  </a:lnTo>
                  <a:lnTo>
                    <a:pt x="9144" y="1024064"/>
                  </a:lnTo>
                  <a:lnTo>
                    <a:pt x="9144" y="985964"/>
                  </a:lnTo>
                  <a:close/>
                </a:path>
                <a:path w="1329055" h="2266315">
                  <a:moveTo>
                    <a:pt x="9144" y="947864"/>
                  </a:moveTo>
                  <a:lnTo>
                    <a:pt x="0" y="947864"/>
                  </a:lnTo>
                  <a:lnTo>
                    <a:pt x="0" y="957008"/>
                  </a:lnTo>
                  <a:lnTo>
                    <a:pt x="9144" y="957008"/>
                  </a:lnTo>
                  <a:lnTo>
                    <a:pt x="9144" y="947864"/>
                  </a:lnTo>
                  <a:close/>
                </a:path>
                <a:path w="1329055" h="2266315">
                  <a:moveTo>
                    <a:pt x="9144" y="880808"/>
                  </a:moveTo>
                  <a:lnTo>
                    <a:pt x="0" y="880808"/>
                  </a:lnTo>
                  <a:lnTo>
                    <a:pt x="0" y="918908"/>
                  </a:lnTo>
                  <a:lnTo>
                    <a:pt x="9144" y="918908"/>
                  </a:lnTo>
                  <a:lnTo>
                    <a:pt x="9144" y="880808"/>
                  </a:lnTo>
                  <a:close/>
                </a:path>
                <a:path w="1329055" h="2266315">
                  <a:moveTo>
                    <a:pt x="9144" y="842708"/>
                  </a:moveTo>
                  <a:lnTo>
                    <a:pt x="0" y="842708"/>
                  </a:lnTo>
                  <a:lnTo>
                    <a:pt x="0" y="851852"/>
                  </a:lnTo>
                  <a:lnTo>
                    <a:pt x="9144" y="851852"/>
                  </a:lnTo>
                  <a:lnTo>
                    <a:pt x="9144" y="842708"/>
                  </a:lnTo>
                  <a:close/>
                </a:path>
                <a:path w="1329055" h="2266315">
                  <a:moveTo>
                    <a:pt x="9144" y="775690"/>
                  </a:moveTo>
                  <a:lnTo>
                    <a:pt x="0" y="775690"/>
                  </a:lnTo>
                  <a:lnTo>
                    <a:pt x="0" y="813752"/>
                  </a:lnTo>
                  <a:lnTo>
                    <a:pt x="9144" y="813752"/>
                  </a:lnTo>
                  <a:lnTo>
                    <a:pt x="9144" y="775690"/>
                  </a:lnTo>
                  <a:close/>
                </a:path>
                <a:path w="1329055" h="2266315">
                  <a:moveTo>
                    <a:pt x="9144" y="737590"/>
                  </a:moveTo>
                  <a:lnTo>
                    <a:pt x="0" y="737590"/>
                  </a:lnTo>
                  <a:lnTo>
                    <a:pt x="0" y="748258"/>
                  </a:lnTo>
                  <a:lnTo>
                    <a:pt x="9144" y="748258"/>
                  </a:lnTo>
                  <a:lnTo>
                    <a:pt x="9144" y="737590"/>
                  </a:lnTo>
                  <a:close/>
                </a:path>
                <a:path w="1329055" h="2266315">
                  <a:moveTo>
                    <a:pt x="9144" y="672058"/>
                  </a:moveTo>
                  <a:lnTo>
                    <a:pt x="0" y="672058"/>
                  </a:lnTo>
                  <a:lnTo>
                    <a:pt x="0" y="710158"/>
                  </a:lnTo>
                  <a:lnTo>
                    <a:pt x="9144" y="710158"/>
                  </a:lnTo>
                  <a:lnTo>
                    <a:pt x="9144" y="672058"/>
                  </a:lnTo>
                  <a:close/>
                </a:path>
                <a:path w="1329055" h="2266315">
                  <a:moveTo>
                    <a:pt x="9144" y="633958"/>
                  </a:moveTo>
                  <a:lnTo>
                    <a:pt x="0" y="633958"/>
                  </a:lnTo>
                  <a:lnTo>
                    <a:pt x="0" y="643102"/>
                  </a:lnTo>
                  <a:lnTo>
                    <a:pt x="9144" y="643102"/>
                  </a:lnTo>
                  <a:lnTo>
                    <a:pt x="9144" y="633958"/>
                  </a:lnTo>
                  <a:close/>
                </a:path>
                <a:path w="1329055" h="2266315">
                  <a:moveTo>
                    <a:pt x="9144" y="566902"/>
                  </a:moveTo>
                  <a:lnTo>
                    <a:pt x="0" y="566902"/>
                  </a:lnTo>
                  <a:lnTo>
                    <a:pt x="0" y="605002"/>
                  </a:lnTo>
                  <a:lnTo>
                    <a:pt x="9144" y="605002"/>
                  </a:lnTo>
                  <a:lnTo>
                    <a:pt x="9144" y="566902"/>
                  </a:lnTo>
                  <a:close/>
                </a:path>
                <a:path w="1329055" h="2266315">
                  <a:moveTo>
                    <a:pt x="9144" y="528802"/>
                  </a:moveTo>
                  <a:lnTo>
                    <a:pt x="0" y="528802"/>
                  </a:lnTo>
                  <a:lnTo>
                    <a:pt x="0" y="537946"/>
                  </a:lnTo>
                  <a:lnTo>
                    <a:pt x="9144" y="537946"/>
                  </a:lnTo>
                  <a:lnTo>
                    <a:pt x="9144" y="528802"/>
                  </a:lnTo>
                  <a:close/>
                </a:path>
                <a:path w="1329055" h="2266315">
                  <a:moveTo>
                    <a:pt x="9144" y="461746"/>
                  </a:moveTo>
                  <a:lnTo>
                    <a:pt x="0" y="461746"/>
                  </a:lnTo>
                  <a:lnTo>
                    <a:pt x="0" y="499846"/>
                  </a:lnTo>
                  <a:lnTo>
                    <a:pt x="9144" y="499846"/>
                  </a:lnTo>
                  <a:lnTo>
                    <a:pt x="9144" y="461746"/>
                  </a:lnTo>
                  <a:close/>
                </a:path>
                <a:path w="1329055" h="2266315">
                  <a:moveTo>
                    <a:pt x="9144" y="423646"/>
                  </a:moveTo>
                  <a:lnTo>
                    <a:pt x="0" y="423646"/>
                  </a:lnTo>
                  <a:lnTo>
                    <a:pt x="0" y="432790"/>
                  </a:lnTo>
                  <a:lnTo>
                    <a:pt x="9144" y="432790"/>
                  </a:lnTo>
                  <a:lnTo>
                    <a:pt x="9144" y="423646"/>
                  </a:lnTo>
                  <a:close/>
                </a:path>
                <a:path w="1329055" h="2266315">
                  <a:moveTo>
                    <a:pt x="9144" y="356616"/>
                  </a:moveTo>
                  <a:lnTo>
                    <a:pt x="0" y="356616"/>
                  </a:lnTo>
                  <a:lnTo>
                    <a:pt x="0" y="394690"/>
                  </a:lnTo>
                  <a:lnTo>
                    <a:pt x="9144" y="394690"/>
                  </a:lnTo>
                  <a:lnTo>
                    <a:pt x="9144" y="356616"/>
                  </a:lnTo>
                  <a:close/>
                </a:path>
                <a:path w="1329055" h="2266315">
                  <a:moveTo>
                    <a:pt x="9144" y="318516"/>
                  </a:moveTo>
                  <a:lnTo>
                    <a:pt x="0" y="318516"/>
                  </a:lnTo>
                  <a:lnTo>
                    <a:pt x="0" y="329184"/>
                  </a:lnTo>
                  <a:lnTo>
                    <a:pt x="9144" y="329184"/>
                  </a:lnTo>
                  <a:lnTo>
                    <a:pt x="9144" y="318516"/>
                  </a:lnTo>
                  <a:close/>
                </a:path>
                <a:path w="1329055" h="2266315">
                  <a:moveTo>
                    <a:pt x="9144" y="252984"/>
                  </a:moveTo>
                  <a:lnTo>
                    <a:pt x="0" y="252984"/>
                  </a:lnTo>
                  <a:lnTo>
                    <a:pt x="0" y="291084"/>
                  </a:lnTo>
                  <a:lnTo>
                    <a:pt x="9144" y="291084"/>
                  </a:lnTo>
                  <a:lnTo>
                    <a:pt x="9144" y="252984"/>
                  </a:lnTo>
                  <a:close/>
                </a:path>
                <a:path w="1329055" h="2266315">
                  <a:moveTo>
                    <a:pt x="9144" y="214884"/>
                  </a:moveTo>
                  <a:lnTo>
                    <a:pt x="0" y="214884"/>
                  </a:lnTo>
                  <a:lnTo>
                    <a:pt x="0" y="224028"/>
                  </a:lnTo>
                  <a:lnTo>
                    <a:pt x="9144" y="224028"/>
                  </a:lnTo>
                  <a:lnTo>
                    <a:pt x="9144" y="214884"/>
                  </a:lnTo>
                  <a:close/>
                </a:path>
                <a:path w="1329055" h="2266315">
                  <a:moveTo>
                    <a:pt x="9144" y="147828"/>
                  </a:moveTo>
                  <a:lnTo>
                    <a:pt x="0" y="147828"/>
                  </a:lnTo>
                  <a:lnTo>
                    <a:pt x="0" y="185928"/>
                  </a:lnTo>
                  <a:lnTo>
                    <a:pt x="9144" y="185928"/>
                  </a:lnTo>
                  <a:lnTo>
                    <a:pt x="9144" y="147828"/>
                  </a:lnTo>
                  <a:close/>
                </a:path>
                <a:path w="1329055" h="2266315">
                  <a:moveTo>
                    <a:pt x="9144" y="109728"/>
                  </a:moveTo>
                  <a:lnTo>
                    <a:pt x="0" y="109728"/>
                  </a:lnTo>
                  <a:lnTo>
                    <a:pt x="0" y="118872"/>
                  </a:lnTo>
                  <a:lnTo>
                    <a:pt x="9144" y="118872"/>
                  </a:lnTo>
                  <a:lnTo>
                    <a:pt x="9144" y="109728"/>
                  </a:lnTo>
                  <a:close/>
                </a:path>
                <a:path w="1329055" h="2266315">
                  <a:moveTo>
                    <a:pt x="9144" y="42672"/>
                  </a:moveTo>
                  <a:lnTo>
                    <a:pt x="0" y="42672"/>
                  </a:lnTo>
                  <a:lnTo>
                    <a:pt x="0" y="80772"/>
                  </a:lnTo>
                  <a:lnTo>
                    <a:pt x="9144" y="80772"/>
                  </a:lnTo>
                  <a:lnTo>
                    <a:pt x="9144" y="42672"/>
                  </a:lnTo>
                  <a:close/>
                </a:path>
                <a:path w="1329055" h="2266315">
                  <a:moveTo>
                    <a:pt x="9144" y="9283"/>
                  </a:moveTo>
                  <a:lnTo>
                    <a:pt x="4572" y="9283"/>
                  </a:lnTo>
                  <a:lnTo>
                    <a:pt x="4572" y="9144"/>
                  </a:lnTo>
                  <a:lnTo>
                    <a:pt x="4572" y="393"/>
                  </a:lnTo>
                  <a:lnTo>
                    <a:pt x="0" y="393"/>
                  </a:lnTo>
                  <a:lnTo>
                    <a:pt x="0" y="9283"/>
                  </a:lnTo>
                  <a:lnTo>
                    <a:pt x="0" y="13093"/>
                  </a:lnTo>
                  <a:lnTo>
                    <a:pt x="9144" y="13093"/>
                  </a:lnTo>
                  <a:lnTo>
                    <a:pt x="9144" y="9283"/>
                  </a:lnTo>
                  <a:close/>
                </a:path>
                <a:path w="1329055" h="2266315">
                  <a:moveTo>
                    <a:pt x="9144" y="4572"/>
                  </a:moveTo>
                  <a:lnTo>
                    <a:pt x="4572" y="9144"/>
                  </a:lnTo>
                  <a:lnTo>
                    <a:pt x="9144" y="9144"/>
                  </a:lnTo>
                  <a:lnTo>
                    <a:pt x="9144" y="4572"/>
                  </a:lnTo>
                  <a:close/>
                </a:path>
                <a:path w="1329055" h="2266315">
                  <a:moveTo>
                    <a:pt x="71628" y="0"/>
                  </a:moveTo>
                  <a:lnTo>
                    <a:pt x="33528" y="0"/>
                  </a:lnTo>
                  <a:lnTo>
                    <a:pt x="33528" y="9144"/>
                  </a:lnTo>
                  <a:lnTo>
                    <a:pt x="71628" y="9144"/>
                  </a:lnTo>
                  <a:lnTo>
                    <a:pt x="71628" y="0"/>
                  </a:lnTo>
                  <a:close/>
                </a:path>
                <a:path w="1329055" h="2266315">
                  <a:moveTo>
                    <a:pt x="109728" y="0"/>
                  </a:moveTo>
                  <a:lnTo>
                    <a:pt x="100584" y="0"/>
                  </a:lnTo>
                  <a:lnTo>
                    <a:pt x="100584" y="9144"/>
                  </a:lnTo>
                  <a:lnTo>
                    <a:pt x="109728" y="9144"/>
                  </a:lnTo>
                  <a:lnTo>
                    <a:pt x="109728" y="0"/>
                  </a:lnTo>
                  <a:close/>
                </a:path>
                <a:path w="1329055" h="2266315">
                  <a:moveTo>
                    <a:pt x="176771" y="0"/>
                  </a:moveTo>
                  <a:lnTo>
                    <a:pt x="138671" y="0"/>
                  </a:lnTo>
                  <a:lnTo>
                    <a:pt x="138671" y="9144"/>
                  </a:lnTo>
                  <a:lnTo>
                    <a:pt x="176771" y="9144"/>
                  </a:lnTo>
                  <a:lnTo>
                    <a:pt x="176771" y="0"/>
                  </a:lnTo>
                  <a:close/>
                </a:path>
                <a:path w="1329055" h="2266315">
                  <a:moveTo>
                    <a:pt x="214871" y="0"/>
                  </a:moveTo>
                  <a:lnTo>
                    <a:pt x="204203" y="0"/>
                  </a:lnTo>
                  <a:lnTo>
                    <a:pt x="204203" y="9144"/>
                  </a:lnTo>
                  <a:lnTo>
                    <a:pt x="214871" y="9144"/>
                  </a:lnTo>
                  <a:lnTo>
                    <a:pt x="214871" y="0"/>
                  </a:lnTo>
                  <a:close/>
                </a:path>
                <a:path w="1329055" h="2266315">
                  <a:moveTo>
                    <a:pt x="280390" y="0"/>
                  </a:moveTo>
                  <a:lnTo>
                    <a:pt x="242303" y="0"/>
                  </a:lnTo>
                  <a:lnTo>
                    <a:pt x="242303" y="9144"/>
                  </a:lnTo>
                  <a:lnTo>
                    <a:pt x="280390" y="9144"/>
                  </a:lnTo>
                  <a:lnTo>
                    <a:pt x="280390" y="0"/>
                  </a:lnTo>
                  <a:close/>
                </a:path>
                <a:path w="1329055" h="2266315">
                  <a:moveTo>
                    <a:pt x="318490" y="0"/>
                  </a:moveTo>
                  <a:lnTo>
                    <a:pt x="309346" y="0"/>
                  </a:lnTo>
                  <a:lnTo>
                    <a:pt x="309346" y="9144"/>
                  </a:lnTo>
                  <a:lnTo>
                    <a:pt x="318490" y="9144"/>
                  </a:lnTo>
                  <a:lnTo>
                    <a:pt x="318490" y="0"/>
                  </a:lnTo>
                  <a:close/>
                </a:path>
                <a:path w="1329055" h="2266315">
                  <a:moveTo>
                    <a:pt x="385546" y="0"/>
                  </a:moveTo>
                  <a:lnTo>
                    <a:pt x="347446" y="0"/>
                  </a:lnTo>
                  <a:lnTo>
                    <a:pt x="347446" y="9144"/>
                  </a:lnTo>
                  <a:lnTo>
                    <a:pt x="385546" y="9144"/>
                  </a:lnTo>
                  <a:lnTo>
                    <a:pt x="385546" y="0"/>
                  </a:lnTo>
                  <a:close/>
                </a:path>
                <a:path w="1329055" h="2266315">
                  <a:moveTo>
                    <a:pt x="423633" y="0"/>
                  </a:moveTo>
                  <a:lnTo>
                    <a:pt x="414489" y="0"/>
                  </a:lnTo>
                  <a:lnTo>
                    <a:pt x="414489" y="9144"/>
                  </a:lnTo>
                  <a:lnTo>
                    <a:pt x="423633" y="9144"/>
                  </a:lnTo>
                  <a:lnTo>
                    <a:pt x="423633" y="0"/>
                  </a:lnTo>
                  <a:close/>
                </a:path>
                <a:path w="1329055" h="2266315">
                  <a:moveTo>
                    <a:pt x="490689" y="0"/>
                  </a:moveTo>
                  <a:lnTo>
                    <a:pt x="452589" y="0"/>
                  </a:lnTo>
                  <a:lnTo>
                    <a:pt x="452589" y="9144"/>
                  </a:lnTo>
                  <a:lnTo>
                    <a:pt x="490689" y="9144"/>
                  </a:lnTo>
                  <a:lnTo>
                    <a:pt x="490689" y="0"/>
                  </a:lnTo>
                  <a:close/>
                </a:path>
                <a:path w="1329055" h="2266315">
                  <a:moveTo>
                    <a:pt x="528789" y="0"/>
                  </a:moveTo>
                  <a:lnTo>
                    <a:pt x="519645" y="0"/>
                  </a:lnTo>
                  <a:lnTo>
                    <a:pt x="519645" y="9144"/>
                  </a:lnTo>
                  <a:lnTo>
                    <a:pt x="528789" y="9144"/>
                  </a:lnTo>
                  <a:lnTo>
                    <a:pt x="528789" y="0"/>
                  </a:lnTo>
                  <a:close/>
                </a:path>
                <a:path w="1329055" h="2266315">
                  <a:moveTo>
                    <a:pt x="595833" y="0"/>
                  </a:moveTo>
                  <a:lnTo>
                    <a:pt x="557733" y="0"/>
                  </a:lnTo>
                  <a:lnTo>
                    <a:pt x="557733" y="9144"/>
                  </a:lnTo>
                  <a:lnTo>
                    <a:pt x="595833" y="9144"/>
                  </a:lnTo>
                  <a:lnTo>
                    <a:pt x="595833" y="0"/>
                  </a:lnTo>
                  <a:close/>
                </a:path>
                <a:path w="1329055" h="2266315">
                  <a:moveTo>
                    <a:pt x="633933" y="0"/>
                  </a:moveTo>
                  <a:lnTo>
                    <a:pt x="623265" y="0"/>
                  </a:lnTo>
                  <a:lnTo>
                    <a:pt x="623265" y="9144"/>
                  </a:lnTo>
                  <a:lnTo>
                    <a:pt x="633933" y="9144"/>
                  </a:lnTo>
                  <a:lnTo>
                    <a:pt x="633933" y="0"/>
                  </a:lnTo>
                  <a:close/>
                </a:path>
                <a:path w="1329055" h="2266315">
                  <a:moveTo>
                    <a:pt x="699452" y="0"/>
                  </a:moveTo>
                  <a:lnTo>
                    <a:pt x="661365" y="0"/>
                  </a:lnTo>
                  <a:lnTo>
                    <a:pt x="661365" y="9144"/>
                  </a:lnTo>
                  <a:lnTo>
                    <a:pt x="699452" y="9144"/>
                  </a:lnTo>
                  <a:lnTo>
                    <a:pt x="699452" y="0"/>
                  </a:lnTo>
                  <a:close/>
                </a:path>
                <a:path w="1329055" h="2266315">
                  <a:moveTo>
                    <a:pt x="737552" y="0"/>
                  </a:moveTo>
                  <a:lnTo>
                    <a:pt x="728408" y="0"/>
                  </a:lnTo>
                  <a:lnTo>
                    <a:pt x="728408" y="9144"/>
                  </a:lnTo>
                  <a:lnTo>
                    <a:pt x="737552" y="9144"/>
                  </a:lnTo>
                  <a:lnTo>
                    <a:pt x="737552" y="0"/>
                  </a:lnTo>
                  <a:close/>
                </a:path>
                <a:path w="1329055" h="2266315">
                  <a:moveTo>
                    <a:pt x="804608" y="0"/>
                  </a:moveTo>
                  <a:lnTo>
                    <a:pt x="766508" y="0"/>
                  </a:lnTo>
                  <a:lnTo>
                    <a:pt x="766508" y="9144"/>
                  </a:lnTo>
                  <a:lnTo>
                    <a:pt x="804608" y="9144"/>
                  </a:lnTo>
                  <a:lnTo>
                    <a:pt x="804608" y="0"/>
                  </a:lnTo>
                  <a:close/>
                </a:path>
                <a:path w="1329055" h="2266315">
                  <a:moveTo>
                    <a:pt x="842695" y="0"/>
                  </a:moveTo>
                  <a:lnTo>
                    <a:pt x="833564" y="0"/>
                  </a:lnTo>
                  <a:lnTo>
                    <a:pt x="833564" y="9144"/>
                  </a:lnTo>
                  <a:lnTo>
                    <a:pt x="842695" y="9144"/>
                  </a:lnTo>
                  <a:lnTo>
                    <a:pt x="842695" y="0"/>
                  </a:lnTo>
                  <a:close/>
                </a:path>
                <a:path w="1329055" h="2266315">
                  <a:moveTo>
                    <a:pt x="909751" y="0"/>
                  </a:moveTo>
                  <a:lnTo>
                    <a:pt x="871651" y="0"/>
                  </a:lnTo>
                  <a:lnTo>
                    <a:pt x="871651" y="9144"/>
                  </a:lnTo>
                  <a:lnTo>
                    <a:pt x="909751" y="9144"/>
                  </a:lnTo>
                  <a:lnTo>
                    <a:pt x="909751" y="0"/>
                  </a:lnTo>
                  <a:close/>
                </a:path>
                <a:path w="1329055" h="2266315">
                  <a:moveTo>
                    <a:pt x="947851" y="0"/>
                  </a:moveTo>
                  <a:lnTo>
                    <a:pt x="938707" y="0"/>
                  </a:lnTo>
                  <a:lnTo>
                    <a:pt x="938707" y="9144"/>
                  </a:lnTo>
                  <a:lnTo>
                    <a:pt x="947851" y="9144"/>
                  </a:lnTo>
                  <a:lnTo>
                    <a:pt x="947851" y="0"/>
                  </a:lnTo>
                  <a:close/>
                </a:path>
                <a:path w="1329055" h="2266315">
                  <a:moveTo>
                    <a:pt x="1014895" y="0"/>
                  </a:moveTo>
                  <a:lnTo>
                    <a:pt x="976807" y="0"/>
                  </a:lnTo>
                  <a:lnTo>
                    <a:pt x="976807" y="9144"/>
                  </a:lnTo>
                  <a:lnTo>
                    <a:pt x="1014895" y="9144"/>
                  </a:lnTo>
                  <a:lnTo>
                    <a:pt x="1014895" y="0"/>
                  </a:lnTo>
                  <a:close/>
                </a:path>
                <a:path w="1329055" h="2266315">
                  <a:moveTo>
                    <a:pt x="1052995" y="0"/>
                  </a:moveTo>
                  <a:lnTo>
                    <a:pt x="1042327" y="0"/>
                  </a:lnTo>
                  <a:lnTo>
                    <a:pt x="1042327" y="9144"/>
                  </a:lnTo>
                  <a:lnTo>
                    <a:pt x="1052995" y="9144"/>
                  </a:lnTo>
                  <a:lnTo>
                    <a:pt x="1052995" y="0"/>
                  </a:lnTo>
                  <a:close/>
                </a:path>
                <a:path w="1329055" h="2266315">
                  <a:moveTo>
                    <a:pt x="1118527" y="0"/>
                  </a:moveTo>
                  <a:lnTo>
                    <a:pt x="1080427" y="0"/>
                  </a:lnTo>
                  <a:lnTo>
                    <a:pt x="1080427" y="9144"/>
                  </a:lnTo>
                  <a:lnTo>
                    <a:pt x="1118527" y="9144"/>
                  </a:lnTo>
                  <a:lnTo>
                    <a:pt x="1118527" y="0"/>
                  </a:lnTo>
                  <a:close/>
                </a:path>
                <a:path w="1329055" h="2266315">
                  <a:moveTo>
                    <a:pt x="1156614" y="0"/>
                  </a:moveTo>
                  <a:lnTo>
                    <a:pt x="1147470" y="0"/>
                  </a:lnTo>
                  <a:lnTo>
                    <a:pt x="1147470" y="9144"/>
                  </a:lnTo>
                  <a:lnTo>
                    <a:pt x="1156614" y="9144"/>
                  </a:lnTo>
                  <a:lnTo>
                    <a:pt x="1156614" y="0"/>
                  </a:lnTo>
                  <a:close/>
                </a:path>
                <a:path w="1329055" h="2266315">
                  <a:moveTo>
                    <a:pt x="1223683" y="0"/>
                  </a:moveTo>
                  <a:lnTo>
                    <a:pt x="1185570" y="0"/>
                  </a:lnTo>
                  <a:lnTo>
                    <a:pt x="1185570" y="9144"/>
                  </a:lnTo>
                  <a:lnTo>
                    <a:pt x="1223683" y="9144"/>
                  </a:lnTo>
                  <a:lnTo>
                    <a:pt x="1223683" y="0"/>
                  </a:lnTo>
                  <a:close/>
                </a:path>
                <a:path w="1329055" h="2266315">
                  <a:moveTo>
                    <a:pt x="1261783" y="0"/>
                  </a:moveTo>
                  <a:lnTo>
                    <a:pt x="1252639" y="0"/>
                  </a:lnTo>
                  <a:lnTo>
                    <a:pt x="1252639" y="9144"/>
                  </a:lnTo>
                  <a:lnTo>
                    <a:pt x="1261783" y="9144"/>
                  </a:lnTo>
                  <a:lnTo>
                    <a:pt x="1261783" y="0"/>
                  </a:lnTo>
                  <a:close/>
                </a:path>
                <a:path w="1329055" h="2266315">
                  <a:moveTo>
                    <a:pt x="1328813" y="0"/>
                  </a:moveTo>
                  <a:lnTo>
                    <a:pt x="1290713" y="0"/>
                  </a:lnTo>
                  <a:lnTo>
                    <a:pt x="1290713" y="9144"/>
                  </a:lnTo>
                  <a:lnTo>
                    <a:pt x="1328813" y="9144"/>
                  </a:lnTo>
                  <a:lnTo>
                    <a:pt x="1328813" y="0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3150349" y="1626476"/>
              <a:ext cx="1271270" cy="452755"/>
            </a:xfrm>
            <a:custGeom>
              <a:avLst/>
              <a:gdLst/>
              <a:ahLst/>
              <a:cxnLst/>
              <a:rect l="l" t="t" r="r" b="b"/>
              <a:pathLst>
                <a:path w="1271270" h="452755">
                  <a:moveTo>
                    <a:pt x="38100" y="0"/>
                  </a:moveTo>
                  <a:lnTo>
                    <a:pt x="0" y="0"/>
                  </a:lnTo>
                  <a:lnTo>
                    <a:pt x="0" y="9144"/>
                  </a:lnTo>
                  <a:lnTo>
                    <a:pt x="38100" y="9144"/>
                  </a:lnTo>
                  <a:lnTo>
                    <a:pt x="38100" y="0"/>
                  </a:lnTo>
                  <a:close/>
                </a:path>
                <a:path w="1271270" h="452755">
                  <a:moveTo>
                    <a:pt x="76200" y="0"/>
                  </a:moveTo>
                  <a:lnTo>
                    <a:pt x="67056" y="0"/>
                  </a:lnTo>
                  <a:lnTo>
                    <a:pt x="67056" y="9144"/>
                  </a:lnTo>
                  <a:lnTo>
                    <a:pt x="76200" y="9144"/>
                  </a:lnTo>
                  <a:lnTo>
                    <a:pt x="76200" y="0"/>
                  </a:lnTo>
                  <a:close/>
                </a:path>
                <a:path w="1271270" h="452755">
                  <a:moveTo>
                    <a:pt x="143256" y="0"/>
                  </a:moveTo>
                  <a:lnTo>
                    <a:pt x="105156" y="0"/>
                  </a:lnTo>
                  <a:lnTo>
                    <a:pt x="105156" y="9144"/>
                  </a:lnTo>
                  <a:lnTo>
                    <a:pt x="143256" y="9144"/>
                  </a:lnTo>
                  <a:lnTo>
                    <a:pt x="143256" y="0"/>
                  </a:lnTo>
                  <a:close/>
                </a:path>
                <a:path w="1271270" h="452755">
                  <a:moveTo>
                    <a:pt x="181356" y="0"/>
                  </a:moveTo>
                  <a:lnTo>
                    <a:pt x="170688" y="0"/>
                  </a:lnTo>
                  <a:lnTo>
                    <a:pt x="170688" y="9144"/>
                  </a:lnTo>
                  <a:lnTo>
                    <a:pt x="181356" y="9144"/>
                  </a:lnTo>
                  <a:lnTo>
                    <a:pt x="181356" y="0"/>
                  </a:lnTo>
                  <a:close/>
                </a:path>
                <a:path w="1271270" h="452755">
                  <a:moveTo>
                    <a:pt x="246888" y="0"/>
                  </a:moveTo>
                  <a:lnTo>
                    <a:pt x="208788" y="0"/>
                  </a:lnTo>
                  <a:lnTo>
                    <a:pt x="208788" y="9144"/>
                  </a:lnTo>
                  <a:lnTo>
                    <a:pt x="246888" y="9144"/>
                  </a:lnTo>
                  <a:lnTo>
                    <a:pt x="246888" y="0"/>
                  </a:lnTo>
                  <a:close/>
                </a:path>
                <a:path w="1271270" h="452755">
                  <a:moveTo>
                    <a:pt x="284949" y="0"/>
                  </a:moveTo>
                  <a:lnTo>
                    <a:pt x="275805" y="0"/>
                  </a:lnTo>
                  <a:lnTo>
                    <a:pt x="275805" y="9144"/>
                  </a:lnTo>
                  <a:lnTo>
                    <a:pt x="284949" y="9144"/>
                  </a:lnTo>
                  <a:lnTo>
                    <a:pt x="284949" y="0"/>
                  </a:lnTo>
                  <a:close/>
                </a:path>
                <a:path w="1271270" h="452755">
                  <a:moveTo>
                    <a:pt x="352005" y="0"/>
                  </a:moveTo>
                  <a:lnTo>
                    <a:pt x="313905" y="0"/>
                  </a:lnTo>
                  <a:lnTo>
                    <a:pt x="313905" y="9144"/>
                  </a:lnTo>
                  <a:lnTo>
                    <a:pt x="352005" y="9144"/>
                  </a:lnTo>
                  <a:lnTo>
                    <a:pt x="352005" y="0"/>
                  </a:lnTo>
                  <a:close/>
                </a:path>
                <a:path w="1271270" h="452755">
                  <a:moveTo>
                    <a:pt x="390105" y="0"/>
                  </a:moveTo>
                  <a:lnTo>
                    <a:pt x="380961" y="0"/>
                  </a:lnTo>
                  <a:lnTo>
                    <a:pt x="380961" y="9144"/>
                  </a:lnTo>
                  <a:lnTo>
                    <a:pt x="390105" y="9144"/>
                  </a:lnTo>
                  <a:lnTo>
                    <a:pt x="390105" y="0"/>
                  </a:lnTo>
                  <a:close/>
                </a:path>
                <a:path w="1271270" h="452755">
                  <a:moveTo>
                    <a:pt x="457161" y="0"/>
                  </a:moveTo>
                  <a:lnTo>
                    <a:pt x="419061" y="0"/>
                  </a:lnTo>
                  <a:lnTo>
                    <a:pt x="419061" y="9144"/>
                  </a:lnTo>
                  <a:lnTo>
                    <a:pt x="457161" y="9144"/>
                  </a:lnTo>
                  <a:lnTo>
                    <a:pt x="457161" y="0"/>
                  </a:lnTo>
                  <a:close/>
                </a:path>
                <a:path w="1271270" h="452755">
                  <a:moveTo>
                    <a:pt x="495261" y="0"/>
                  </a:moveTo>
                  <a:lnTo>
                    <a:pt x="486117" y="0"/>
                  </a:lnTo>
                  <a:lnTo>
                    <a:pt x="486117" y="9144"/>
                  </a:lnTo>
                  <a:lnTo>
                    <a:pt x="495261" y="9144"/>
                  </a:lnTo>
                  <a:lnTo>
                    <a:pt x="495261" y="0"/>
                  </a:lnTo>
                  <a:close/>
                </a:path>
                <a:path w="1271270" h="452755">
                  <a:moveTo>
                    <a:pt x="562317" y="0"/>
                  </a:moveTo>
                  <a:lnTo>
                    <a:pt x="524217" y="0"/>
                  </a:lnTo>
                  <a:lnTo>
                    <a:pt x="524217" y="9144"/>
                  </a:lnTo>
                  <a:lnTo>
                    <a:pt x="562317" y="9144"/>
                  </a:lnTo>
                  <a:lnTo>
                    <a:pt x="562317" y="0"/>
                  </a:lnTo>
                  <a:close/>
                </a:path>
                <a:path w="1271270" h="452755">
                  <a:moveTo>
                    <a:pt x="600417" y="0"/>
                  </a:moveTo>
                  <a:lnTo>
                    <a:pt x="589749" y="0"/>
                  </a:lnTo>
                  <a:lnTo>
                    <a:pt x="589749" y="9144"/>
                  </a:lnTo>
                  <a:lnTo>
                    <a:pt x="600417" y="9144"/>
                  </a:lnTo>
                  <a:lnTo>
                    <a:pt x="600417" y="0"/>
                  </a:lnTo>
                  <a:close/>
                </a:path>
                <a:path w="1271270" h="452755">
                  <a:moveTo>
                    <a:pt x="665949" y="0"/>
                  </a:moveTo>
                  <a:lnTo>
                    <a:pt x="627849" y="0"/>
                  </a:lnTo>
                  <a:lnTo>
                    <a:pt x="627849" y="9144"/>
                  </a:lnTo>
                  <a:lnTo>
                    <a:pt x="665949" y="9144"/>
                  </a:lnTo>
                  <a:lnTo>
                    <a:pt x="665949" y="0"/>
                  </a:lnTo>
                  <a:close/>
                </a:path>
                <a:path w="1271270" h="452755">
                  <a:moveTo>
                    <a:pt x="704024" y="0"/>
                  </a:moveTo>
                  <a:lnTo>
                    <a:pt x="694880" y="0"/>
                  </a:lnTo>
                  <a:lnTo>
                    <a:pt x="694880" y="9144"/>
                  </a:lnTo>
                  <a:lnTo>
                    <a:pt x="704024" y="9144"/>
                  </a:lnTo>
                  <a:lnTo>
                    <a:pt x="704024" y="0"/>
                  </a:lnTo>
                  <a:close/>
                </a:path>
                <a:path w="1271270" h="452755">
                  <a:moveTo>
                    <a:pt x="771080" y="0"/>
                  </a:moveTo>
                  <a:lnTo>
                    <a:pt x="732980" y="0"/>
                  </a:lnTo>
                  <a:lnTo>
                    <a:pt x="732980" y="9144"/>
                  </a:lnTo>
                  <a:lnTo>
                    <a:pt x="771080" y="9144"/>
                  </a:lnTo>
                  <a:lnTo>
                    <a:pt x="771080" y="0"/>
                  </a:lnTo>
                  <a:close/>
                </a:path>
                <a:path w="1271270" h="452755">
                  <a:moveTo>
                    <a:pt x="809180" y="0"/>
                  </a:moveTo>
                  <a:lnTo>
                    <a:pt x="800036" y="0"/>
                  </a:lnTo>
                  <a:lnTo>
                    <a:pt x="800036" y="9144"/>
                  </a:lnTo>
                  <a:lnTo>
                    <a:pt x="809180" y="9144"/>
                  </a:lnTo>
                  <a:lnTo>
                    <a:pt x="809180" y="0"/>
                  </a:lnTo>
                  <a:close/>
                </a:path>
                <a:path w="1271270" h="452755">
                  <a:moveTo>
                    <a:pt x="876236" y="0"/>
                  </a:moveTo>
                  <a:lnTo>
                    <a:pt x="838136" y="0"/>
                  </a:lnTo>
                  <a:lnTo>
                    <a:pt x="838136" y="9144"/>
                  </a:lnTo>
                  <a:lnTo>
                    <a:pt x="876236" y="9144"/>
                  </a:lnTo>
                  <a:lnTo>
                    <a:pt x="876236" y="0"/>
                  </a:lnTo>
                  <a:close/>
                </a:path>
                <a:path w="1271270" h="452755">
                  <a:moveTo>
                    <a:pt x="914336" y="0"/>
                  </a:moveTo>
                  <a:lnTo>
                    <a:pt x="905192" y="0"/>
                  </a:lnTo>
                  <a:lnTo>
                    <a:pt x="905192" y="9144"/>
                  </a:lnTo>
                  <a:lnTo>
                    <a:pt x="914336" y="9144"/>
                  </a:lnTo>
                  <a:lnTo>
                    <a:pt x="914336" y="0"/>
                  </a:lnTo>
                  <a:close/>
                </a:path>
                <a:path w="1271270" h="452755">
                  <a:moveTo>
                    <a:pt x="981367" y="0"/>
                  </a:moveTo>
                  <a:lnTo>
                    <a:pt x="943292" y="0"/>
                  </a:lnTo>
                  <a:lnTo>
                    <a:pt x="943292" y="9144"/>
                  </a:lnTo>
                  <a:lnTo>
                    <a:pt x="981367" y="9144"/>
                  </a:lnTo>
                  <a:lnTo>
                    <a:pt x="981367" y="0"/>
                  </a:lnTo>
                  <a:close/>
                </a:path>
                <a:path w="1271270" h="452755">
                  <a:moveTo>
                    <a:pt x="1019467" y="0"/>
                  </a:moveTo>
                  <a:lnTo>
                    <a:pt x="1008799" y="0"/>
                  </a:lnTo>
                  <a:lnTo>
                    <a:pt x="1008799" y="9144"/>
                  </a:lnTo>
                  <a:lnTo>
                    <a:pt x="1019467" y="9144"/>
                  </a:lnTo>
                  <a:lnTo>
                    <a:pt x="1019467" y="0"/>
                  </a:lnTo>
                  <a:close/>
                </a:path>
                <a:path w="1271270" h="452755">
                  <a:moveTo>
                    <a:pt x="1084999" y="0"/>
                  </a:moveTo>
                  <a:lnTo>
                    <a:pt x="1046899" y="0"/>
                  </a:lnTo>
                  <a:lnTo>
                    <a:pt x="1046899" y="9144"/>
                  </a:lnTo>
                  <a:lnTo>
                    <a:pt x="1084999" y="9144"/>
                  </a:lnTo>
                  <a:lnTo>
                    <a:pt x="1084999" y="0"/>
                  </a:lnTo>
                  <a:close/>
                </a:path>
                <a:path w="1271270" h="452755">
                  <a:moveTo>
                    <a:pt x="1123099" y="0"/>
                  </a:moveTo>
                  <a:lnTo>
                    <a:pt x="1113955" y="0"/>
                  </a:lnTo>
                  <a:lnTo>
                    <a:pt x="1113955" y="9144"/>
                  </a:lnTo>
                  <a:lnTo>
                    <a:pt x="1123099" y="9144"/>
                  </a:lnTo>
                  <a:lnTo>
                    <a:pt x="1123099" y="0"/>
                  </a:lnTo>
                  <a:close/>
                </a:path>
                <a:path w="1271270" h="452755">
                  <a:moveTo>
                    <a:pt x="1190155" y="0"/>
                  </a:moveTo>
                  <a:lnTo>
                    <a:pt x="1152055" y="0"/>
                  </a:lnTo>
                  <a:lnTo>
                    <a:pt x="1152055" y="9144"/>
                  </a:lnTo>
                  <a:lnTo>
                    <a:pt x="1190155" y="9144"/>
                  </a:lnTo>
                  <a:lnTo>
                    <a:pt x="1190155" y="0"/>
                  </a:lnTo>
                  <a:close/>
                </a:path>
                <a:path w="1271270" h="452755">
                  <a:moveTo>
                    <a:pt x="1228255" y="0"/>
                  </a:moveTo>
                  <a:lnTo>
                    <a:pt x="1219111" y="0"/>
                  </a:lnTo>
                  <a:lnTo>
                    <a:pt x="1219111" y="9144"/>
                  </a:lnTo>
                  <a:lnTo>
                    <a:pt x="1228255" y="9144"/>
                  </a:lnTo>
                  <a:lnTo>
                    <a:pt x="1228255" y="0"/>
                  </a:lnTo>
                  <a:close/>
                </a:path>
                <a:path w="1271270" h="452755">
                  <a:moveTo>
                    <a:pt x="1270927" y="414502"/>
                  </a:moveTo>
                  <a:lnTo>
                    <a:pt x="1261783" y="414502"/>
                  </a:lnTo>
                  <a:lnTo>
                    <a:pt x="1261783" y="452602"/>
                  </a:lnTo>
                  <a:lnTo>
                    <a:pt x="1270927" y="452602"/>
                  </a:lnTo>
                  <a:lnTo>
                    <a:pt x="1270927" y="414502"/>
                  </a:lnTo>
                  <a:close/>
                </a:path>
                <a:path w="1271270" h="452755">
                  <a:moveTo>
                    <a:pt x="1270927" y="376402"/>
                  </a:moveTo>
                  <a:lnTo>
                    <a:pt x="1261783" y="376402"/>
                  </a:lnTo>
                  <a:lnTo>
                    <a:pt x="1261783" y="385546"/>
                  </a:lnTo>
                  <a:lnTo>
                    <a:pt x="1270927" y="385546"/>
                  </a:lnTo>
                  <a:lnTo>
                    <a:pt x="1270927" y="376402"/>
                  </a:lnTo>
                  <a:close/>
                </a:path>
                <a:path w="1271270" h="452755">
                  <a:moveTo>
                    <a:pt x="1270927" y="309372"/>
                  </a:moveTo>
                  <a:lnTo>
                    <a:pt x="1261783" y="309372"/>
                  </a:lnTo>
                  <a:lnTo>
                    <a:pt x="1261783" y="347472"/>
                  </a:lnTo>
                  <a:lnTo>
                    <a:pt x="1270927" y="347472"/>
                  </a:lnTo>
                  <a:lnTo>
                    <a:pt x="1270927" y="309372"/>
                  </a:lnTo>
                  <a:close/>
                </a:path>
                <a:path w="1271270" h="452755">
                  <a:moveTo>
                    <a:pt x="1270927" y="271272"/>
                  </a:moveTo>
                  <a:lnTo>
                    <a:pt x="1261783" y="271272"/>
                  </a:lnTo>
                  <a:lnTo>
                    <a:pt x="1261783" y="280416"/>
                  </a:lnTo>
                  <a:lnTo>
                    <a:pt x="1270927" y="280416"/>
                  </a:lnTo>
                  <a:lnTo>
                    <a:pt x="1270927" y="271272"/>
                  </a:lnTo>
                  <a:close/>
                </a:path>
                <a:path w="1271270" h="452755">
                  <a:moveTo>
                    <a:pt x="1270927" y="204216"/>
                  </a:moveTo>
                  <a:lnTo>
                    <a:pt x="1261783" y="204216"/>
                  </a:lnTo>
                  <a:lnTo>
                    <a:pt x="1261783" y="242316"/>
                  </a:lnTo>
                  <a:lnTo>
                    <a:pt x="1270927" y="242316"/>
                  </a:lnTo>
                  <a:lnTo>
                    <a:pt x="1270927" y="204216"/>
                  </a:lnTo>
                  <a:close/>
                </a:path>
                <a:path w="1271270" h="452755">
                  <a:moveTo>
                    <a:pt x="1270927" y="166116"/>
                  </a:moveTo>
                  <a:lnTo>
                    <a:pt x="1261783" y="166116"/>
                  </a:lnTo>
                  <a:lnTo>
                    <a:pt x="1261783" y="176784"/>
                  </a:lnTo>
                  <a:lnTo>
                    <a:pt x="1270927" y="176784"/>
                  </a:lnTo>
                  <a:lnTo>
                    <a:pt x="1270927" y="166116"/>
                  </a:lnTo>
                  <a:close/>
                </a:path>
                <a:path w="1271270" h="452755">
                  <a:moveTo>
                    <a:pt x="1270927" y="100584"/>
                  </a:moveTo>
                  <a:lnTo>
                    <a:pt x="1261783" y="100584"/>
                  </a:lnTo>
                  <a:lnTo>
                    <a:pt x="1261783" y="138684"/>
                  </a:lnTo>
                  <a:lnTo>
                    <a:pt x="1270927" y="138684"/>
                  </a:lnTo>
                  <a:lnTo>
                    <a:pt x="1270927" y="100584"/>
                  </a:lnTo>
                  <a:close/>
                </a:path>
                <a:path w="1271270" h="452755">
                  <a:moveTo>
                    <a:pt x="1270927" y="62484"/>
                  </a:moveTo>
                  <a:lnTo>
                    <a:pt x="1261783" y="62484"/>
                  </a:lnTo>
                  <a:lnTo>
                    <a:pt x="1261783" y="71628"/>
                  </a:lnTo>
                  <a:lnTo>
                    <a:pt x="1270927" y="71628"/>
                  </a:lnTo>
                  <a:lnTo>
                    <a:pt x="1270927" y="62484"/>
                  </a:lnTo>
                  <a:close/>
                </a:path>
                <a:path w="1271270" h="452755">
                  <a:moveTo>
                    <a:pt x="1270927" y="393"/>
                  </a:moveTo>
                  <a:lnTo>
                    <a:pt x="1257211" y="393"/>
                  </a:lnTo>
                  <a:lnTo>
                    <a:pt x="1257211" y="4203"/>
                  </a:lnTo>
                  <a:lnTo>
                    <a:pt x="1257211" y="9283"/>
                  </a:lnTo>
                  <a:lnTo>
                    <a:pt x="1261783" y="9283"/>
                  </a:lnTo>
                  <a:lnTo>
                    <a:pt x="1261783" y="33413"/>
                  </a:lnTo>
                  <a:lnTo>
                    <a:pt x="1270927" y="33413"/>
                  </a:lnTo>
                  <a:lnTo>
                    <a:pt x="1270927" y="9283"/>
                  </a:lnTo>
                  <a:lnTo>
                    <a:pt x="1263954" y="9283"/>
                  </a:lnTo>
                  <a:lnTo>
                    <a:pt x="1263954" y="6743"/>
                  </a:lnTo>
                  <a:lnTo>
                    <a:pt x="1266355" y="9144"/>
                  </a:lnTo>
                  <a:lnTo>
                    <a:pt x="1270927" y="9144"/>
                  </a:lnTo>
                  <a:lnTo>
                    <a:pt x="1270927" y="4572"/>
                  </a:lnTo>
                  <a:lnTo>
                    <a:pt x="1263954" y="4572"/>
                  </a:lnTo>
                  <a:lnTo>
                    <a:pt x="1263954" y="4203"/>
                  </a:lnTo>
                  <a:lnTo>
                    <a:pt x="1270927" y="4203"/>
                  </a:lnTo>
                  <a:lnTo>
                    <a:pt x="1270927" y="393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5" name="object 5"/>
          <p:cNvGrpSpPr/>
          <p:nvPr/>
        </p:nvGrpSpPr>
        <p:grpSpPr>
          <a:xfrm>
            <a:off x="4755002" y="1626473"/>
            <a:ext cx="3475990" cy="2266315"/>
            <a:chOff x="4755002" y="1626473"/>
            <a:chExt cx="3475990" cy="2266315"/>
          </a:xfrm>
        </p:grpSpPr>
        <p:sp>
          <p:nvSpPr>
            <p:cNvPr id="6" name="object 6"/>
            <p:cNvSpPr/>
            <p:nvPr/>
          </p:nvSpPr>
          <p:spPr>
            <a:xfrm>
              <a:off x="4754994" y="1626476"/>
              <a:ext cx="3148330" cy="433070"/>
            </a:xfrm>
            <a:custGeom>
              <a:avLst/>
              <a:gdLst/>
              <a:ahLst/>
              <a:cxnLst/>
              <a:rect l="l" t="t" r="r" b="b"/>
              <a:pathLst>
                <a:path w="3148329" h="433069">
                  <a:moveTo>
                    <a:pt x="9144" y="423646"/>
                  </a:moveTo>
                  <a:lnTo>
                    <a:pt x="0" y="423646"/>
                  </a:lnTo>
                  <a:lnTo>
                    <a:pt x="0" y="432790"/>
                  </a:lnTo>
                  <a:lnTo>
                    <a:pt x="9144" y="432790"/>
                  </a:lnTo>
                  <a:lnTo>
                    <a:pt x="9144" y="423646"/>
                  </a:lnTo>
                  <a:close/>
                </a:path>
                <a:path w="3148329" h="433069">
                  <a:moveTo>
                    <a:pt x="9144" y="356616"/>
                  </a:moveTo>
                  <a:lnTo>
                    <a:pt x="0" y="356616"/>
                  </a:lnTo>
                  <a:lnTo>
                    <a:pt x="0" y="394690"/>
                  </a:lnTo>
                  <a:lnTo>
                    <a:pt x="9144" y="394690"/>
                  </a:lnTo>
                  <a:lnTo>
                    <a:pt x="9144" y="356616"/>
                  </a:lnTo>
                  <a:close/>
                </a:path>
                <a:path w="3148329" h="433069">
                  <a:moveTo>
                    <a:pt x="9144" y="318516"/>
                  </a:moveTo>
                  <a:lnTo>
                    <a:pt x="0" y="318516"/>
                  </a:lnTo>
                  <a:lnTo>
                    <a:pt x="0" y="329184"/>
                  </a:lnTo>
                  <a:lnTo>
                    <a:pt x="9144" y="329184"/>
                  </a:lnTo>
                  <a:lnTo>
                    <a:pt x="9144" y="318516"/>
                  </a:lnTo>
                  <a:close/>
                </a:path>
                <a:path w="3148329" h="433069">
                  <a:moveTo>
                    <a:pt x="9144" y="252984"/>
                  </a:moveTo>
                  <a:lnTo>
                    <a:pt x="0" y="252984"/>
                  </a:lnTo>
                  <a:lnTo>
                    <a:pt x="0" y="291084"/>
                  </a:lnTo>
                  <a:lnTo>
                    <a:pt x="9144" y="291084"/>
                  </a:lnTo>
                  <a:lnTo>
                    <a:pt x="9144" y="252984"/>
                  </a:lnTo>
                  <a:close/>
                </a:path>
                <a:path w="3148329" h="433069">
                  <a:moveTo>
                    <a:pt x="9144" y="214884"/>
                  </a:moveTo>
                  <a:lnTo>
                    <a:pt x="0" y="214884"/>
                  </a:lnTo>
                  <a:lnTo>
                    <a:pt x="0" y="224028"/>
                  </a:lnTo>
                  <a:lnTo>
                    <a:pt x="9144" y="224028"/>
                  </a:lnTo>
                  <a:lnTo>
                    <a:pt x="9144" y="214884"/>
                  </a:lnTo>
                  <a:close/>
                </a:path>
                <a:path w="3148329" h="433069">
                  <a:moveTo>
                    <a:pt x="9144" y="147828"/>
                  </a:moveTo>
                  <a:lnTo>
                    <a:pt x="0" y="147828"/>
                  </a:lnTo>
                  <a:lnTo>
                    <a:pt x="0" y="185928"/>
                  </a:lnTo>
                  <a:lnTo>
                    <a:pt x="9144" y="185928"/>
                  </a:lnTo>
                  <a:lnTo>
                    <a:pt x="9144" y="147828"/>
                  </a:lnTo>
                  <a:close/>
                </a:path>
                <a:path w="3148329" h="433069">
                  <a:moveTo>
                    <a:pt x="9144" y="109728"/>
                  </a:moveTo>
                  <a:lnTo>
                    <a:pt x="0" y="109728"/>
                  </a:lnTo>
                  <a:lnTo>
                    <a:pt x="0" y="118872"/>
                  </a:lnTo>
                  <a:lnTo>
                    <a:pt x="9144" y="118872"/>
                  </a:lnTo>
                  <a:lnTo>
                    <a:pt x="9144" y="109728"/>
                  </a:lnTo>
                  <a:close/>
                </a:path>
                <a:path w="3148329" h="433069">
                  <a:moveTo>
                    <a:pt x="9144" y="42672"/>
                  </a:moveTo>
                  <a:lnTo>
                    <a:pt x="0" y="42672"/>
                  </a:lnTo>
                  <a:lnTo>
                    <a:pt x="0" y="80772"/>
                  </a:lnTo>
                  <a:lnTo>
                    <a:pt x="9144" y="80772"/>
                  </a:lnTo>
                  <a:lnTo>
                    <a:pt x="9144" y="42672"/>
                  </a:lnTo>
                  <a:close/>
                </a:path>
                <a:path w="3148329" h="433069">
                  <a:moveTo>
                    <a:pt x="9144" y="9283"/>
                  </a:moveTo>
                  <a:lnTo>
                    <a:pt x="4572" y="9283"/>
                  </a:lnTo>
                  <a:lnTo>
                    <a:pt x="4572" y="9144"/>
                  </a:lnTo>
                  <a:lnTo>
                    <a:pt x="4572" y="393"/>
                  </a:lnTo>
                  <a:lnTo>
                    <a:pt x="0" y="393"/>
                  </a:lnTo>
                  <a:lnTo>
                    <a:pt x="0" y="9283"/>
                  </a:lnTo>
                  <a:lnTo>
                    <a:pt x="0" y="13093"/>
                  </a:lnTo>
                  <a:lnTo>
                    <a:pt x="9144" y="13093"/>
                  </a:lnTo>
                  <a:lnTo>
                    <a:pt x="9144" y="9283"/>
                  </a:lnTo>
                  <a:close/>
                </a:path>
                <a:path w="3148329" h="433069">
                  <a:moveTo>
                    <a:pt x="9144" y="4572"/>
                  </a:moveTo>
                  <a:lnTo>
                    <a:pt x="4572" y="9144"/>
                  </a:lnTo>
                  <a:lnTo>
                    <a:pt x="9144" y="9144"/>
                  </a:lnTo>
                  <a:lnTo>
                    <a:pt x="9144" y="4572"/>
                  </a:lnTo>
                  <a:close/>
                </a:path>
                <a:path w="3148329" h="433069">
                  <a:moveTo>
                    <a:pt x="71628" y="0"/>
                  </a:moveTo>
                  <a:lnTo>
                    <a:pt x="33528" y="0"/>
                  </a:lnTo>
                  <a:lnTo>
                    <a:pt x="33528" y="9144"/>
                  </a:lnTo>
                  <a:lnTo>
                    <a:pt x="71628" y="9144"/>
                  </a:lnTo>
                  <a:lnTo>
                    <a:pt x="71628" y="0"/>
                  </a:lnTo>
                  <a:close/>
                </a:path>
                <a:path w="3148329" h="433069">
                  <a:moveTo>
                    <a:pt x="109728" y="0"/>
                  </a:moveTo>
                  <a:lnTo>
                    <a:pt x="100584" y="0"/>
                  </a:lnTo>
                  <a:lnTo>
                    <a:pt x="100584" y="9144"/>
                  </a:lnTo>
                  <a:lnTo>
                    <a:pt x="109728" y="9144"/>
                  </a:lnTo>
                  <a:lnTo>
                    <a:pt x="109728" y="0"/>
                  </a:lnTo>
                  <a:close/>
                </a:path>
                <a:path w="3148329" h="433069">
                  <a:moveTo>
                    <a:pt x="176784" y="0"/>
                  </a:moveTo>
                  <a:lnTo>
                    <a:pt x="138684" y="0"/>
                  </a:lnTo>
                  <a:lnTo>
                    <a:pt x="138684" y="9144"/>
                  </a:lnTo>
                  <a:lnTo>
                    <a:pt x="176784" y="9144"/>
                  </a:lnTo>
                  <a:lnTo>
                    <a:pt x="176784" y="0"/>
                  </a:lnTo>
                  <a:close/>
                </a:path>
                <a:path w="3148329" h="433069">
                  <a:moveTo>
                    <a:pt x="214884" y="0"/>
                  </a:moveTo>
                  <a:lnTo>
                    <a:pt x="204216" y="0"/>
                  </a:lnTo>
                  <a:lnTo>
                    <a:pt x="204216" y="9144"/>
                  </a:lnTo>
                  <a:lnTo>
                    <a:pt x="214884" y="9144"/>
                  </a:lnTo>
                  <a:lnTo>
                    <a:pt x="214884" y="0"/>
                  </a:lnTo>
                  <a:close/>
                </a:path>
                <a:path w="3148329" h="433069">
                  <a:moveTo>
                    <a:pt x="280390" y="0"/>
                  </a:moveTo>
                  <a:lnTo>
                    <a:pt x="242290" y="0"/>
                  </a:lnTo>
                  <a:lnTo>
                    <a:pt x="242290" y="9144"/>
                  </a:lnTo>
                  <a:lnTo>
                    <a:pt x="280390" y="9144"/>
                  </a:lnTo>
                  <a:lnTo>
                    <a:pt x="280390" y="0"/>
                  </a:lnTo>
                  <a:close/>
                </a:path>
                <a:path w="3148329" h="433069">
                  <a:moveTo>
                    <a:pt x="318490" y="0"/>
                  </a:moveTo>
                  <a:lnTo>
                    <a:pt x="309346" y="0"/>
                  </a:lnTo>
                  <a:lnTo>
                    <a:pt x="309346" y="9144"/>
                  </a:lnTo>
                  <a:lnTo>
                    <a:pt x="318490" y="9144"/>
                  </a:lnTo>
                  <a:lnTo>
                    <a:pt x="318490" y="0"/>
                  </a:lnTo>
                  <a:close/>
                </a:path>
                <a:path w="3148329" h="433069">
                  <a:moveTo>
                    <a:pt x="385546" y="0"/>
                  </a:moveTo>
                  <a:lnTo>
                    <a:pt x="347446" y="0"/>
                  </a:lnTo>
                  <a:lnTo>
                    <a:pt x="347446" y="9144"/>
                  </a:lnTo>
                  <a:lnTo>
                    <a:pt x="385546" y="9144"/>
                  </a:lnTo>
                  <a:lnTo>
                    <a:pt x="385546" y="0"/>
                  </a:lnTo>
                  <a:close/>
                </a:path>
                <a:path w="3148329" h="433069">
                  <a:moveTo>
                    <a:pt x="423646" y="0"/>
                  </a:moveTo>
                  <a:lnTo>
                    <a:pt x="414502" y="0"/>
                  </a:lnTo>
                  <a:lnTo>
                    <a:pt x="414502" y="9144"/>
                  </a:lnTo>
                  <a:lnTo>
                    <a:pt x="423646" y="9144"/>
                  </a:lnTo>
                  <a:lnTo>
                    <a:pt x="423646" y="0"/>
                  </a:lnTo>
                  <a:close/>
                </a:path>
                <a:path w="3148329" h="433069">
                  <a:moveTo>
                    <a:pt x="490702" y="0"/>
                  </a:moveTo>
                  <a:lnTo>
                    <a:pt x="452602" y="0"/>
                  </a:lnTo>
                  <a:lnTo>
                    <a:pt x="452602" y="9144"/>
                  </a:lnTo>
                  <a:lnTo>
                    <a:pt x="490702" y="9144"/>
                  </a:lnTo>
                  <a:lnTo>
                    <a:pt x="490702" y="0"/>
                  </a:lnTo>
                  <a:close/>
                </a:path>
                <a:path w="3148329" h="433069">
                  <a:moveTo>
                    <a:pt x="528764" y="0"/>
                  </a:moveTo>
                  <a:lnTo>
                    <a:pt x="519620" y="0"/>
                  </a:lnTo>
                  <a:lnTo>
                    <a:pt x="519620" y="9144"/>
                  </a:lnTo>
                  <a:lnTo>
                    <a:pt x="528764" y="9144"/>
                  </a:lnTo>
                  <a:lnTo>
                    <a:pt x="528764" y="0"/>
                  </a:lnTo>
                  <a:close/>
                </a:path>
                <a:path w="3148329" h="433069">
                  <a:moveTo>
                    <a:pt x="595820" y="0"/>
                  </a:moveTo>
                  <a:lnTo>
                    <a:pt x="557720" y="0"/>
                  </a:lnTo>
                  <a:lnTo>
                    <a:pt x="557720" y="9144"/>
                  </a:lnTo>
                  <a:lnTo>
                    <a:pt x="595820" y="9144"/>
                  </a:lnTo>
                  <a:lnTo>
                    <a:pt x="595820" y="0"/>
                  </a:lnTo>
                  <a:close/>
                </a:path>
                <a:path w="3148329" h="433069">
                  <a:moveTo>
                    <a:pt x="633920" y="0"/>
                  </a:moveTo>
                  <a:lnTo>
                    <a:pt x="623252" y="0"/>
                  </a:lnTo>
                  <a:lnTo>
                    <a:pt x="623252" y="9144"/>
                  </a:lnTo>
                  <a:lnTo>
                    <a:pt x="633920" y="9144"/>
                  </a:lnTo>
                  <a:lnTo>
                    <a:pt x="633920" y="0"/>
                  </a:lnTo>
                  <a:close/>
                </a:path>
                <a:path w="3148329" h="433069">
                  <a:moveTo>
                    <a:pt x="699452" y="0"/>
                  </a:moveTo>
                  <a:lnTo>
                    <a:pt x="661352" y="0"/>
                  </a:lnTo>
                  <a:lnTo>
                    <a:pt x="661352" y="9144"/>
                  </a:lnTo>
                  <a:lnTo>
                    <a:pt x="699452" y="9144"/>
                  </a:lnTo>
                  <a:lnTo>
                    <a:pt x="699452" y="0"/>
                  </a:lnTo>
                  <a:close/>
                </a:path>
                <a:path w="3148329" h="433069">
                  <a:moveTo>
                    <a:pt x="737552" y="0"/>
                  </a:moveTo>
                  <a:lnTo>
                    <a:pt x="728408" y="0"/>
                  </a:lnTo>
                  <a:lnTo>
                    <a:pt x="728408" y="9144"/>
                  </a:lnTo>
                  <a:lnTo>
                    <a:pt x="737552" y="9144"/>
                  </a:lnTo>
                  <a:lnTo>
                    <a:pt x="737552" y="0"/>
                  </a:lnTo>
                  <a:close/>
                </a:path>
                <a:path w="3148329" h="433069">
                  <a:moveTo>
                    <a:pt x="804608" y="0"/>
                  </a:moveTo>
                  <a:lnTo>
                    <a:pt x="766508" y="0"/>
                  </a:lnTo>
                  <a:lnTo>
                    <a:pt x="766508" y="9144"/>
                  </a:lnTo>
                  <a:lnTo>
                    <a:pt x="804608" y="9144"/>
                  </a:lnTo>
                  <a:lnTo>
                    <a:pt x="804608" y="0"/>
                  </a:lnTo>
                  <a:close/>
                </a:path>
                <a:path w="3148329" h="433069">
                  <a:moveTo>
                    <a:pt x="842708" y="0"/>
                  </a:moveTo>
                  <a:lnTo>
                    <a:pt x="833564" y="0"/>
                  </a:lnTo>
                  <a:lnTo>
                    <a:pt x="833564" y="9144"/>
                  </a:lnTo>
                  <a:lnTo>
                    <a:pt x="842708" y="9144"/>
                  </a:lnTo>
                  <a:lnTo>
                    <a:pt x="842708" y="0"/>
                  </a:lnTo>
                  <a:close/>
                </a:path>
                <a:path w="3148329" h="433069">
                  <a:moveTo>
                    <a:pt x="909764" y="0"/>
                  </a:moveTo>
                  <a:lnTo>
                    <a:pt x="871664" y="0"/>
                  </a:lnTo>
                  <a:lnTo>
                    <a:pt x="871664" y="9144"/>
                  </a:lnTo>
                  <a:lnTo>
                    <a:pt x="909764" y="9144"/>
                  </a:lnTo>
                  <a:lnTo>
                    <a:pt x="909764" y="0"/>
                  </a:lnTo>
                  <a:close/>
                </a:path>
                <a:path w="3148329" h="433069">
                  <a:moveTo>
                    <a:pt x="947839" y="0"/>
                  </a:moveTo>
                  <a:lnTo>
                    <a:pt x="938720" y="0"/>
                  </a:lnTo>
                  <a:lnTo>
                    <a:pt x="938720" y="9144"/>
                  </a:lnTo>
                  <a:lnTo>
                    <a:pt x="947839" y="9144"/>
                  </a:lnTo>
                  <a:lnTo>
                    <a:pt x="947839" y="0"/>
                  </a:lnTo>
                  <a:close/>
                </a:path>
                <a:path w="3148329" h="433069">
                  <a:moveTo>
                    <a:pt x="1014895" y="0"/>
                  </a:moveTo>
                  <a:lnTo>
                    <a:pt x="976795" y="0"/>
                  </a:lnTo>
                  <a:lnTo>
                    <a:pt x="976795" y="9144"/>
                  </a:lnTo>
                  <a:lnTo>
                    <a:pt x="1014895" y="9144"/>
                  </a:lnTo>
                  <a:lnTo>
                    <a:pt x="1014895" y="0"/>
                  </a:lnTo>
                  <a:close/>
                </a:path>
                <a:path w="3148329" h="433069">
                  <a:moveTo>
                    <a:pt x="1052995" y="0"/>
                  </a:moveTo>
                  <a:lnTo>
                    <a:pt x="1042327" y="0"/>
                  </a:lnTo>
                  <a:lnTo>
                    <a:pt x="1042327" y="9144"/>
                  </a:lnTo>
                  <a:lnTo>
                    <a:pt x="1052995" y="9144"/>
                  </a:lnTo>
                  <a:lnTo>
                    <a:pt x="1052995" y="0"/>
                  </a:lnTo>
                  <a:close/>
                </a:path>
                <a:path w="3148329" h="433069">
                  <a:moveTo>
                    <a:pt x="1118527" y="0"/>
                  </a:moveTo>
                  <a:lnTo>
                    <a:pt x="1080427" y="0"/>
                  </a:lnTo>
                  <a:lnTo>
                    <a:pt x="1080427" y="9144"/>
                  </a:lnTo>
                  <a:lnTo>
                    <a:pt x="1118527" y="9144"/>
                  </a:lnTo>
                  <a:lnTo>
                    <a:pt x="1118527" y="0"/>
                  </a:lnTo>
                  <a:close/>
                </a:path>
                <a:path w="3148329" h="433069">
                  <a:moveTo>
                    <a:pt x="1156627" y="0"/>
                  </a:moveTo>
                  <a:lnTo>
                    <a:pt x="1147483" y="0"/>
                  </a:lnTo>
                  <a:lnTo>
                    <a:pt x="1147483" y="9144"/>
                  </a:lnTo>
                  <a:lnTo>
                    <a:pt x="1156627" y="9144"/>
                  </a:lnTo>
                  <a:lnTo>
                    <a:pt x="1156627" y="0"/>
                  </a:lnTo>
                  <a:close/>
                </a:path>
                <a:path w="3148329" h="433069">
                  <a:moveTo>
                    <a:pt x="1223683" y="0"/>
                  </a:moveTo>
                  <a:lnTo>
                    <a:pt x="1185583" y="0"/>
                  </a:lnTo>
                  <a:lnTo>
                    <a:pt x="1185583" y="9144"/>
                  </a:lnTo>
                  <a:lnTo>
                    <a:pt x="1223683" y="9144"/>
                  </a:lnTo>
                  <a:lnTo>
                    <a:pt x="1223683" y="0"/>
                  </a:lnTo>
                  <a:close/>
                </a:path>
                <a:path w="3148329" h="433069">
                  <a:moveTo>
                    <a:pt x="1261757" y="0"/>
                  </a:moveTo>
                  <a:lnTo>
                    <a:pt x="1252613" y="0"/>
                  </a:lnTo>
                  <a:lnTo>
                    <a:pt x="1252613" y="9144"/>
                  </a:lnTo>
                  <a:lnTo>
                    <a:pt x="1261757" y="9144"/>
                  </a:lnTo>
                  <a:lnTo>
                    <a:pt x="1261757" y="0"/>
                  </a:lnTo>
                  <a:close/>
                </a:path>
                <a:path w="3148329" h="433069">
                  <a:moveTo>
                    <a:pt x="1328813" y="0"/>
                  </a:moveTo>
                  <a:lnTo>
                    <a:pt x="1290713" y="0"/>
                  </a:lnTo>
                  <a:lnTo>
                    <a:pt x="1290713" y="9144"/>
                  </a:lnTo>
                  <a:lnTo>
                    <a:pt x="1328813" y="9144"/>
                  </a:lnTo>
                  <a:lnTo>
                    <a:pt x="1328813" y="0"/>
                  </a:lnTo>
                  <a:close/>
                </a:path>
                <a:path w="3148329" h="433069">
                  <a:moveTo>
                    <a:pt x="1366913" y="0"/>
                  </a:moveTo>
                  <a:lnTo>
                    <a:pt x="1357769" y="0"/>
                  </a:lnTo>
                  <a:lnTo>
                    <a:pt x="1357769" y="9144"/>
                  </a:lnTo>
                  <a:lnTo>
                    <a:pt x="1366913" y="9144"/>
                  </a:lnTo>
                  <a:lnTo>
                    <a:pt x="1366913" y="0"/>
                  </a:lnTo>
                  <a:close/>
                </a:path>
                <a:path w="3148329" h="433069">
                  <a:moveTo>
                    <a:pt x="1433969" y="0"/>
                  </a:moveTo>
                  <a:lnTo>
                    <a:pt x="1395869" y="0"/>
                  </a:lnTo>
                  <a:lnTo>
                    <a:pt x="1395869" y="9144"/>
                  </a:lnTo>
                  <a:lnTo>
                    <a:pt x="1433969" y="9144"/>
                  </a:lnTo>
                  <a:lnTo>
                    <a:pt x="1433969" y="0"/>
                  </a:lnTo>
                  <a:close/>
                </a:path>
                <a:path w="3148329" h="433069">
                  <a:moveTo>
                    <a:pt x="1472069" y="0"/>
                  </a:moveTo>
                  <a:lnTo>
                    <a:pt x="1461401" y="0"/>
                  </a:lnTo>
                  <a:lnTo>
                    <a:pt x="1461401" y="9144"/>
                  </a:lnTo>
                  <a:lnTo>
                    <a:pt x="1472069" y="9144"/>
                  </a:lnTo>
                  <a:lnTo>
                    <a:pt x="1472069" y="0"/>
                  </a:lnTo>
                  <a:close/>
                </a:path>
                <a:path w="3148329" h="433069">
                  <a:moveTo>
                    <a:pt x="1537601" y="0"/>
                  </a:moveTo>
                  <a:lnTo>
                    <a:pt x="1499501" y="0"/>
                  </a:lnTo>
                  <a:lnTo>
                    <a:pt x="1499501" y="9144"/>
                  </a:lnTo>
                  <a:lnTo>
                    <a:pt x="1537601" y="9144"/>
                  </a:lnTo>
                  <a:lnTo>
                    <a:pt x="1537601" y="0"/>
                  </a:lnTo>
                  <a:close/>
                </a:path>
                <a:path w="3148329" h="433069">
                  <a:moveTo>
                    <a:pt x="1575701" y="0"/>
                  </a:moveTo>
                  <a:lnTo>
                    <a:pt x="1566557" y="0"/>
                  </a:lnTo>
                  <a:lnTo>
                    <a:pt x="1566557" y="9144"/>
                  </a:lnTo>
                  <a:lnTo>
                    <a:pt x="1575701" y="9144"/>
                  </a:lnTo>
                  <a:lnTo>
                    <a:pt x="1575701" y="0"/>
                  </a:lnTo>
                  <a:close/>
                </a:path>
                <a:path w="3148329" h="433069">
                  <a:moveTo>
                    <a:pt x="1642757" y="0"/>
                  </a:moveTo>
                  <a:lnTo>
                    <a:pt x="1604657" y="0"/>
                  </a:lnTo>
                  <a:lnTo>
                    <a:pt x="1604657" y="9144"/>
                  </a:lnTo>
                  <a:lnTo>
                    <a:pt x="1642757" y="9144"/>
                  </a:lnTo>
                  <a:lnTo>
                    <a:pt x="1642757" y="0"/>
                  </a:lnTo>
                  <a:close/>
                </a:path>
                <a:path w="3148329" h="433069">
                  <a:moveTo>
                    <a:pt x="1680819" y="0"/>
                  </a:moveTo>
                  <a:lnTo>
                    <a:pt x="1671675" y="0"/>
                  </a:lnTo>
                  <a:lnTo>
                    <a:pt x="1671675" y="9144"/>
                  </a:lnTo>
                  <a:lnTo>
                    <a:pt x="1680819" y="9144"/>
                  </a:lnTo>
                  <a:lnTo>
                    <a:pt x="1680819" y="0"/>
                  </a:lnTo>
                  <a:close/>
                </a:path>
                <a:path w="3148329" h="433069">
                  <a:moveTo>
                    <a:pt x="1747875" y="0"/>
                  </a:moveTo>
                  <a:lnTo>
                    <a:pt x="1709775" y="0"/>
                  </a:lnTo>
                  <a:lnTo>
                    <a:pt x="1709775" y="9144"/>
                  </a:lnTo>
                  <a:lnTo>
                    <a:pt x="1747875" y="9144"/>
                  </a:lnTo>
                  <a:lnTo>
                    <a:pt x="1747875" y="0"/>
                  </a:lnTo>
                  <a:close/>
                </a:path>
                <a:path w="3148329" h="433069">
                  <a:moveTo>
                    <a:pt x="1785975" y="0"/>
                  </a:moveTo>
                  <a:lnTo>
                    <a:pt x="1776831" y="0"/>
                  </a:lnTo>
                  <a:lnTo>
                    <a:pt x="1776831" y="9144"/>
                  </a:lnTo>
                  <a:lnTo>
                    <a:pt x="1785975" y="9144"/>
                  </a:lnTo>
                  <a:lnTo>
                    <a:pt x="1785975" y="0"/>
                  </a:lnTo>
                  <a:close/>
                </a:path>
                <a:path w="3148329" h="433069">
                  <a:moveTo>
                    <a:pt x="1853031" y="0"/>
                  </a:moveTo>
                  <a:lnTo>
                    <a:pt x="1814931" y="0"/>
                  </a:lnTo>
                  <a:lnTo>
                    <a:pt x="1814931" y="9144"/>
                  </a:lnTo>
                  <a:lnTo>
                    <a:pt x="1853031" y="9144"/>
                  </a:lnTo>
                  <a:lnTo>
                    <a:pt x="1853031" y="0"/>
                  </a:lnTo>
                  <a:close/>
                </a:path>
                <a:path w="3148329" h="433069">
                  <a:moveTo>
                    <a:pt x="1891131" y="0"/>
                  </a:moveTo>
                  <a:lnTo>
                    <a:pt x="1880463" y="0"/>
                  </a:lnTo>
                  <a:lnTo>
                    <a:pt x="1880463" y="9144"/>
                  </a:lnTo>
                  <a:lnTo>
                    <a:pt x="1891131" y="9144"/>
                  </a:lnTo>
                  <a:lnTo>
                    <a:pt x="1891131" y="0"/>
                  </a:lnTo>
                  <a:close/>
                </a:path>
                <a:path w="3148329" h="433069">
                  <a:moveTo>
                    <a:pt x="1956638" y="0"/>
                  </a:moveTo>
                  <a:lnTo>
                    <a:pt x="1918563" y="0"/>
                  </a:lnTo>
                  <a:lnTo>
                    <a:pt x="1918563" y="9144"/>
                  </a:lnTo>
                  <a:lnTo>
                    <a:pt x="1956638" y="9144"/>
                  </a:lnTo>
                  <a:lnTo>
                    <a:pt x="1956638" y="0"/>
                  </a:lnTo>
                  <a:close/>
                </a:path>
                <a:path w="3148329" h="433069">
                  <a:moveTo>
                    <a:pt x="1994738" y="0"/>
                  </a:moveTo>
                  <a:lnTo>
                    <a:pt x="1985594" y="0"/>
                  </a:lnTo>
                  <a:lnTo>
                    <a:pt x="1985594" y="9144"/>
                  </a:lnTo>
                  <a:lnTo>
                    <a:pt x="1994738" y="9144"/>
                  </a:lnTo>
                  <a:lnTo>
                    <a:pt x="1994738" y="0"/>
                  </a:lnTo>
                  <a:close/>
                </a:path>
                <a:path w="3148329" h="433069">
                  <a:moveTo>
                    <a:pt x="2061794" y="0"/>
                  </a:moveTo>
                  <a:lnTo>
                    <a:pt x="2023694" y="0"/>
                  </a:lnTo>
                  <a:lnTo>
                    <a:pt x="2023694" y="9144"/>
                  </a:lnTo>
                  <a:lnTo>
                    <a:pt x="2061794" y="9144"/>
                  </a:lnTo>
                  <a:lnTo>
                    <a:pt x="2061794" y="0"/>
                  </a:lnTo>
                  <a:close/>
                </a:path>
                <a:path w="3148329" h="433069">
                  <a:moveTo>
                    <a:pt x="2099894" y="0"/>
                  </a:moveTo>
                  <a:lnTo>
                    <a:pt x="2090750" y="0"/>
                  </a:lnTo>
                  <a:lnTo>
                    <a:pt x="2090750" y="9144"/>
                  </a:lnTo>
                  <a:lnTo>
                    <a:pt x="2099894" y="9144"/>
                  </a:lnTo>
                  <a:lnTo>
                    <a:pt x="2099894" y="0"/>
                  </a:lnTo>
                  <a:close/>
                </a:path>
                <a:path w="3148329" h="433069">
                  <a:moveTo>
                    <a:pt x="2166950" y="0"/>
                  </a:moveTo>
                  <a:lnTo>
                    <a:pt x="2128850" y="0"/>
                  </a:lnTo>
                  <a:lnTo>
                    <a:pt x="2128850" y="9144"/>
                  </a:lnTo>
                  <a:lnTo>
                    <a:pt x="2166950" y="9144"/>
                  </a:lnTo>
                  <a:lnTo>
                    <a:pt x="2166950" y="0"/>
                  </a:lnTo>
                  <a:close/>
                </a:path>
                <a:path w="3148329" h="433069">
                  <a:moveTo>
                    <a:pt x="2205050" y="0"/>
                  </a:moveTo>
                  <a:lnTo>
                    <a:pt x="2195906" y="0"/>
                  </a:lnTo>
                  <a:lnTo>
                    <a:pt x="2195906" y="9144"/>
                  </a:lnTo>
                  <a:lnTo>
                    <a:pt x="2205050" y="9144"/>
                  </a:lnTo>
                  <a:lnTo>
                    <a:pt x="2205050" y="0"/>
                  </a:lnTo>
                  <a:close/>
                </a:path>
                <a:path w="3148329" h="433069">
                  <a:moveTo>
                    <a:pt x="2272106" y="0"/>
                  </a:moveTo>
                  <a:lnTo>
                    <a:pt x="2234006" y="0"/>
                  </a:lnTo>
                  <a:lnTo>
                    <a:pt x="2234006" y="9144"/>
                  </a:lnTo>
                  <a:lnTo>
                    <a:pt x="2272106" y="9144"/>
                  </a:lnTo>
                  <a:lnTo>
                    <a:pt x="2272106" y="0"/>
                  </a:lnTo>
                  <a:close/>
                </a:path>
                <a:path w="3148329" h="433069">
                  <a:moveTo>
                    <a:pt x="2310206" y="0"/>
                  </a:moveTo>
                  <a:lnTo>
                    <a:pt x="2299538" y="0"/>
                  </a:lnTo>
                  <a:lnTo>
                    <a:pt x="2299538" y="9144"/>
                  </a:lnTo>
                  <a:lnTo>
                    <a:pt x="2310206" y="9144"/>
                  </a:lnTo>
                  <a:lnTo>
                    <a:pt x="2310206" y="0"/>
                  </a:lnTo>
                  <a:close/>
                </a:path>
                <a:path w="3148329" h="433069">
                  <a:moveTo>
                    <a:pt x="2375700" y="0"/>
                  </a:moveTo>
                  <a:lnTo>
                    <a:pt x="2337638" y="0"/>
                  </a:lnTo>
                  <a:lnTo>
                    <a:pt x="2337638" y="9144"/>
                  </a:lnTo>
                  <a:lnTo>
                    <a:pt x="2375700" y="9144"/>
                  </a:lnTo>
                  <a:lnTo>
                    <a:pt x="2375700" y="0"/>
                  </a:lnTo>
                  <a:close/>
                </a:path>
                <a:path w="3148329" h="433069">
                  <a:moveTo>
                    <a:pt x="2413800" y="0"/>
                  </a:moveTo>
                  <a:lnTo>
                    <a:pt x="2404656" y="0"/>
                  </a:lnTo>
                  <a:lnTo>
                    <a:pt x="2404656" y="9144"/>
                  </a:lnTo>
                  <a:lnTo>
                    <a:pt x="2413800" y="9144"/>
                  </a:lnTo>
                  <a:lnTo>
                    <a:pt x="2413800" y="0"/>
                  </a:lnTo>
                  <a:close/>
                </a:path>
                <a:path w="3148329" h="433069">
                  <a:moveTo>
                    <a:pt x="2480856" y="0"/>
                  </a:moveTo>
                  <a:lnTo>
                    <a:pt x="2442756" y="0"/>
                  </a:lnTo>
                  <a:lnTo>
                    <a:pt x="2442756" y="9144"/>
                  </a:lnTo>
                  <a:lnTo>
                    <a:pt x="2480856" y="9144"/>
                  </a:lnTo>
                  <a:lnTo>
                    <a:pt x="2480856" y="0"/>
                  </a:lnTo>
                  <a:close/>
                </a:path>
                <a:path w="3148329" h="433069">
                  <a:moveTo>
                    <a:pt x="2518956" y="0"/>
                  </a:moveTo>
                  <a:lnTo>
                    <a:pt x="2509812" y="0"/>
                  </a:lnTo>
                  <a:lnTo>
                    <a:pt x="2509812" y="9144"/>
                  </a:lnTo>
                  <a:lnTo>
                    <a:pt x="2518956" y="9144"/>
                  </a:lnTo>
                  <a:lnTo>
                    <a:pt x="2518956" y="0"/>
                  </a:lnTo>
                  <a:close/>
                </a:path>
                <a:path w="3148329" h="433069">
                  <a:moveTo>
                    <a:pt x="2586012" y="0"/>
                  </a:moveTo>
                  <a:lnTo>
                    <a:pt x="2547912" y="0"/>
                  </a:lnTo>
                  <a:lnTo>
                    <a:pt x="2547912" y="9144"/>
                  </a:lnTo>
                  <a:lnTo>
                    <a:pt x="2586012" y="9144"/>
                  </a:lnTo>
                  <a:lnTo>
                    <a:pt x="2586012" y="0"/>
                  </a:lnTo>
                  <a:close/>
                </a:path>
                <a:path w="3148329" h="433069">
                  <a:moveTo>
                    <a:pt x="2624112" y="0"/>
                  </a:moveTo>
                  <a:lnTo>
                    <a:pt x="2614968" y="0"/>
                  </a:lnTo>
                  <a:lnTo>
                    <a:pt x="2614968" y="9144"/>
                  </a:lnTo>
                  <a:lnTo>
                    <a:pt x="2624112" y="9144"/>
                  </a:lnTo>
                  <a:lnTo>
                    <a:pt x="2624112" y="0"/>
                  </a:lnTo>
                  <a:close/>
                </a:path>
                <a:path w="3148329" h="433069">
                  <a:moveTo>
                    <a:pt x="2691142" y="0"/>
                  </a:moveTo>
                  <a:lnTo>
                    <a:pt x="2653068" y="0"/>
                  </a:lnTo>
                  <a:lnTo>
                    <a:pt x="2653068" y="9144"/>
                  </a:lnTo>
                  <a:lnTo>
                    <a:pt x="2691142" y="9144"/>
                  </a:lnTo>
                  <a:lnTo>
                    <a:pt x="2691142" y="0"/>
                  </a:lnTo>
                  <a:close/>
                </a:path>
                <a:path w="3148329" h="433069">
                  <a:moveTo>
                    <a:pt x="2729242" y="0"/>
                  </a:moveTo>
                  <a:lnTo>
                    <a:pt x="2718574" y="0"/>
                  </a:lnTo>
                  <a:lnTo>
                    <a:pt x="2718574" y="9144"/>
                  </a:lnTo>
                  <a:lnTo>
                    <a:pt x="2729242" y="9144"/>
                  </a:lnTo>
                  <a:lnTo>
                    <a:pt x="2729242" y="0"/>
                  </a:lnTo>
                  <a:close/>
                </a:path>
                <a:path w="3148329" h="433069">
                  <a:moveTo>
                    <a:pt x="2794774" y="0"/>
                  </a:moveTo>
                  <a:lnTo>
                    <a:pt x="2756674" y="0"/>
                  </a:lnTo>
                  <a:lnTo>
                    <a:pt x="2756674" y="9144"/>
                  </a:lnTo>
                  <a:lnTo>
                    <a:pt x="2794774" y="9144"/>
                  </a:lnTo>
                  <a:lnTo>
                    <a:pt x="2794774" y="0"/>
                  </a:lnTo>
                  <a:close/>
                </a:path>
                <a:path w="3148329" h="433069">
                  <a:moveTo>
                    <a:pt x="2832874" y="0"/>
                  </a:moveTo>
                  <a:lnTo>
                    <a:pt x="2823730" y="0"/>
                  </a:lnTo>
                  <a:lnTo>
                    <a:pt x="2823730" y="9144"/>
                  </a:lnTo>
                  <a:lnTo>
                    <a:pt x="2832874" y="9144"/>
                  </a:lnTo>
                  <a:lnTo>
                    <a:pt x="2832874" y="0"/>
                  </a:lnTo>
                  <a:close/>
                </a:path>
                <a:path w="3148329" h="433069">
                  <a:moveTo>
                    <a:pt x="2899930" y="0"/>
                  </a:moveTo>
                  <a:lnTo>
                    <a:pt x="2861830" y="0"/>
                  </a:lnTo>
                  <a:lnTo>
                    <a:pt x="2861830" y="9144"/>
                  </a:lnTo>
                  <a:lnTo>
                    <a:pt x="2899930" y="9144"/>
                  </a:lnTo>
                  <a:lnTo>
                    <a:pt x="2899930" y="0"/>
                  </a:lnTo>
                  <a:close/>
                </a:path>
                <a:path w="3148329" h="433069">
                  <a:moveTo>
                    <a:pt x="2938030" y="0"/>
                  </a:moveTo>
                  <a:lnTo>
                    <a:pt x="2928886" y="0"/>
                  </a:lnTo>
                  <a:lnTo>
                    <a:pt x="2928886" y="9144"/>
                  </a:lnTo>
                  <a:lnTo>
                    <a:pt x="2938030" y="9144"/>
                  </a:lnTo>
                  <a:lnTo>
                    <a:pt x="2938030" y="0"/>
                  </a:lnTo>
                  <a:close/>
                </a:path>
                <a:path w="3148329" h="433069">
                  <a:moveTo>
                    <a:pt x="3005086" y="0"/>
                  </a:moveTo>
                  <a:lnTo>
                    <a:pt x="2966986" y="0"/>
                  </a:lnTo>
                  <a:lnTo>
                    <a:pt x="2966986" y="9144"/>
                  </a:lnTo>
                  <a:lnTo>
                    <a:pt x="3005086" y="9144"/>
                  </a:lnTo>
                  <a:lnTo>
                    <a:pt x="3005086" y="0"/>
                  </a:lnTo>
                  <a:close/>
                </a:path>
                <a:path w="3148329" h="433069">
                  <a:moveTo>
                    <a:pt x="3043186" y="0"/>
                  </a:moveTo>
                  <a:lnTo>
                    <a:pt x="3034042" y="0"/>
                  </a:lnTo>
                  <a:lnTo>
                    <a:pt x="3034042" y="9144"/>
                  </a:lnTo>
                  <a:lnTo>
                    <a:pt x="3043186" y="9144"/>
                  </a:lnTo>
                  <a:lnTo>
                    <a:pt x="3043186" y="0"/>
                  </a:lnTo>
                  <a:close/>
                </a:path>
                <a:path w="3148329" h="433069">
                  <a:moveTo>
                    <a:pt x="3110217" y="0"/>
                  </a:moveTo>
                  <a:lnTo>
                    <a:pt x="3072142" y="0"/>
                  </a:lnTo>
                  <a:lnTo>
                    <a:pt x="3072142" y="9144"/>
                  </a:lnTo>
                  <a:lnTo>
                    <a:pt x="3110217" y="9144"/>
                  </a:lnTo>
                  <a:lnTo>
                    <a:pt x="3110217" y="0"/>
                  </a:lnTo>
                  <a:close/>
                </a:path>
                <a:path w="3148329" h="433069">
                  <a:moveTo>
                    <a:pt x="3148317" y="0"/>
                  </a:moveTo>
                  <a:lnTo>
                    <a:pt x="3137649" y="0"/>
                  </a:lnTo>
                  <a:lnTo>
                    <a:pt x="3137649" y="9144"/>
                  </a:lnTo>
                  <a:lnTo>
                    <a:pt x="3148317" y="9144"/>
                  </a:lnTo>
                  <a:lnTo>
                    <a:pt x="3148317" y="0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7892643" y="1626476"/>
              <a:ext cx="338455" cy="2261870"/>
            </a:xfrm>
            <a:custGeom>
              <a:avLst/>
              <a:gdLst/>
              <a:ahLst/>
              <a:cxnLst/>
              <a:rect l="l" t="t" r="r" b="b"/>
              <a:pathLst>
                <a:path w="338454" h="2261870">
                  <a:moveTo>
                    <a:pt x="10668" y="0"/>
                  </a:moveTo>
                  <a:lnTo>
                    <a:pt x="0" y="0"/>
                  </a:lnTo>
                  <a:lnTo>
                    <a:pt x="0" y="9144"/>
                  </a:lnTo>
                  <a:lnTo>
                    <a:pt x="10668" y="9144"/>
                  </a:lnTo>
                  <a:lnTo>
                    <a:pt x="10668" y="0"/>
                  </a:lnTo>
                  <a:close/>
                </a:path>
                <a:path w="338454" h="2261870">
                  <a:moveTo>
                    <a:pt x="76200" y="0"/>
                  </a:moveTo>
                  <a:lnTo>
                    <a:pt x="38100" y="0"/>
                  </a:lnTo>
                  <a:lnTo>
                    <a:pt x="38100" y="9144"/>
                  </a:lnTo>
                  <a:lnTo>
                    <a:pt x="76200" y="9144"/>
                  </a:lnTo>
                  <a:lnTo>
                    <a:pt x="76200" y="0"/>
                  </a:lnTo>
                  <a:close/>
                </a:path>
                <a:path w="338454" h="2261870">
                  <a:moveTo>
                    <a:pt x="114300" y="0"/>
                  </a:moveTo>
                  <a:lnTo>
                    <a:pt x="105156" y="0"/>
                  </a:lnTo>
                  <a:lnTo>
                    <a:pt x="105156" y="9144"/>
                  </a:lnTo>
                  <a:lnTo>
                    <a:pt x="114300" y="9144"/>
                  </a:lnTo>
                  <a:lnTo>
                    <a:pt x="114300" y="0"/>
                  </a:lnTo>
                  <a:close/>
                </a:path>
                <a:path w="338454" h="2261870">
                  <a:moveTo>
                    <a:pt x="181356" y="0"/>
                  </a:moveTo>
                  <a:lnTo>
                    <a:pt x="143256" y="0"/>
                  </a:lnTo>
                  <a:lnTo>
                    <a:pt x="143256" y="9144"/>
                  </a:lnTo>
                  <a:lnTo>
                    <a:pt x="181356" y="9144"/>
                  </a:lnTo>
                  <a:lnTo>
                    <a:pt x="181356" y="0"/>
                  </a:lnTo>
                  <a:close/>
                </a:path>
                <a:path w="338454" h="2261870">
                  <a:moveTo>
                    <a:pt x="219456" y="0"/>
                  </a:moveTo>
                  <a:lnTo>
                    <a:pt x="210312" y="0"/>
                  </a:lnTo>
                  <a:lnTo>
                    <a:pt x="210312" y="9144"/>
                  </a:lnTo>
                  <a:lnTo>
                    <a:pt x="219456" y="9144"/>
                  </a:lnTo>
                  <a:lnTo>
                    <a:pt x="219456" y="0"/>
                  </a:lnTo>
                  <a:close/>
                </a:path>
                <a:path w="338454" h="2261870">
                  <a:moveTo>
                    <a:pt x="286512" y="0"/>
                  </a:moveTo>
                  <a:lnTo>
                    <a:pt x="248412" y="0"/>
                  </a:lnTo>
                  <a:lnTo>
                    <a:pt x="248412" y="9144"/>
                  </a:lnTo>
                  <a:lnTo>
                    <a:pt x="286512" y="9144"/>
                  </a:lnTo>
                  <a:lnTo>
                    <a:pt x="286512" y="0"/>
                  </a:lnTo>
                  <a:close/>
                </a:path>
                <a:path w="338454" h="2261870">
                  <a:moveTo>
                    <a:pt x="324612" y="0"/>
                  </a:moveTo>
                  <a:lnTo>
                    <a:pt x="315468" y="0"/>
                  </a:lnTo>
                  <a:lnTo>
                    <a:pt x="315468" y="9144"/>
                  </a:lnTo>
                  <a:lnTo>
                    <a:pt x="324612" y="9144"/>
                  </a:lnTo>
                  <a:lnTo>
                    <a:pt x="324612" y="0"/>
                  </a:lnTo>
                  <a:close/>
                </a:path>
                <a:path w="338454" h="2261870">
                  <a:moveTo>
                    <a:pt x="338328" y="2223338"/>
                  </a:moveTo>
                  <a:lnTo>
                    <a:pt x="329184" y="2223338"/>
                  </a:lnTo>
                  <a:lnTo>
                    <a:pt x="329184" y="2261438"/>
                  </a:lnTo>
                  <a:lnTo>
                    <a:pt x="338328" y="2261438"/>
                  </a:lnTo>
                  <a:lnTo>
                    <a:pt x="338328" y="2223338"/>
                  </a:lnTo>
                  <a:close/>
                </a:path>
                <a:path w="338454" h="2261870">
                  <a:moveTo>
                    <a:pt x="338328" y="2185263"/>
                  </a:moveTo>
                  <a:lnTo>
                    <a:pt x="329184" y="2185263"/>
                  </a:lnTo>
                  <a:lnTo>
                    <a:pt x="329184" y="2195931"/>
                  </a:lnTo>
                  <a:lnTo>
                    <a:pt x="338328" y="2195931"/>
                  </a:lnTo>
                  <a:lnTo>
                    <a:pt x="338328" y="2185263"/>
                  </a:lnTo>
                  <a:close/>
                </a:path>
                <a:path w="338454" h="2261870">
                  <a:moveTo>
                    <a:pt x="338328" y="2119731"/>
                  </a:moveTo>
                  <a:lnTo>
                    <a:pt x="329184" y="2119731"/>
                  </a:lnTo>
                  <a:lnTo>
                    <a:pt x="329184" y="2157831"/>
                  </a:lnTo>
                  <a:lnTo>
                    <a:pt x="338328" y="2157831"/>
                  </a:lnTo>
                  <a:lnTo>
                    <a:pt x="338328" y="2119731"/>
                  </a:lnTo>
                  <a:close/>
                </a:path>
                <a:path w="338454" h="2261870">
                  <a:moveTo>
                    <a:pt x="338328" y="2081631"/>
                  </a:moveTo>
                  <a:lnTo>
                    <a:pt x="329184" y="2081631"/>
                  </a:lnTo>
                  <a:lnTo>
                    <a:pt x="329184" y="2090775"/>
                  </a:lnTo>
                  <a:lnTo>
                    <a:pt x="338328" y="2090775"/>
                  </a:lnTo>
                  <a:lnTo>
                    <a:pt x="338328" y="2081631"/>
                  </a:lnTo>
                  <a:close/>
                </a:path>
                <a:path w="338454" h="2261870">
                  <a:moveTo>
                    <a:pt x="338328" y="2014575"/>
                  </a:moveTo>
                  <a:lnTo>
                    <a:pt x="329184" y="2014575"/>
                  </a:lnTo>
                  <a:lnTo>
                    <a:pt x="329184" y="2052675"/>
                  </a:lnTo>
                  <a:lnTo>
                    <a:pt x="338328" y="2052675"/>
                  </a:lnTo>
                  <a:lnTo>
                    <a:pt x="338328" y="2014575"/>
                  </a:lnTo>
                  <a:close/>
                </a:path>
                <a:path w="338454" h="2261870">
                  <a:moveTo>
                    <a:pt x="338328" y="1976475"/>
                  </a:moveTo>
                  <a:lnTo>
                    <a:pt x="329184" y="1976475"/>
                  </a:lnTo>
                  <a:lnTo>
                    <a:pt x="329184" y="1985619"/>
                  </a:lnTo>
                  <a:lnTo>
                    <a:pt x="338328" y="1985619"/>
                  </a:lnTo>
                  <a:lnTo>
                    <a:pt x="338328" y="1976475"/>
                  </a:lnTo>
                  <a:close/>
                </a:path>
                <a:path w="338454" h="2261870">
                  <a:moveTo>
                    <a:pt x="338328" y="1909419"/>
                  </a:moveTo>
                  <a:lnTo>
                    <a:pt x="329184" y="1909419"/>
                  </a:lnTo>
                  <a:lnTo>
                    <a:pt x="329184" y="1947519"/>
                  </a:lnTo>
                  <a:lnTo>
                    <a:pt x="338328" y="1947519"/>
                  </a:lnTo>
                  <a:lnTo>
                    <a:pt x="338328" y="1909419"/>
                  </a:lnTo>
                  <a:close/>
                </a:path>
                <a:path w="338454" h="2261870">
                  <a:moveTo>
                    <a:pt x="338328" y="1871319"/>
                  </a:moveTo>
                  <a:lnTo>
                    <a:pt x="329184" y="1871319"/>
                  </a:lnTo>
                  <a:lnTo>
                    <a:pt x="329184" y="1880463"/>
                  </a:lnTo>
                  <a:lnTo>
                    <a:pt x="338328" y="1880463"/>
                  </a:lnTo>
                  <a:lnTo>
                    <a:pt x="338328" y="1871319"/>
                  </a:lnTo>
                  <a:close/>
                </a:path>
                <a:path w="338454" h="2261870">
                  <a:moveTo>
                    <a:pt x="338328" y="1804263"/>
                  </a:moveTo>
                  <a:lnTo>
                    <a:pt x="329184" y="1804263"/>
                  </a:lnTo>
                  <a:lnTo>
                    <a:pt x="329184" y="1842363"/>
                  </a:lnTo>
                  <a:lnTo>
                    <a:pt x="338328" y="1842363"/>
                  </a:lnTo>
                  <a:lnTo>
                    <a:pt x="338328" y="1804263"/>
                  </a:lnTo>
                  <a:close/>
                </a:path>
                <a:path w="338454" h="2261870">
                  <a:moveTo>
                    <a:pt x="338328" y="1766201"/>
                  </a:moveTo>
                  <a:lnTo>
                    <a:pt x="329184" y="1766201"/>
                  </a:lnTo>
                  <a:lnTo>
                    <a:pt x="329184" y="1776869"/>
                  </a:lnTo>
                  <a:lnTo>
                    <a:pt x="338328" y="1776869"/>
                  </a:lnTo>
                  <a:lnTo>
                    <a:pt x="338328" y="1766201"/>
                  </a:lnTo>
                  <a:close/>
                </a:path>
                <a:path w="338454" h="2261870">
                  <a:moveTo>
                    <a:pt x="338328" y="1700669"/>
                  </a:moveTo>
                  <a:lnTo>
                    <a:pt x="329184" y="1700669"/>
                  </a:lnTo>
                  <a:lnTo>
                    <a:pt x="329184" y="1738769"/>
                  </a:lnTo>
                  <a:lnTo>
                    <a:pt x="338328" y="1738769"/>
                  </a:lnTo>
                  <a:lnTo>
                    <a:pt x="338328" y="1700669"/>
                  </a:lnTo>
                  <a:close/>
                </a:path>
                <a:path w="338454" h="2261870">
                  <a:moveTo>
                    <a:pt x="338328" y="1662569"/>
                  </a:moveTo>
                  <a:lnTo>
                    <a:pt x="329184" y="1662569"/>
                  </a:lnTo>
                  <a:lnTo>
                    <a:pt x="329184" y="1671713"/>
                  </a:lnTo>
                  <a:lnTo>
                    <a:pt x="338328" y="1671713"/>
                  </a:lnTo>
                  <a:lnTo>
                    <a:pt x="338328" y="1662569"/>
                  </a:lnTo>
                  <a:close/>
                </a:path>
                <a:path w="338454" h="2261870">
                  <a:moveTo>
                    <a:pt x="338328" y="1595513"/>
                  </a:moveTo>
                  <a:lnTo>
                    <a:pt x="329184" y="1595513"/>
                  </a:lnTo>
                  <a:lnTo>
                    <a:pt x="329184" y="1633613"/>
                  </a:lnTo>
                  <a:lnTo>
                    <a:pt x="338328" y="1633613"/>
                  </a:lnTo>
                  <a:lnTo>
                    <a:pt x="338328" y="1595513"/>
                  </a:lnTo>
                  <a:close/>
                </a:path>
                <a:path w="338454" h="2261870">
                  <a:moveTo>
                    <a:pt x="338328" y="1557413"/>
                  </a:moveTo>
                  <a:lnTo>
                    <a:pt x="329184" y="1557413"/>
                  </a:lnTo>
                  <a:lnTo>
                    <a:pt x="329184" y="1566557"/>
                  </a:lnTo>
                  <a:lnTo>
                    <a:pt x="338328" y="1566557"/>
                  </a:lnTo>
                  <a:lnTo>
                    <a:pt x="338328" y="1557413"/>
                  </a:lnTo>
                  <a:close/>
                </a:path>
                <a:path w="338454" h="2261870">
                  <a:moveTo>
                    <a:pt x="338328" y="1490383"/>
                  </a:moveTo>
                  <a:lnTo>
                    <a:pt x="329184" y="1490383"/>
                  </a:lnTo>
                  <a:lnTo>
                    <a:pt x="329184" y="1528457"/>
                  </a:lnTo>
                  <a:lnTo>
                    <a:pt x="338328" y="1528457"/>
                  </a:lnTo>
                  <a:lnTo>
                    <a:pt x="338328" y="1490383"/>
                  </a:lnTo>
                  <a:close/>
                </a:path>
                <a:path w="338454" h="2261870">
                  <a:moveTo>
                    <a:pt x="338328" y="1452283"/>
                  </a:moveTo>
                  <a:lnTo>
                    <a:pt x="329184" y="1452283"/>
                  </a:lnTo>
                  <a:lnTo>
                    <a:pt x="329184" y="1461427"/>
                  </a:lnTo>
                  <a:lnTo>
                    <a:pt x="338328" y="1461427"/>
                  </a:lnTo>
                  <a:lnTo>
                    <a:pt x="338328" y="1452283"/>
                  </a:lnTo>
                  <a:close/>
                </a:path>
                <a:path w="338454" h="2261870">
                  <a:moveTo>
                    <a:pt x="338328" y="1385227"/>
                  </a:moveTo>
                  <a:lnTo>
                    <a:pt x="329184" y="1385227"/>
                  </a:lnTo>
                  <a:lnTo>
                    <a:pt x="329184" y="1423327"/>
                  </a:lnTo>
                  <a:lnTo>
                    <a:pt x="338328" y="1423327"/>
                  </a:lnTo>
                  <a:lnTo>
                    <a:pt x="338328" y="1385227"/>
                  </a:lnTo>
                  <a:close/>
                </a:path>
                <a:path w="338454" h="2261870">
                  <a:moveTo>
                    <a:pt x="338328" y="1347127"/>
                  </a:moveTo>
                  <a:lnTo>
                    <a:pt x="329184" y="1347127"/>
                  </a:lnTo>
                  <a:lnTo>
                    <a:pt x="329184" y="1357795"/>
                  </a:lnTo>
                  <a:lnTo>
                    <a:pt x="338328" y="1357795"/>
                  </a:lnTo>
                  <a:lnTo>
                    <a:pt x="338328" y="1347127"/>
                  </a:lnTo>
                  <a:close/>
                </a:path>
                <a:path w="338454" h="2261870">
                  <a:moveTo>
                    <a:pt x="338328" y="1281595"/>
                  </a:moveTo>
                  <a:lnTo>
                    <a:pt x="329184" y="1281595"/>
                  </a:lnTo>
                  <a:lnTo>
                    <a:pt x="329184" y="1319695"/>
                  </a:lnTo>
                  <a:lnTo>
                    <a:pt x="338328" y="1319695"/>
                  </a:lnTo>
                  <a:lnTo>
                    <a:pt x="338328" y="1281595"/>
                  </a:lnTo>
                  <a:close/>
                </a:path>
                <a:path w="338454" h="2261870">
                  <a:moveTo>
                    <a:pt x="338328" y="1243495"/>
                  </a:moveTo>
                  <a:lnTo>
                    <a:pt x="329184" y="1243495"/>
                  </a:lnTo>
                  <a:lnTo>
                    <a:pt x="329184" y="1252639"/>
                  </a:lnTo>
                  <a:lnTo>
                    <a:pt x="338328" y="1252639"/>
                  </a:lnTo>
                  <a:lnTo>
                    <a:pt x="338328" y="1243495"/>
                  </a:lnTo>
                  <a:close/>
                </a:path>
                <a:path w="338454" h="2261870">
                  <a:moveTo>
                    <a:pt x="338328" y="1176439"/>
                  </a:moveTo>
                  <a:lnTo>
                    <a:pt x="329184" y="1176439"/>
                  </a:lnTo>
                  <a:lnTo>
                    <a:pt x="329184" y="1214539"/>
                  </a:lnTo>
                  <a:lnTo>
                    <a:pt x="338328" y="1214539"/>
                  </a:lnTo>
                  <a:lnTo>
                    <a:pt x="338328" y="1176439"/>
                  </a:lnTo>
                  <a:close/>
                </a:path>
                <a:path w="338454" h="2261870">
                  <a:moveTo>
                    <a:pt x="338328" y="1138339"/>
                  </a:moveTo>
                  <a:lnTo>
                    <a:pt x="329184" y="1138339"/>
                  </a:lnTo>
                  <a:lnTo>
                    <a:pt x="329184" y="1147483"/>
                  </a:lnTo>
                  <a:lnTo>
                    <a:pt x="338328" y="1147483"/>
                  </a:lnTo>
                  <a:lnTo>
                    <a:pt x="338328" y="1138339"/>
                  </a:lnTo>
                  <a:close/>
                </a:path>
                <a:path w="338454" h="2261870">
                  <a:moveTo>
                    <a:pt x="338328" y="1071283"/>
                  </a:moveTo>
                  <a:lnTo>
                    <a:pt x="329184" y="1071283"/>
                  </a:lnTo>
                  <a:lnTo>
                    <a:pt x="329184" y="1109383"/>
                  </a:lnTo>
                  <a:lnTo>
                    <a:pt x="338328" y="1109383"/>
                  </a:lnTo>
                  <a:lnTo>
                    <a:pt x="338328" y="1071283"/>
                  </a:lnTo>
                  <a:close/>
                </a:path>
                <a:path w="338454" h="2261870">
                  <a:moveTo>
                    <a:pt x="338328" y="1033208"/>
                  </a:moveTo>
                  <a:lnTo>
                    <a:pt x="329184" y="1033208"/>
                  </a:lnTo>
                  <a:lnTo>
                    <a:pt x="329184" y="1042352"/>
                  </a:lnTo>
                  <a:lnTo>
                    <a:pt x="338328" y="1042352"/>
                  </a:lnTo>
                  <a:lnTo>
                    <a:pt x="338328" y="1033208"/>
                  </a:lnTo>
                  <a:close/>
                </a:path>
                <a:path w="338454" h="2261870">
                  <a:moveTo>
                    <a:pt x="338328" y="966152"/>
                  </a:moveTo>
                  <a:lnTo>
                    <a:pt x="329184" y="966152"/>
                  </a:lnTo>
                  <a:lnTo>
                    <a:pt x="329184" y="1004252"/>
                  </a:lnTo>
                  <a:lnTo>
                    <a:pt x="338328" y="1004252"/>
                  </a:lnTo>
                  <a:lnTo>
                    <a:pt x="338328" y="966152"/>
                  </a:lnTo>
                  <a:close/>
                </a:path>
                <a:path w="338454" h="2261870">
                  <a:moveTo>
                    <a:pt x="338328" y="928052"/>
                  </a:moveTo>
                  <a:lnTo>
                    <a:pt x="329184" y="928052"/>
                  </a:lnTo>
                  <a:lnTo>
                    <a:pt x="329184" y="938720"/>
                  </a:lnTo>
                  <a:lnTo>
                    <a:pt x="338328" y="938720"/>
                  </a:lnTo>
                  <a:lnTo>
                    <a:pt x="338328" y="928052"/>
                  </a:lnTo>
                  <a:close/>
                </a:path>
                <a:path w="338454" h="2261870">
                  <a:moveTo>
                    <a:pt x="338328" y="862520"/>
                  </a:moveTo>
                  <a:lnTo>
                    <a:pt x="329184" y="862520"/>
                  </a:lnTo>
                  <a:lnTo>
                    <a:pt x="329184" y="900620"/>
                  </a:lnTo>
                  <a:lnTo>
                    <a:pt x="338328" y="900620"/>
                  </a:lnTo>
                  <a:lnTo>
                    <a:pt x="338328" y="862520"/>
                  </a:lnTo>
                  <a:close/>
                </a:path>
                <a:path w="338454" h="2261870">
                  <a:moveTo>
                    <a:pt x="338328" y="824420"/>
                  </a:moveTo>
                  <a:lnTo>
                    <a:pt x="329184" y="824420"/>
                  </a:lnTo>
                  <a:lnTo>
                    <a:pt x="329184" y="833564"/>
                  </a:lnTo>
                  <a:lnTo>
                    <a:pt x="338328" y="833564"/>
                  </a:lnTo>
                  <a:lnTo>
                    <a:pt x="338328" y="824420"/>
                  </a:lnTo>
                  <a:close/>
                </a:path>
                <a:path w="338454" h="2261870">
                  <a:moveTo>
                    <a:pt x="338328" y="757402"/>
                  </a:moveTo>
                  <a:lnTo>
                    <a:pt x="329184" y="757402"/>
                  </a:lnTo>
                  <a:lnTo>
                    <a:pt x="329184" y="795464"/>
                  </a:lnTo>
                  <a:lnTo>
                    <a:pt x="338328" y="795464"/>
                  </a:lnTo>
                  <a:lnTo>
                    <a:pt x="338328" y="757402"/>
                  </a:lnTo>
                  <a:close/>
                </a:path>
                <a:path w="338454" h="2261870">
                  <a:moveTo>
                    <a:pt x="338328" y="719302"/>
                  </a:moveTo>
                  <a:lnTo>
                    <a:pt x="329184" y="719302"/>
                  </a:lnTo>
                  <a:lnTo>
                    <a:pt x="329184" y="728446"/>
                  </a:lnTo>
                  <a:lnTo>
                    <a:pt x="338328" y="728446"/>
                  </a:lnTo>
                  <a:lnTo>
                    <a:pt x="338328" y="719302"/>
                  </a:lnTo>
                  <a:close/>
                </a:path>
                <a:path w="338454" h="2261870">
                  <a:moveTo>
                    <a:pt x="338328" y="652246"/>
                  </a:moveTo>
                  <a:lnTo>
                    <a:pt x="329184" y="652246"/>
                  </a:lnTo>
                  <a:lnTo>
                    <a:pt x="329184" y="690346"/>
                  </a:lnTo>
                  <a:lnTo>
                    <a:pt x="338328" y="690346"/>
                  </a:lnTo>
                  <a:lnTo>
                    <a:pt x="338328" y="652246"/>
                  </a:lnTo>
                  <a:close/>
                </a:path>
                <a:path w="338454" h="2261870">
                  <a:moveTo>
                    <a:pt x="338328" y="614146"/>
                  </a:moveTo>
                  <a:lnTo>
                    <a:pt x="329184" y="614146"/>
                  </a:lnTo>
                  <a:lnTo>
                    <a:pt x="329184" y="623290"/>
                  </a:lnTo>
                  <a:lnTo>
                    <a:pt x="338328" y="623290"/>
                  </a:lnTo>
                  <a:lnTo>
                    <a:pt x="338328" y="614146"/>
                  </a:lnTo>
                  <a:close/>
                </a:path>
                <a:path w="338454" h="2261870">
                  <a:moveTo>
                    <a:pt x="338328" y="547090"/>
                  </a:moveTo>
                  <a:lnTo>
                    <a:pt x="329184" y="547090"/>
                  </a:lnTo>
                  <a:lnTo>
                    <a:pt x="329184" y="585190"/>
                  </a:lnTo>
                  <a:lnTo>
                    <a:pt x="338328" y="585190"/>
                  </a:lnTo>
                  <a:lnTo>
                    <a:pt x="338328" y="547090"/>
                  </a:lnTo>
                  <a:close/>
                </a:path>
                <a:path w="338454" h="2261870">
                  <a:moveTo>
                    <a:pt x="338328" y="508990"/>
                  </a:moveTo>
                  <a:lnTo>
                    <a:pt x="329184" y="508990"/>
                  </a:lnTo>
                  <a:lnTo>
                    <a:pt x="329184" y="519658"/>
                  </a:lnTo>
                  <a:lnTo>
                    <a:pt x="338328" y="519658"/>
                  </a:lnTo>
                  <a:lnTo>
                    <a:pt x="338328" y="508990"/>
                  </a:lnTo>
                  <a:close/>
                </a:path>
                <a:path w="338454" h="2261870">
                  <a:moveTo>
                    <a:pt x="338328" y="443458"/>
                  </a:moveTo>
                  <a:lnTo>
                    <a:pt x="329184" y="443458"/>
                  </a:lnTo>
                  <a:lnTo>
                    <a:pt x="329184" y="481558"/>
                  </a:lnTo>
                  <a:lnTo>
                    <a:pt x="338328" y="481558"/>
                  </a:lnTo>
                  <a:lnTo>
                    <a:pt x="338328" y="443458"/>
                  </a:lnTo>
                  <a:close/>
                </a:path>
                <a:path w="338454" h="2261870">
                  <a:moveTo>
                    <a:pt x="338328" y="405358"/>
                  </a:moveTo>
                  <a:lnTo>
                    <a:pt x="329184" y="405358"/>
                  </a:lnTo>
                  <a:lnTo>
                    <a:pt x="329184" y="414502"/>
                  </a:lnTo>
                  <a:lnTo>
                    <a:pt x="338328" y="414502"/>
                  </a:lnTo>
                  <a:lnTo>
                    <a:pt x="338328" y="405358"/>
                  </a:lnTo>
                  <a:close/>
                </a:path>
                <a:path w="338454" h="2261870">
                  <a:moveTo>
                    <a:pt x="338328" y="338328"/>
                  </a:moveTo>
                  <a:lnTo>
                    <a:pt x="329184" y="338328"/>
                  </a:lnTo>
                  <a:lnTo>
                    <a:pt x="329184" y="376402"/>
                  </a:lnTo>
                  <a:lnTo>
                    <a:pt x="338328" y="376402"/>
                  </a:lnTo>
                  <a:lnTo>
                    <a:pt x="338328" y="338328"/>
                  </a:lnTo>
                  <a:close/>
                </a:path>
                <a:path w="338454" h="2261870">
                  <a:moveTo>
                    <a:pt x="338328" y="300228"/>
                  </a:moveTo>
                  <a:lnTo>
                    <a:pt x="329184" y="300228"/>
                  </a:lnTo>
                  <a:lnTo>
                    <a:pt x="329184" y="309372"/>
                  </a:lnTo>
                  <a:lnTo>
                    <a:pt x="338328" y="309372"/>
                  </a:lnTo>
                  <a:lnTo>
                    <a:pt x="338328" y="300228"/>
                  </a:lnTo>
                  <a:close/>
                </a:path>
                <a:path w="338454" h="2261870">
                  <a:moveTo>
                    <a:pt x="338328" y="233172"/>
                  </a:moveTo>
                  <a:lnTo>
                    <a:pt x="329184" y="233172"/>
                  </a:lnTo>
                  <a:lnTo>
                    <a:pt x="329184" y="271272"/>
                  </a:lnTo>
                  <a:lnTo>
                    <a:pt x="338328" y="271272"/>
                  </a:lnTo>
                  <a:lnTo>
                    <a:pt x="338328" y="233172"/>
                  </a:lnTo>
                  <a:close/>
                </a:path>
                <a:path w="338454" h="2261870">
                  <a:moveTo>
                    <a:pt x="338328" y="195072"/>
                  </a:moveTo>
                  <a:lnTo>
                    <a:pt x="329184" y="195072"/>
                  </a:lnTo>
                  <a:lnTo>
                    <a:pt x="329184" y="204216"/>
                  </a:lnTo>
                  <a:lnTo>
                    <a:pt x="338328" y="204216"/>
                  </a:lnTo>
                  <a:lnTo>
                    <a:pt x="338328" y="195072"/>
                  </a:lnTo>
                  <a:close/>
                </a:path>
                <a:path w="338454" h="2261870">
                  <a:moveTo>
                    <a:pt x="338328" y="128016"/>
                  </a:moveTo>
                  <a:lnTo>
                    <a:pt x="329184" y="128016"/>
                  </a:lnTo>
                  <a:lnTo>
                    <a:pt x="329184" y="166116"/>
                  </a:lnTo>
                  <a:lnTo>
                    <a:pt x="338328" y="166116"/>
                  </a:lnTo>
                  <a:lnTo>
                    <a:pt x="338328" y="128016"/>
                  </a:lnTo>
                  <a:close/>
                </a:path>
                <a:path w="338454" h="2261870">
                  <a:moveTo>
                    <a:pt x="338328" y="89916"/>
                  </a:moveTo>
                  <a:lnTo>
                    <a:pt x="329184" y="89916"/>
                  </a:lnTo>
                  <a:lnTo>
                    <a:pt x="329184" y="100584"/>
                  </a:lnTo>
                  <a:lnTo>
                    <a:pt x="338328" y="100584"/>
                  </a:lnTo>
                  <a:lnTo>
                    <a:pt x="338328" y="89916"/>
                  </a:lnTo>
                  <a:close/>
                </a:path>
                <a:path w="338454" h="2261870">
                  <a:moveTo>
                    <a:pt x="338328" y="24384"/>
                  </a:moveTo>
                  <a:lnTo>
                    <a:pt x="329184" y="24384"/>
                  </a:lnTo>
                  <a:lnTo>
                    <a:pt x="329184" y="62484"/>
                  </a:lnTo>
                  <a:lnTo>
                    <a:pt x="338328" y="62484"/>
                  </a:lnTo>
                  <a:lnTo>
                    <a:pt x="338328" y="24384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6144768" y="3214359"/>
              <a:ext cx="1600200" cy="678180"/>
            </a:xfrm>
            <a:custGeom>
              <a:avLst/>
              <a:gdLst/>
              <a:ahLst/>
              <a:cxnLst/>
              <a:rect l="l" t="t" r="r" b="b"/>
              <a:pathLst>
                <a:path w="1600200" h="678179">
                  <a:moveTo>
                    <a:pt x="0" y="0"/>
                  </a:moveTo>
                  <a:lnTo>
                    <a:pt x="0" y="678119"/>
                  </a:lnTo>
                  <a:lnTo>
                    <a:pt x="1600078" y="678119"/>
                  </a:lnTo>
                  <a:lnTo>
                    <a:pt x="1600078" y="70104"/>
                  </a:lnTo>
                  <a:lnTo>
                    <a:pt x="800039" y="70104"/>
                  </a:lnTo>
                  <a:lnTo>
                    <a:pt x="647990" y="68873"/>
                  </a:lnTo>
                  <a:lnTo>
                    <a:pt x="505583" y="65319"/>
                  </a:lnTo>
                  <a:lnTo>
                    <a:pt x="438832" y="62736"/>
                  </a:lnTo>
                  <a:lnTo>
                    <a:pt x="375496" y="59651"/>
                  </a:lnTo>
                  <a:lnTo>
                    <a:pt x="315910" y="56089"/>
                  </a:lnTo>
                  <a:lnTo>
                    <a:pt x="260409" y="52077"/>
                  </a:lnTo>
                  <a:lnTo>
                    <a:pt x="209328" y="47641"/>
                  </a:lnTo>
                  <a:lnTo>
                    <a:pt x="163003" y="42806"/>
                  </a:lnTo>
                  <a:lnTo>
                    <a:pt x="121767" y="37599"/>
                  </a:lnTo>
                  <a:lnTo>
                    <a:pt x="55905" y="26173"/>
                  </a:lnTo>
                  <a:lnTo>
                    <a:pt x="14422" y="13570"/>
                  </a:lnTo>
                  <a:lnTo>
                    <a:pt x="3661" y="6893"/>
                  </a:lnTo>
                  <a:lnTo>
                    <a:pt x="0" y="0"/>
                  </a:lnTo>
                  <a:close/>
                </a:path>
                <a:path w="1600200" h="678179">
                  <a:moveTo>
                    <a:pt x="1600078" y="0"/>
                  </a:moveTo>
                  <a:lnTo>
                    <a:pt x="1543979" y="26173"/>
                  </a:lnTo>
                  <a:lnTo>
                    <a:pt x="1477942" y="37599"/>
                  </a:lnTo>
                  <a:lnTo>
                    <a:pt x="1436619" y="42806"/>
                  </a:lnTo>
                  <a:lnTo>
                    <a:pt x="1390213" y="47641"/>
                  </a:lnTo>
                  <a:lnTo>
                    <a:pt x="1339065" y="52077"/>
                  </a:lnTo>
                  <a:lnTo>
                    <a:pt x="1283516" y="56089"/>
                  </a:lnTo>
                  <a:lnTo>
                    <a:pt x="1223905" y="59651"/>
                  </a:lnTo>
                  <a:lnTo>
                    <a:pt x="1160575" y="62736"/>
                  </a:lnTo>
                  <a:lnTo>
                    <a:pt x="1093865" y="65319"/>
                  </a:lnTo>
                  <a:lnTo>
                    <a:pt x="951668" y="68873"/>
                  </a:lnTo>
                  <a:lnTo>
                    <a:pt x="876862" y="69791"/>
                  </a:lnTo>
                  <a:lnTo>
                    <a:pt x="800039" y="70104"/>
                  </a:lnTo>
                  <a:lnTo>
                    <a:pt x="1600078" y="70104"/>
                  </a:lnTo>
                  <a:lnTo>
                    <a:pt x="1600078" y="0"/>
                  </a:lnTo>
                  <a:close/>
                </a:path>
              </a:pathLst>
            </a:custGeom>
            <a:solidFill>
              <a:srgbClr val="BFBFB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6144768" y="3142731"/>
              <a:ext cx="1600200" cy="142240"/>
            </a:xfrm>
            <a:custGeom>
              <a:avLst/>
              <a:gdLst/>
              <a:ahLst/>
              <a:cxnLst/>
              <a:rect l="l" t="t" r="r" b="b"/>
              <a:pathLst>
                <a:path w="1600200" h="142239">
                  <a:moveTo>
                    <a:pt x="800039" y="0"/>
                  </a:moveTo>
                  <a:lnTo>
                    <a:pt x="722977" y="327"/>
                  </a:lnTo>
                  <a:lnTo>
                    <a:pt x="575414" y="2855"/>
                  </a:lnTo>
                  <a:lnTo>
                    <a:pt x="438832" y="7685"/>
                  </a:lnTo>
                  <a:lnTo>
                    <a:pt x="375496" y="10887"/>
                  </a:lnTo>
                  <a:lnTo>
                    <a:pt x="315910" y="14576"/>
                  </a:lnTo>
                  <a:lnTo>
                    <a:pt x="260409" y="18721"/>
                  </a:lnTo>
                  <a:lnTo>
                    <a:pt x="209328" y="23291"/>
                  </a:lnTo>
                  <a:lnTo>
                    <a:pt x="163003" y="28258"/>
                  </a:lnTo>
                  <a:lnTo>
                    <a:pt x="121767" y="33592"/>
                  </a:lnTo>
                  <a:lnTo>
                    <a:pt x="55905" y="45241"/>
                  </a:lnTo>
                  <a:lnTo>
                    <a:pt x="14422" y="57999"/>
                  </a:lnTo>
                  <a:lnTo>
                    <a:pt x="0" y="71628"/>
                  </a:lnTo>
                  <a:lnTo>
                    <a:pt x="3661" y="78521"/>
                  </a:lnTo>
                  <a:lnTo>
                    <a:pt x="55905" y="97801"/>
                  </a:lnTo>
                  <a:lnTo>
                    <a:pt x="121767" y="109227"/>
                  </a:lnTo>
                  <a:lnTo>
                    <a:pt x="163003" y="114434"/>
                  </a:lnTo>
                  <a:lnTo>
                    <a:pt x="209328" y="119269"/>
                  </a:lnTo>
                  <a:lnTo>
                    <a:pt x="260409" y="123705"/>
                  </a:lnTo>
                  <a:lnTo>
                    <a:pt x="315910" y="127717"/>
                  </a:lnTo>
                  <a:lnTo>
                    <a:pt x="375496" y="131279"/>
                  </a:lnTo>
                  <a:lnTo>
                    <a:pt x="438832" y="134364"/>
                  </a:lnTo>
                  <a:lnTo>
                    <a:pt x="505583" y="136947"/>
                  </a:lnTo>
                  <a:lnTo>
                    <a:pt x="647990" y="140501"/>
                  </a:lnTo>
                  <a:lnTo>
                    <a:pt x="722977" y="141419"/>
                  </a:lnTo>
                  <a:lnTo>
                    <a:pt x="800039" y="141732"/>
                  </a:lnTo>
                  <a:lnTo>
                    <a:pt x="952087" y="140501"/>
                  </a:lnTo>
                  <a:lnTo>
                    <a:pt x="1094494" y="136947"/>
                  </a:lnTo>
                  <a:lnTo>
                    <a:pt x="1161245" y="134364"/>
                  </a:lnTo>
                  <a:lnTo>
                    <a:pt x="1224581" y="131279"/>
                  </a:lnTo>
                  <a:lnTo>
                    <a:pt x="1284167" y="127717"/>
                  </a:lnTo>
                  <a:lnTo>
                    <a:pt x="1339668" y="123705"/>
                  </a:lnTo>
                  <a:lnTo>
                    <a:pt x="1390749" y="119269"/>
                  </a:lnTo>
                  <a:lnTo>
                    <a:pt x="1437074" y="114434"/>
                  </a:lnTo>
                  <a:lnTo>
                    <a:pt x="1478310" y="109227"/>
                  </a:lnTo>
                  <a:lnTo>
                    <a:pt x="1544172" y="97801"/>
                  </a:lnTo>
                  <a:lnTo>
                    <a:pt x="1585655" y="85198"/>
                  </a:lnTo>
                  <a:lnTo>
                    <a:pt x="1600078" y="71628"/>
                  </a:lnTo>
                  <a:lnTo>
                    <a:pt x="1596416" y="64719"/>
                  </a:lnTo>
                  <a:lnTo>
                    <a:pt x="1544172" y="45241"/>
                  </a:lnTo>
                  <a:lnTo>
                    <a:pt x="1478310" y="33592"/>
                  </a:lnTo>
                  <a:lnTo>
                    <a:pt x="1437074" y="28258"/>
                  </a:lnTo>
                  <a:lnTo>
                    <a:pt x="1390749" y="23291"/>
                  </a:lnTo>
                  <a:lnTo>
                    <a:pt x="1339668" y="18721"/>
                  </a:lnTo>
                  <a:lnTo>
                    <a:pt x="1284167" y="14576"/>
                  </a:lnTo>
                  <a:lnTo>
                    <a:pt x="1224581" y="10887"/>
                  </a:lnTo>
                  <a:lnTo>
                    <a:pt x="1161245" y="7685"/>
                  </a:lnTo>
                  <a:lnTo>
                    <a:pt x="1024663" y="2855"/>
                  </a:lnTo>
                  <a:lnTo>
                    <a:pt x="952087" y="1289"/>
                  </a:lnTo>
                  <a:lnTo>
                    <a:pt x="877100" y="327"/>
                  </a:lnTo>
                  <a:lnTo>
                    <a:pt x="800039" y="0"/>
                  </a:lnTo>
                  <a:close/>
                </a:path>
              </a:pathLst>
            </a:custGeom>
            <a:solidFill>
              <a:srgbClr val="D9D9D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6138672" y="3138159"/>
              <a:ext cx="1610995" cy="754380"/>
            </a:xfrm>
            <a:custGeom>
              <a:avLst/>
              <a:gdLst/>
              <a:ahLst/>
              <a:cxnLst/>
              <a:rect l="l" t="t" r="r" b="b"/>
              <a:pathLst>
                <a:path w="1610995" h="754379">
                  <a:moveTo>
                    <a:pt x="1524" y="76200"/>
                  </a:moveTo>
                  <a:lnTo>
                    <a:pt x="0" y="76200"/>
                  </a:lnTo>
                  <a:lnTo>
                    <a:pt x="0" y="754319"/>
                  </a:lnTo>
                  <a:lnTo>
                    <a:pt x="10668" y="754319"/>
                  </a:lnTo>
                  <a:lnTo>
                    <a:pt x="10668" y="89916"/>
                  </a:lnTo>
                  <a:lnTo>
                    <a:pt x="7620" y="86868"/>
                  </a:lnTo>
                  <a:lnTo>
                    <a:pt x="6096" y="86868"/>
                  </a:lnTo>
                  <a:lnTo>
                    <a:pt x="3048" y="82296"/>
                  </a:lnTo>
                  <a:lnTo>
                    <a:pt x="1524" y="80772"/>
                  </a:lnTo>
                  <a:lnTo>
                    <a:pt x="1524" y="76200"/>
                  </a:lnTo>
                  <a:close/>
                </a:path>
                <a:path w="1610995" h="754379">
                  <a:moveTo>
                    <a:pt x="1610746" y="77724"/>
                  </a:moveTo>
                  <a:lnTo>
                    <a:pt x="1609222" y="80772"/>
                  </a:lnTo>
                  <a:lnTo>
                    <a:pt x="1607698" y="82296"/>
                  </a:lnTo>
                  <a:lnTo>
                    <a:pt x="1604650" y="86868"/>
                  </a:lnTo>
                  <a:lnTo>
                    <a:pt x="1600078" y="89154"/>
                  </a:lnTo>
                  <a:lnTo>
                    <a:pt x="1600078" y="754319"/>
                  </a:lnTo>
                  <a:lnTo>
                    <a:pt x="1610746" y="754319"/>
                  </a:lnTo>
                  <a:lnTo>
                    <a:pt x="1610746" y="77724"/>
                  </a:lnTo>
                  <a:close/>
                </a:path>
                <a:path w="1610995" h="754379">
                  <a:moveTo>
                    <a:pt x="886907" y="150876"/>
                  </a:moveTo>
                  <a:lnTo>
                    <a:pt x="723839" y="150876"/>
                  </a:lnTo>
                  <a:lnTo>
                    <a:pt x="764987" y="152400"/>
                  </a:lnTo>
                  <a:lnTo>
                    <a:pt x="847283" y="152400"/>
                  </a:lnTo>
                  <a:lnTo>
                    <a:pt x="886907" y="150876"/>
                  </a:lnTo>
                  <a:close/>
                </a:path>
                <a:path w="1610995" h="754379">
                  <a:moveTo>
                    <a:pt x="1005748" y="149352"/>
                  </a:moveTo>
                  <a:lnTo>
                    <a:pt x="604967" y="149352"/>
                  </a:lnTo>
                  <a:lnTo>
                    <a:pt x="644591" y="150876"/>
                  </a:lnTo>
                  <a:lnTo>
                    <a:pt x="966155" y="150876"/>
                  </a:lnTo>
                  <a:lnTo>
                    <a:pt x="1005748" y="149352"/>
                  </a:lnTo>
                  <a:close/>
                </a:path>
                <a:path w="1610995" h="754379">
                  <a:moveTo>
                    <a:pt x="10668" y="76200"/>
                  </a:moveTo>
                  <a:lnTo>
                    <a:pt x="10668" y="89916"/>
                  </a:lnTo>
                  <a:lnTo>
                    <a:pt x="12192" y="91440"/>
                  </a:lnTo>
                  <a:lnTo>
                    <a:pt x="19812" y="94488"/>
                  </a:lnTo>
                  <a:lnTo>
                    <a:pt x="28956" y="97536"/>
                  </a:lnTo>
                  <a:lnTo>
                    <a:pt x="39624" y="102108"/>
                  </a:lnTo>
                  <a:lnTo>
                    <a:pt x="83820" y="111252"/>
                  </a:lnTo>
                  <a:lnTo>
                    <a:pt x="187452" y="126492"/>
                  </a:lnTo>
                  <a:lnTo>
                    <a:pt x="213360" y="128016"/>
                  </a:lnTo>
                  <a:lnTo>
                    <a:pt x="239268" y="131064"/>
                  </a:lnTo>
                  <a:lnTo>
                    <a:pt x="266700" y="132588"/>
                  </a:lnTo>
                  <a:lnTo>
                    <a:pt x="295625" y="135636"/>
                  </a:lnTo>
                  <a:lnTo>
                    <a:pt x="326105" y="137160"/>
                  </a:lnTo>
                  <a:lnTo>
                    <a:pt x="358109" y="140208"/>
                  </a:lnTo>
                  <a:lnTo>
                    <a:pt x="566867" y="149352"/>
                  </a:lnTo>
                  <a:lnTo>
                    <a:pt x="1043848" y="149352"/>
                  </a:lnTo>
                  <a:lnTo>
                    <a:pt x="1220632" y="141732"/>
                  </a:lnTo>
                  <a:lnTo>
                    <a:pt x="684215" y="141732"/>
                  </a:lnTo>
                  <a:lnTo>
                    <a:pt x="644591" y="140208"/>
                  </a:lnTo>
                  <a:lnTo>
                    <a:pt x="604967" y="140208"/>
                  </a:lnTo>
                  <a:lnTo>
                    <a:pt x="568391" y="138684"/>
                  </a:lnTo>
                  <a:lnTo>
                    <a:pt x="530321" y="138684"/>
                  </a:lnTo>
                  <a:lnTo>
                    <a:pt x="391637" y="132588"/>
                  </a:lnTo>
                  <a:lnTo>
                    <a:pt x="358109" y="129540"/>
                  </a:lnTo>
                  <a:lnTo>
                    <a:pt x="297149" y="126492"/>
                  </a:lnTo>
                  <a:lnTo>
                    <a:pt x="268224" y="123444"/>
                  </a:lnTo>
                  <a:lnTo>
                    <a:pt x="240792" y="121920"/>
                  </a:lnTo>
                  <a:lnTo>
                    <a:pt x="213360" y="118872"/>
                  </a:lnTo>
                  <a:lnTo>
                    <a:pt x="188976" y="115824"/>
                  </a:lnTo>
                  <a:lnTo>
                    <a:pt x="164592" y="114300"/>
                  </a:lnTo>
                  <a:lnTo>
                    <a:pt x="121920" y="108204"/>
                  </a:lnTo>
                  <a:lnTo>
                    <a:pt x="68580" y="99060"/>
                  </a:lnTo>
                  <a:lnTo>
                    <a:pt x="32004" y="88392"/>
                  </a:lnTo>
                  <a:lnTo>
                    <a:pt x="22860" y="85344"/>
                  </a:lnTo>
                  <a:lnTo>
                    <a:pt x="16764" y="82296"/>
                  </a:lnTo>
                  <a:lnTo>
                    <a:pt x="12192" y="79248"/>
                  </a:lnTo>
                  <a:lnTo>
                    <a:pt x="13716" y="79248"/>
                  </a:lnTo>
                  <a:lnTo>
                    <a:pt x="10668" y="76200"/>
                  </a:lnTo>
                  <a:close/>
                </a:path>
                <a:path w="1610995" h="754379">
                  <a:moveTo>
                    <a:pt x="1600078" y="77724"/>
                  </a:moveTo>
                  <a:lnTo>
                    <a:pt x="1598554" y="79248"/>
                  </a:lnTo>
                  <a:lnTo>
                    <a:pt x="1593982" y="82296"/>
                  </a:lnTo>
                  <a:lnTo>
                    <a:pt x="1587886" y="85344"/>
                  </a:lnTo>
                  <a:lnTo>
                    <a:pt x="1578742" y="88392"/>
                  </a:lnTo>
                  <a:lnTo>
                    <a:pt x="1568074" y="92964"/>
                  </a:lnTo>
                  <a:lnTo>
                    <a:pt x="1508638" y="105156"/>
                  </a:lnTo>
                  <a:lnTo>
                    <a:pt x="1469014" y="111252"/>
                  </a:lnTo>
                  <a:lnTo>
                    <a:pt x="1421770" y="115824"/>
                  </a:lnTo>
                  <a:lnTo>
                    <a:pt x="1371478" y="121920"/>
                  </a:lnTo>
                  <a:lnTo>
                    <a:pt x="1342522" y="123444"/>
                  </a:lnTo>
                  <a:lnTo>
                    <a:pt x="1313566" y="126492"/>
                  </a:lnTo>
                  <a:lnTo>
                    <a:pt x="1252636" y="129540"/>
                  </a:lnTo>
                  <a:lnTo>
                    <a:pt x="1220632" y="132588"/>
                  </a:lnTo>
                  <a:lnTo>
                    <a:pt x="1080424" y="138684"/>
                  </a:lnTo>
                  <a:lnTo>
                    <a:pt x="1043848" y="138684"/>
                  </a:lnTo>
                  <a:lnTo>
                    <a:pt x="1005748" y="140208"/>
                  </a:lnTo>
                  <a:lnTo>
                    <a:pt x="966155" y="140208"/>
                  </a:lnTo>
                  <a:lnTo>
                    <a:pt x="928055" y="141732"/>
                  </a:lnTo>
                  <a:lnTo>
                    <a:pt x="1220632" y="141732"/>
                  </a:lnTo>
                  <a:lnTo>
                    <a:pt x="1252636" y="140208"/>
                  </a:lnTo>
                  <a:lnTo>
                    <a:pt x="1284610" y="137160"/>
                  </a:lnTo>
                  <a:lnTo>
                    <a:pt x="1315090" y="135636"/>
                  </a:lnTo>
                  <a:lnTo>
                    <a:pt x="1344046" y="132588"/>
                  </a:lnTo>
                  <a:lnTo>
                    <a:pt x="1371478" y="131064"/>
                  </a:lnTo>
                  <a:lnTo>
                    <a:pt x="1398910" y="128016"/>
                  </a:lnTo>
                  <a:lnTo>
                    <a:pt x="1447678" y="123444"/>
                  </a:lnTo>
                  <a:lnTo>
                    <a:pt x="1490350" y="117348"/>
                  </a:lnTo>
                  <a:lnTo>
                    <a:pt x="1543690" y="108204"/>
                  </a:lnTo>
                  <a:lnTo>
                    <a:pt x="1581790" y="97536"/>
                  </a:lnTo>
                  <a:lnTo>
                    <a:pt x="1590934" y="94488"/>
                  </a:lnTo>
                  <a:lnTo>
                    <a:pt x="1598554" y="89916"/>
                  </a:lnTo>
                  <a:lnTo>
                    <a:pt x="1600078" y="89154"/>
                  </a:lnTo>
                  <a:lnTo>
                    <a:pt x="1600078" y="77724"/>
                  </a:lnTo>
                  <a:close/>
                </a:path>
                <a:path w="1610995" h="754379">
                  <a:moveTo>
                    <a:pt x="1117000" y="4572"/>
                  </a:moveTo>
                  <a:lnTo>
                    <a:pt x="493745" y="4572"/>
                  </a:lnTo>
                  <a:lnTo>
                    <a:pt x="390113" y="9144"/>
                  </a:lnTo>
                  <a:lnTo>
                    <a:pt x="358109" y="12192"/>
                  </a:lnTo>
                  <a:lnTo>
                    <a:pt x="295625" y="15240"/>
                  </a:lnTo>
                  <a:lnTo>
                    <a:pt x="266700" y="18288"/>
                  </a:lnTo>
                  <a:lnTo>
                    <a:pt x="239268" y="19812"/>
                  </a:lnTo>
                  <a:lnTo>
                    <a:pt x="187452" y="25908"/>
                  </a:lnTo>
                  <a:lnTo>
                    <a:pt x="164592" y="28956"/>
                  </a:lnTo>
                  <a:lnTo>
                    <a:pt x="141732" y="30480"/>
                  </a:lnTo>
                  <a:lnTo>
                    <a:pt x="120396" y="33528"/>
                  </a:lnTo>
                  <a:lnTo>
                    <a:pt x="100584" y="36576"/>
                  </a:lnTo>
                  <a:lnTo>
                    <a:pt x="67056" y="42672"/>
                  </a:lnTo>
                  <a:lnTo>
                    <a:pt x="53340" y="47244"/>
                  </a:lnTo>
                  <a:lnTo>
                    <a:pt x="39624" y="50292"/>
                  </a:lnTo>
                  <a:lnTo>
                    <a:pt x="1524" y="70104"/>
                  </a:lnTo>
                  <a:lnTo>
                    <a:pt x="1524" y="80772"/>
                  </a:lnTo>
                  <a:lnTo>
                    <a:pt x="3048" y="82296"/>
                  </a:lnTo>
                  <a:lnTo>
                    <a:pt x="6096" y="86868"/>
                  </a:lnTo>
                  <a:lnTo>
                    <a:pt x="7620" y="86868"/>
                  </a:lnTo>
                  <a:lnTo>
                    <a:pt x="10668" y="89916"/>
                  </a:lnTo>
                  <a:lnTo>
                    <a:pt x="10668" y="73152"/>
                  </a:lnTo>
                  <a:lnTo>
                    <a:pt x="12192" y="73152"/>
                  </a:lnTo>
                  <a:lnTo>
                    <a:pt x="13716" y="71628"/>
                  </a:lnTo>
                  <a:lnTo>
                    <a:pt x="12192" y="71628"/>
                  </a:lnTo>
                  <a:lnTo>
                    <a:pt x="16764" y="68580"/>
                  </a:lnTo>
                  <a:lnTo>
                    <a:pt x="32004" y="62484"/>
                  </a:lnTo>
                  <a:lnTo>
                    <a:pt x="42672" y="59436"/>
                  </a:lnTo>
                  <a:lnTo>
                    <a:pt x="54864" y="56388"/>
                  </a:lnTo>
                  <a:lnTo>
                    <a:pt x="70104" y="51816"/>
                  </a:lnTo>
                  <a:lnTo>
                    <a:pt x="85344" y="48768"/>
                  </a:lnTo>
                  <a:lnTo>
                    <a:pt x="121920" y="42672"/>
                  </a:lnTo>
                  <a:lnTo>
                    <a:pt x="143256" y="41148"/>
                  </a:lnTo>
                  <a:lnTo>
                    <a:pt x="164592" y="38100"/>
                  </a:lnTo>
                  <a:lnTo>
                    <a:pt x="213360" y="32004"/>
                  </a:lnTo>
                  <a:lnTo>
                    <a:pt x="240792" y="30480"/>
                  </a:lnTo>
                  <a:lnTo>
                    <a:pt x="268224" y="27432"/>
                  </a:lnTo>
                  <a:lnTo>
                    <a:pt x="297149" y="25908"/>
                  </a:lnTo>
                  <a:lnTo>
                    <a:pt x="327629" y="22860"/>
                  </a:lnTo>
                  <a:lnTo>
                    <a:pt x="606491" y="10668"/>
                  </a:lnTo>
                  <a:lnTo>
                    <a:pt x="644591" y="10668"/>
                  </a:lnTo>
                  <a:lnTo>
                    <a:pt x="684215" y="9144"/>
                  </a:lnTo>
                  <a:lnTo>
                    <a:pt x="1220632" y="9144"/>
                  </a:lnTo>
                  <a:lnTo>
                    <a:pt x="1117000" y="4572"/>
                  </a:lnTo>
                  <a:close/>
                </a:path>
                <a:path w="1610995" h="754379">
                  <a:moveTo>
                    <a:pt x="1606174" y="76200"/>
                  </a:moveTo>
                  <a:lnTo>
                    <a:pt x="1601602" y="76200"/>
                  </a:lnTo>
                  <a:lnTo>
                    <a:pt x="1601221" y="76581"/>
                  </a:lnTo>
                  <a:lnTo>
                    <a:pt x="1601602" y="77724"/>
                  </a:lnTo>
                  <a:lnTo>
                    <a:pt x="1600078" y="77724"/>
                  </a:lnTo>
                  <a:lnTo>
                    <a:pt x="1600078" y="89154"/>
                  </a:lnTo>
                  <a:lnTo>
                    <a:pt x="1604650" y="86868"/>
                  </a:lnTo>
                  <a:lnTo>
                    <a:pt x="1607698" y="82296"/>
                  </a:lnTo>
                  <a:lnTo>
                    <a:pt x="1609222" y="80772"/>
                  </a:lnTo>
                  <a:lnTo>
                    <a:pt x="1610746" y="77724"/>
                  </a:lnTo>
                  <a:lnTo>
                    <a:pt x="1601602" y="77724"/>
                  </a:lnTo>
                  <a:lnTo>
                    <a:pt x="1600840" y="76962"/>
                  </a:lnTo>
                  <a:lnTo>
                    <a:pt x="1608460" y="76962"/>
                  </a:lnTo>
                  <a:lnTo>
                    <a:pt x="1606174" y="76200"/>
                  </a:lnTo>
                  <a:close/>
                </a:path>
                <a:path w="1610995" h="754379">
                  <a:moveTo>
                    <a:pt x="1600078" y="76200"/>
                  </a:moveTo>
                  <a:lnTo>
                    <a:pt x="1600078" y="77724"/>
                  </a:lnTo>
                  <a:lnTo>
                    <a:pt x="1600459" y="76962"/>
                  </a:lnTo>
                  <a:lnTo>
                    <a:pt x="1600459" y="76581"/>
                  </a:lnTo>
                  <a:lnTo>
                    <a:pt x="1600078" y="76200"/>
                  </a:lnTo>
                  <a:close/>
                </a:path>
                <a:path w="1610995" h="754379">
                  <a:moveTo>
                    <a:pt x="1600586" y="76708"/>
                  </a:moveTo>
                  <a:lnTo>
                    <a:pt x="1600078" y="77724"/>
                  </a:lnTo>
                  <a:lnTo>
                    <a:pt x="1600840" y="76962"/>
                  </a:lnTo>
                  <a:lnTo>
                    <a:pt x="1600586" y="76708"/>
                  </a:lnTo>
                  <a:close/>
                </a:path>
                <a:path w="1610995" h="754379">
                  <a:moveTo>
                    <a:pt x="1601221" y="76581"/>
                  </a:moveTo>
                  <a:lnTo>
                    <a:pt x="1600840" y="76962"/>
                  </a:lnTo>
                  <a:lnTo>
                    <a:pt x="1601602" y="77724"/>
                  </a:lnTo>
                  <a:lnTo>
                    <a:pt x="1601221" y="76581"/>
                  </a:lnTo>
                  <a:close/>
                </a:path>
                <a:path w="1610995" h="754379">
                  <a:moveTo>
                    <a:pt x="1220632" y="9144"/>
                  </a:moveTo>
                  <a:lnTo>
                    <a:pt x="928055" y="9144"/>
                  </a:lnTo>
                  <a:lnTo>
                    <a:pt x="966155" y="10668"/>
                  </a:lnTo>
                  <a:lnTo>
                    <a:pt x="1005748" y="10668"/>
                  </a:lnTo>
                  <a:lnTo>
                    <a:pt x="1284610" y="22860"/>
                  </a:lnTo>
                  <a:lnTo>
                    <a:pt x="1313566" y="25908"/>
                  </a:lnTo>
                  <a:lnTo>
                    <a:pt x="1342522" y="27432"/>
                  </a:lnTo>
                  <a:lnTo>
                    <a:pt x="1371478" y="30480"/>
                  </a:lnTo>
                  <a:lnTo>
                    <a:pt x="1397386" y="32004"/>
                  </a:lnTo>
                  <a:lnTo>
                    <a:pt x="1469014" y="41148"/>
                  </a:lnTo>
                  <a:lnTo>
                    <a:pt x="1488826" y="42672"/>
                  </a:lnTo>
                  <a:lnTo>
                    <a:pt x="1508638" y="45720"/>
                  </a:lnTo>
                  <a:lnTo>
                    <a:pt x="1542166" y="51816"/>
                  </a:lnTo>
                  <a:lnTo>
                    <a:pt x="1555882" y="56388"/>
                  </a:lnTo>
                  <a:lnTo>
                    <a:pt x="1568074" y="59436"/>
                  </a:lnTo>
                  <a:lnTo>
                    <a:pt x="1601602" y="74676"/>
                  </a:lnTo>
                  <a:lnTo>
                    <a:pt x="1610746" y="77724"/>
                  </a:lnTo>
                  <a:lnTo>
                    <a:pt x="1610746" y="74676"/>
                  </a:lnTo>
                  <a:lnTo>
                    <a:pt x="1609222" y="70104"/>
                  </a:lnTo>
                  <a:lnTo>
                    <a:pt x="1604650" y="65532"/>
                  </a:lnTo>
                  <a:lnTo>
                    <a:pt x="1604650" y="64008"/>
                  </a:lnTo>
                  <a:lnTo>
                    <a:pt x="1598554" y="60960"/>
                  </a:lnTo>
                  <a:lnTo>
                    <a:pt x="1590934" y="56388"/>
                  </a:lnTo>
                  <a:lnTo>
                    <a:pt x="1581790" y="53340"/>
                  </a:lnTo>
                  <a:lnTo>
                    <a:pt x="1571122" y="50292"/>
                  </a:lnTo>
                  <a:lnTo>
                    <a:pt x="1557406" y="47244"/>
                  </a:lnTo>
                  <a:lnTo>
                    <a:pt x="1543690" y="42672"/>
                  </a:lnTo>
                  <a:lnTo>
                    <a:pt x="1510162" y="36576"/>
                  </a:lnTo>
                  <a:lnTo>
                    <a:pt x="1490350" y="33528"/>
                  </a:lnTo>
                  <a:lnTo>
                    <a:pt x="1469014" y="30480"/>
                  </a:lnTo>
                  <a:lnTo>
                    <a:pt x="1447678" y="28956"/>
                  </a:lnTo>
                  <a:lnTo>
                    <a:pt x="1398910" y="22860"/>
                  </a:lnTo>
                  <a:lnTo>
                    <a:pt x="1371478" y="19812"/>
                  </a:lnTo>
                  <a:lnTo>
                    <a:pt x="1344046" y="18288"/>
                  </a:lnTo>
                  <a:lnTo>
                    <a:pt x="1315090" y="15240"/>
                  </a:lnTo>
                  <a:lnTo>
                    <a:pt x="1252636" y="12192"/>
                  </a:lnTo>
                  <a:lnTo>
                    <a:pt x="1220632" y="9144"/>
                  </a:lnTo>
                  <a:close/>
                </a:path>
                <a:path w="1610995" h="754379">
                  <a:moveTo>
                    <a:pt x="1600992" y="75895"/>
                  </a:moveTo>
                  <a:lnTo>
                    <a:pt x="1600586" y="76708"/>
                  </a:lnTo>
                  <a:lnTo>
                    <a:pt x="1600840" y="76962"/>
                  </a:lnTo>
                  <a:lnTo>
                    <a:pt x="1601094" y="76708"/>
                  </a:lnTo>
                  <a:lnTo>
                    <a:pt x="1600992" y="75895"/>
                  </a:lnTo>
                  <a:close/>
                </a:path>
                <a:path w="1610995" h="754379">
                  <a:moveTo>
                    <a:pt x="1601602" y="74676"/>
                  </a:moveTo>
                  <a:lnTo>
                    <a:pt x="1600992" y="75895"/>
                  </a:lnTo>
                  <a:lnTo>
                    <a:pt x="1601221" y="76581"/>
                  </a:lnTo>
                  <a:lnTo>
                    <a:pt x="1601602" y="76200"/>
                  </a:lnTo>
                  <a:lnTo>
                    <a:pt x="1606174" y="76200"/>
                  </a:lnTo>
                  <a:lnTo>
                    <a:pt x="1601602" y="74676"/>
                  </a:lnTo>
                  <a:close/>
                </a:path>
                <a:path w="1610995" h="754379">
                  <a:moveTo>
                    <a:pt x="1600078" y="73152"/>
                  </a:moveTo>
                  <a:lnTo>
                    <a:pt x="1600992" y="75895"/>
                  </a:lnTo>
                  <a:lnTo>
                    <a:pt x="1601602" y="74676"/>
                  </a:lnTo>
                  <a:lnTo>
                    <a:pt x="1600078" y="73152"/>
                  </a:lnTo>
                  <a:close/>
                </a:path>
                <a:path w="1610995" h="754379">
                  <a:moveTo>
                    <a:pt x="12192" y="73152"/>
                  </a:moveTo>
                  <a:lnTo>
                    <a:pt x="10668" y="73152"/>
                  </a:lnTo>
                  <a:lnTo>
                    <a:pt x="10668" y="74676"/>
                  </a:lnTo>
                  <a:lnTo>
                    <a:pt x="12192" y="73152"/>
                  </a:lnTo>
                  <a:close/>
                </a:path>
                <a:path w="1610995" h="754379">
                  <a:moveTo>
                    <a:pt x="1005748" y="1524"/>
                  </a:moveTo>
                  <a:lnTo>
                    <a:pt x="604967" y="1524"/>
                  </a:lnTo>
                  <a:lnTo>
                    <a:pt x="530321" y="4572"/>
                  </a:lnTo>
                  <a:lnTo>
                    <a:pt x="1080424" y="4572"/>
                  </a:lnTo>
                  <a:lnTo>
                    <a:pt x="1005748" y="1524"/>
                  </a:lnTo>
                  <a:close/>
                </a:path>
                <a:path w="1610995" h="754379">
                  <a:moveTo>
                    <a:pt x="928055" y="0"/>
                  </a:moveTo>
                  <a:lnTo>
                    <a:pt x="684215" y="0"/>
                  </a:lnTo>
                  <a:lnTo>
                    <a:pt x="644591" y="1524"/>
                  </a:lnTo>
                  <a:lnTo>
                    <a:pt x="966155" y="1524"/>
                  </a:lnTo>
                  <a:lnTo>
                    <a:pt x="928055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6673565" y="3183874"/>
              <a:ext cx="801556" cy="298679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7059104" y="3170173"/>
              <a:ext cx="516890" cy="337185"/>
            </a:xfrm>
            <a:custGeom>
              <a:avLst/>
              <a:gdLst/>
              <a:ahLst/>
              <a:cxnLst/>
              <a:rect l="l" t="t" r="r" b="b"/>
              <a:pathLst>
                <a:path w="516890" h="337185">
                  <a:moveTo>
                    <a:pt x="516585" y="280377"/>
                  </a:moveTo>
                  <a:lnTo>
                    <a:pt x="449516" y="280377"/>
                  </a:lnTo>
                  <a:lnTo>
                    <a:pt x="419036" y="0"/>
                  </a:lnTo>
                  <a:lnTo>
                    <a:pt x="0" y="327621"/>
                  </a:lnTo>
                  <a:lnTo>
                    <a:pt x="65532" y="320738"/>
                  </a:lnTo>
                  <a:lnTo>
                    <a:pt x="65532" y="336765"/>
                  </a:lnTo>
                  <a:lnTo>
                    <a:pt x="516585" y="336765"/>
                  </a:lnTo>
                  <a:lnTo>
                    <a:pt x="516585" y="280377"/>
                  </a:lnTo>
                  <a:close/>
                </a:path>
              </a:pathLst>
            </a:custGeom>
            <a:solidFill>
              <a:srgbClr val="BFBFB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4340507" y="2900977"/>
            <a:ext cx="530225" cy="2978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1120">
              <a:lnSpc>
                <a:spcPts val="1130"/>
              </a:lnSpc>
            </a:pPr>
            <a:r>
              <a:rPr sz="1000" spc="-5" dirty="0">
                <a:latin typeface="Liberation Sans Narrow"/>
                <a:cs typeface="Liberation Sans Narrow"/>
              </a:rPr>
              <a:t>Secured</a:t>
            </a:r>
            <a:endParaRPr sz="1000">
              <a:latin typeface="Liberation Sans Narrow"/>
              <a:cs typeface="Liberation Sans Narrow"/>
            </a:endParaRPr>
          </a:p>
          <a:p>
            <a:pPr>
              <a:lnSpc>
                <a:spcPct val="100000"/>
              </a:lnSpc>
            </a:pPr>
            <a:r>
              <a:rPr sz="1000" dirty="0">
                <a:latin typeface="Liberation Sans Narrow"/>
                <a:cs typeface="Liberation Sans Narrow"/>
              </a:rPr>
              <a:t>FTP</a:t>
            </a:r>
            <a:r>
              <a:rPr sz="1000" spc="-100" dirty="0">
                <a:latin typeface="Liberation Sans Narrow"/>
                <a:cs typeface="Liberation Sans Narrow"/>
              </a:rPr>
              <a:t> </a:t>
            </a:r>
            <a:r>
              <a:rPr sz="1000" spc="-5" dirty="0">
                <a:latin typeface="Liberation Sans Narrow"/>
                <a:cs typeface="Liberation Sans Narrow"/>
              </a:rPr>
              <a:t>Server</a:t>
            </a:r>
            <a:endParaRPr sz="1000">
              <a:latin typeface="Liberation Sans Narrow"/>
              <a:cs typeface="Liberation Sans Narrow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4226204" y="2088218"/>
            <a:ext cx="762000" cy="1804670"/>
          </a:xfrm>
          <a:custGeom>
            <a:avLst/>
            <a:gdLst/>
            <a:ahLst/>
            <a:cxnLst/>
            <a:rect l="l" t="t" r="r" b="b"/>
            <a:pathLst>
              <a:path w="762000" h="1804670">
                <a:moveTo>
                  <a:pt x="0" y="1804260"/>
                </a:moveTo>
                <a:lnTo>
                  <a:pt x="761929" y="1804260"/>
                </a:lnTo>
                <a:lnTo>
                  <a:pt x="761929" y="0"/>
                </a:lnTo>
                <a:lnTo>
                  <a:pt x="0" y="0"/>
                </a:lnTo>
                <a:lnTo>
                  <a:pt x="0" y="1804260"/>
                </a:lnTo>
                <a:close/>
              </a:path>
            </a:pathLst>
          </a:custGeom>
          <a:solidFill>
            <a:srgbClr val="FFCC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4327807" y="2880125"/>
            <a:ext cx="555625" cy="32956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indent="71120">
              <a:lnSpc>
                <a:spcPct val="100000"/>
              </a:lnSpc>
              <a:spcBef>
                <a:spcPts val="95"/>
              </a:spcBef>
            </a:pPr>
            <a:r>
              <a:rPr sz="1000" spc="-5" dirty="0">
                <a:latin typeface="Liberation Sans Narrow"/>
                <a:cs typeface="Liberation Sans Narrow"/>
              </a:rPr>
              <a:t>Secured  </a:t>
            </a:r>
            <a:r>
              <a:rPr sz="1000" dirty="0">
                <a:latin typeface="Liberation Sans Narrow"/>
                <a:cs typeface="Liberation Sans Narrow"/>
              </a:rPr>
              <a:t>FTP</a:t>
            </a:r>
            <a:r>
              <a:rPr sz="1000" spc="-100" dirty="0">
                <a:latin typeface="Liberation Sans Narrow"/>
                <a:cs typeface="Liberation Sans Narrow"/>
              </a:rPr>
              <a:t> </a:t>
            </a:r>
            <a:r>
              <a:rPr sz="1000" spc="-5" dirty="0">
                <a:latin typeface="Liberation Sans Narrow"/>
                <a:cs typeface="Liberation Sans Narrow"/>
              </a:rPr>
              <a:t>Server</a:t>
            </a:r>
            <a:endParaRPr sz="1000">
              <a:latin typeface="Liberation Sans Narrow"/>
              <a:cs typeface="Liberation Sans Narrow"/>
            </a:endParaRPr>
          </a:p>
        </p:txBody>
      </p:sp>
      <p:grpSp>
        <p:nvGrpSpPr>
          <p:cNvPr id="16" name="object 16"/>
          <p:cNvGrpSpPr/>
          <p:nvPr/>
        </p:nvGrpSpPr>
        <p:grpSpPr>
          <a:xfrm>
            <a:off x="3167115" y="3302751"/>
            <a:ext cx="772795" cy="589915"/>
            <a:chOff x="3167115" y="3302751"/>
            <a:chExt cx="772795" cy="589915"/>
          </a:xfrm>
        </p:grpSpPr>
        <p:sp>
          <p:nvSpPr>
            <p:cNvPr id="17" name="object 17"/>
            <p:cNvSpPr/>
            <p:nvPr/>
          </p:nvSpPr>
          <p:spPr>
            <a:xfrm>
              <a:off x="3173211" y="3307323"/>
              <a:ext cx="762000" cy="584200"/>
            </a:xfrm>
            <a:custGeom>
              <a:avLst/>
              <a:gdLst/>
              <a:ahLst/>
              <a:cxnLst/>
              <a:rect l="l" t="t" r="r" b="b"/>
              <a:pathLst>
                <a:path w="762000" h="584200">
                  <a:moveTo>
                    <a:pt x="53339" y="103601"/>
                  </a:moveTo>
                  <a:lnTo>
                    <a:pt x="0" y="103601"/>
                  </a:lnTo>
                  <a:lnTo>
                    <a:pt x="53339" y="103601"/>
                  </a:lnTo>
                  <a:close/>
                </a:path>
                <a:path w="762000" h="584200">
                  <a:moveTo>
                    <a:pt x="103631" y="51816"/>
                  </a:moveTo>
                  <a:lnTo>
                    <a:pt x="53340" y="51816"/>
                  </a:lnTo>
                  <a:lnTo>
                    <a:pt x="103631" y="51816"/>
                  </a:lnTo>
                  <a:close/>
                </a:path>
                <a:path w="762000" h="584200">
                  <a:moveTo>
                    <a:pt x="761939" y="0"/>
                  </a:moveTo>
                  <a:lnTo>
                    <a:pt x="103632" y="0"/>
                  </a:lnTo>
                  <a:lnTo>
                    <a:pt x="761939" y="0"/>
                  </a:lnTo>
                  <a:close/>
                </a:path>
                <a:path w="762000" h="584200">
                  <a:moveTo>
                    <a:pt x="655281" y="508985"/>
                  </a:moveTo>
                  <a:lnTo>
                    <a:pt x="614141" y="508985"/>
                  </a:lnTo>
                  <a:lnTo>
                    <a:pt x="588233" y="510509"/>
                  </a:lnTo>
                  <a:lnTo>
                    <a:pt x="542513" y="515081"/>
                  </a:lnTo>
                  <a:lnTo>
                    <a:pt x="483077" y="525749"/>
                  </a:lnTo>
                  <a:lnTo>
                    <a:pt x="441929" y="536387"/>
                  </a:lnTo>
                  <a:lnTo>
                    <a:pt x="435833" y="537911"/>
                  </a:lnTo>
                  <a:lnTo>
                    <a:pt x="385541" y="554675"/>
                  </a:lnTo>
                  <a:lnTo>
                    <a:pt x="382493" y="556199"/>
                  </a:lnTo>
                  <a:lnTo>
                    <a:pt x="373349" y="559247"/>
                  </a:lnTo>
                  <a:lnTo>
                    <a:pt x="370301" y="560771"/>
                  </a:lnTo>
                  <a:lnTo>
                    <a:pt x="356585" y="565343"/>
                  </a:lnTo>
                  <a:lnTo>
                    <a:pt x="353537" y="566867"/>
                  </a:lnTo>
                  <a:lnTo>
                    <a:pt x="339821" y="571439"/>
                  </a:lnTo>
                  <a:lnTo>
                    <a:pt x="336773" y="572963"/>
                  </a:lnTo>
                  <a:lnTo>
                    <a:pt x="304769" y="583631"/>
                  </a:lnTo>
                  <a:lnTo>
                    <a:pt x="307838" y="583631"/>
                  </a:lnTo>
                  <a:lnTo>
                    <a:pt x="327633" y="576978"/>
                  </a:lnTo>
                  <a:lnTo>
                    <a:pt x="390347" y="554061"/>
                  </a:lnTo>
                  <a:lnTo>
                    <a:pt x="424104" y="542660"/>
                  </a:lnTo>
                  <a:lnTo>
                    <a:pt x="460741" y="532055"/>
                  </a:lnTo>
                  <a:lnTo>
                    <a:pt x="501219" y="522815"/>
                  </a:lnTo>
                  <a:lnTo>
                    <a:pt x="546496" y="515511"/>
                  </a:lnTo>
                  <a:lnTo>
                    <a:pt x="597533" y="510711"/>
                  </a:lnTo>
                  <a:lnTo>
                    <a:pt x="655281" y="508985"/>
                  </a:lnTo>
                  <a:close/>
                </a:path>
                <a:path w="762000" h="584200">
                  <a:moveTo>
                    <a:pt x="705541" y="458693"/>
                  </a:moveTo>
                  <a:lnTo>
                    <a:pt x="684214" y="458693"/>
                  </a:lnTo>
                  <a:lnTo>
                    <a:pt x="662909" y="460217"/>
                  </a:lnTo>
                  <a:lnTo>
                    <a:pt x="655291" y="461741"/>
                  </a:lnTo>
                  <a:lnTo>
                    <a:pt x="659499" y="461265"/>
                  </a:lnTo>
                  <a:lnTo>
                    <a:pt x="670704" y="460217"/>
                  </a:lnTo>
                  <a:lnTo>
                    <a:pt x="686767" y="459169"/>
                  </a:lnTo>
                  <a:lnTo>
                    <a:pt x="705541" y="458693"/>
                  </a:lnTo>
                  <a:close/>
                </a:path>
                <a:path w="762000" h="584200">
                  <a:moveTo>
                    <a:pt x="761917" y="406877"/>
                  </a:moveTo>
                  <a:lnTo>
                    <a:pt x="719266" y="406877"/>
                  </a:lnTo>
                  <a:lnTo>
                    <a:pt x="705554" y="408401"/>
                  </a:lnTo>
                  <a:lnTo>
                    <a:pt x="722886" y="407639"/>
                  </a:lnTo>
                  <a:lnTo>
                    <a:pt x="740912" y="407115"/>
                  </a:lnTo>
                  <a:lnTo>
                    <a:pt x="761917" y="406877"/>
                  </a:lnTo>
                  <a:close/>
                </a:path>
              </a:pathLst>
            </a:custGeom>
            <a:solidFill>
              <a:srgbClr val="FFFF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3167115" y="3302751"/>
              <a:ext cx="772795" cy="589915"/>
            </a:xfrm>
            <a:custGeom>
              <a:avLst/>
              <a:gdLst/>
              <a:ahLst/>
              <a:cxnLst/>
              <a:rect l="l" t="t" r="r" b="b"/>
              <a:pathLst>
                <a:path w="772795" h="589914">
                  <a:moveTo>
                    <a:pt x="54864" y="103632"/>
                  </a:moveTo>
                  <a:lnTo>
                    <a:pt x="0" y="103632"/>
                  </a:lnTo>
                  <a:lnTo>
                    <a:pt x="0" y="589727"/>
                  </a:lnTo>
                  <a:lnTo>
                    <a:pt x="6095" y="589727"/>
                  </a:lnTo>
                  <a:lnTo>
                    <a:pt x="6095" y="108173"/>
                  </a:lnTo>
                  <a:lnTo>
                    <a:pt x="10668" y="108173"/>
                  </a:lnTo>
                  <a:lnTo>
                    <a:pt x="54864" y="108173"/>
                  </a:lnTo>
                  <a:lnTo>
                    <a:pt x="54864" y="103632"/>
                  </a:lnTo>
                  <a:close/>
                </a:path>
                <a:path w="772795" h="589914">
                  <a:moveTo>
                    <a:pt x="665957" y="465399"/>
                  </a:moveTo>
                  <a:lnTo>
                    <a:pt x="661385" y="466313"/>
                  </a:lnTo>
                  <a:lnTo>
                    <a:pt x="661385" y="513557"/>
                  </a:lnTo>
                  <a:lnTo>
                    <a:pt x="620237" y="513557"/>
                  </a:lnTo>
                  <a:lnTo>
                    <a:pt x="576041" y="516605"/>
                  </a:lnTo>
                  <a:lnTo>
                    <a:pt x="537941" y="521177"/>
                  </a:lnTo>
                  <a:lnTo>
                    <a:pt x="489173" y="530321"/>
                  </a:lnTo>
                  <a:lnTo>
                    <a:pt x="448025" y="540959"/>
                  </a:lnTo>
                  <a:lnTo>
                    <a:pt x="441929" y="542483"/>
                  </a:lnTo>
                  <a:lnTo>
                    <a:pt x="391637" y="559247"/>
                  </a:lnTo>
                  <a:lnTo>
                    <a:pt x="388589" y="560771"/>
                  </a:lnTo>
                  <a:lnTo>
                    <a:pt x="379445" y="563819"/>
                  </a:lnTo>
                  <a:lnTo>
                    <a:pt x="376397" y="565343"/>
                  </a:lnTo>
                  <a:lnTo>
                    <a:pt x="362681" y="569915"/>
                  </a:lnTo>
                  <a:lnTo>
                    <a:pt x="359633" y="571439"/>
                  </a:lnTo>
                  <a:lnTo>
                    <a:pt x="345917" y="576011"/>
                  </a:lnTo>
                  <a:lnTo>
                    <a:pt x="342869" y="577535"/>
                  </a:lnTo>
                  <a:lnTo>
                    <a:pt x="310865" y="588203"/>
                  </a:lnTo>
                  <a:lnTo>
                    <a:pt x="329914" y="588203"/>
                  </a:lnTo>
                  <a:lnTo>
                    <a:pt x="335249" y="586679"/>
                  </a:lnTo>
                  <a:lnTo>
                    <a:pt x="365729" y="574487"/>
                  </a:lnTo>
                  <a:lnTo>
                    <a:pt x="397733" y="562295"/>
                  </a:lnTo>
                  <a:lnTo>
                    <a:pt x="414497" y="557723"/>
                  </a:lnTo>
                  <a:lnTo>
                    <a:pt x="431261" y="551627"/>
                  </a:lnTo>
                  <a:lnTo>
                    <a:pt x="449549" y="545531"/>
                  </a:lnTo>
                  <a:lnTo>
                    <a:pt x="507461" y="531845"/>
                  </a:lnTo>
                  <a:lnTo>
                    <a:pt x="553181" y="524225"/>
                  </a:lnTo>
                  <a:lnTo>
                    <a:pt x="603473" y="519653"/>
                  </a:lnTo>
                  <a:lnTo>
                    <a:pt x="632429" y="518129"/>
                  </a:lnTo>
                  <a:lnTo>
                    <a:pt x="665957" y="518129"/>
                  </a:lnTo>
                  <a:lnTo>
                    <a:pt x="665957" y="465399"/>
                  </a:lnTo>
                  <a:close/>
                </a:path>
                <a:path w="772795" h="589914">
                  <a:moveTo>
                    <a:pt x="661385" y="466313"/>
                  </a:moveTo>
                  <a:lnTo>
                    <a:pt x="661385" y="470885"/>
                  </a:lnTo>
                  <a:lnTo>
                    <a:pt x="661385" y="466313"/>
                  </a:lnTo>
                  <a:close/>
                </a:path>
                <a:path w="772795" h="589914">
                  <a:moveTo>
                    <a:pt x="716219" y="412465"/>
                  </a:moveTo>
                  <a:lnTo>
                    <a:pt x="711647" y="412973"/>
                  </a:lnTo>
                  <a:lnTo>
                    <a:pt x="711646" y="463265"/>
                  </a:lnTo>
                  <a:lnTo>
                    <a:pt x="690310" y="463265"/>
                  </a:lnTo>
                  <a:lnTo>
                    <a:pt x="669005" y="464789"/>
                  </a:lnTo>
                  <a:lnTo>
                    <a:pt x="665957" y="465399"/>
                  </a:lnTo>
                  <a:lnTo>
                    <a:pt x="665957" y="470885"/>
                  </a:lnTo>
                  <a:lnTo>
                    <a:pt x="670529" y="470885"/>
                  </a:lnTo>
                  <a:lnTo>
                    <a:pt x="676595" y="469361"/>
                  </a:lnTo>
                  <a:lnTo>
                    <a:pt x="693359" y="469361"/>
                  </a:lnTo>
                  <a:lnTo>
                    <a:pt x="702503" y="467837"/>
                  </a:lnTo>
                  <a:lnTo>
                    <a:pt x="716219" y="467837"/>
                  </a:lnTo>
                  <a:lnTo>
                    <a:pt x="716219" y="412465"/>
                  </a:lnTo>
                  <a:close/>
                </a:path>
                <a:path w="772795" h="589914">
                  <a:moveTo>
                    <a:pt x="711647" y="412973"/>
                  </a:moveTo>
                  <a:lnTo>
                    <a:pt x="711646" y="417545"/>
                  </a:lnTo>
                  <a:lnTo>
                    <a:pt x="711647" y="412973"/>
                  </a:lnTo>
                  <a:close/>
                </a:path>
                <a:path w="772795" h="589914">
                  <a:moveTo>
                    <a:pt x="772607" y="4572"/>
                  </a:moveTo>
                  <a:lnTo>
                    <a:pt x="768034" y="406877"/>
                  </a:lnTo>
                  <a:lnTo>
                    <a:pt x="768034" y="411449"/>
                  </a:lnTo>
                  <a:lnTo>
                    <a:pt x="725362" y="411449"/>
                  </a:lnTo>
                  <a:lnTo>
                    <a:pt x="716219" y="412465"/>
                  </a:lnTo>
                  <a:lnTo>
                    <a:pt x="716219" y="417545"/>
                  </a:lnTo>
                  <a:lnTo>
                    <a:pt x="722315" y="417545"/>
                  </a:lnTo>
                  <a:lnTo>
                    <a:pt x="728411" y="416021"/>
                  </a:lnTo>
                  <a:lnTo>
                    <a:pt x="772607" y="416021"/>
                  </a:lnTo>
                  <a:lnTo>
                    <a:pt x="772607" y="4572"/>
                  </a:lnTo>
                  <a:close/>
                </a:path>
                <a:path w="772795" h="589914">
                  <a:moveTo>
                    <a:pt x="105156" y="51816"/>
                  </a:moveTo>
                  <a:lnTo>
                    <a:pt x="54864" y="51816"/>
                  </a:lnTo>
                  <a:lnTo>
                    <a:pt x="54864" y="108173"/>
                  </a:lnTo>
                  <a:lnTo>
                    <a:pt x="10668" y="108173"/>
                  </a:lnTo>
                  <a:lnTo>
                    <a:pt x="59435" y="108173"/>
                  </a:lnTo>
                  <a:lnTo>
                    <a:pt x="59435" y="56388"/>
                  </a:lnTo>
                  <a:lnTo>
                    <a:pt x="64010" y="56388"/>
                  </a:lnTo>
                  <a:lnTo>
                    <a:pt x="105156" y="52273"/>
                  </a:lnTo>
                  <a:lnTo>
                    <a:pt x="105156" y="51816"/>
                  </a:lnTo>
                  <a:close/>
                </a:path>
                <a:path w="772795" h="589914">
                  <a:moveTo>
                    <a:pt x="64008" y="56388"/>
                  </a:moveTo>
                  <a:close/>
                </a:path>
                <a:path w="772795" h="589914">
                  <a:moveTo>
                    <a:pt x="109727" y="51816"/>
                  </a:moveTo>
                  <a:lnTo>
                    <a:pt x="105156" y="52273"/>
                  </a:lnTo>
                  <a:lnTo>
                    <a:pt x="105156" y="56388"/>
                  </a:lnTo>
                  <a:lnTo>
                    <a:pt x="109727" y="56388"/>
                  </a:lnTo>
                  <a:lnTo>
                    <a:pt x="109727" y="51816"/>
                  </a:lnTo>
                  <a:close/>
                </a:path>
                <a:path w="772795" h="589914">
                  <a:moveTo>
                    <a:pt x="772607" y="0"/>
                  </a:moveTo>
                  <a:lnTo>
                    <a:pt x="105156" y="0"/>
                  </a:lnTo>
                  <a:lnTo>
                    <a:pt x="105156" y="52273"/>
                  </a:lnTo>
                  <a:lnTo>
                    <a:pt x="109727" y="51816"/>
                  </a:lnTo>
                  <a:lnTo>
                    <a:pt x="109727" y="4572"/>
                  </a:lnTo>
                  <a:lnTo>
                    <a:pt x="115824" y="4572"/>
                  </a:lnTo>
                  <a:lnTo>
                    <a:pt x="772607" y="4572"/>
                  </a:lnTo>
                  <a:lnTo>
                    <a:pt x="772607" y="0"/>
                  </a:lnTo>
                  <a:close/>
                </a:path>
                <a:path w="772795" h="589914">
                  <a:moveTo>
                    <a:pt x="115824" y="4572"/>
                  </a:moveTo>
                  <a:close/>
                </a:path>
                <a:path w="772795" h="589914">
                  <a:moveTo>
                    <a:pt x="772607" y="4572"/>
                  </a:moveTo>
                  <a:lnTo>
                    <a:pt x="115824" y="4572"/>
                  </a:lnTo>
                  <a:lnTo>
                    <a:pt x="772607" y="457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3173211" y="3307323"/>
              <a:ext cx="762000" cy="585470"/>
            </a:xfrm>
            <a:custGeom>
              <a:avLst/>
              <a:gdLst/>
              <a:ahLst/>
              <a:cxnLst/>
              <a:rect l="l" t="t" r="r" b="b"/>
              <a:pathLst>
                <a:path w="762000" h="585470">
                  <a:moveTo>
                    <a:pt x="655289" y="103601"/>
                  </a:moveTo>
                  <a:lnTo>
                    <a:pt x="0" y="103601"/>
                  </a:lnTo>
                  <a:lnTo>
                    <a:pt x="0" y="585155"/>
                  </a:lnTo>
                  <a:lnTo>
                    <a:pt x="303303" y="585155"/>
                  </a:lnTo>
                  <a:lnTo>
                    <a:pt x="327633" y="576978"/>
                  </a:lnTo>
                  <a:lnTo>
                    <a:pt x="390347" y="554061"/>
                  </a:lnTo>
                  <a:lnTo>
                    <a:pt x="424104" y="542660"/>
                  </a:lnTo>
                  <a:lnTo>
                    <a:pt x="460741" y="532055"/>
                  </a:lnTo>
                  <a:lnTo>
                    <a:pt x="501219" y="522815"/>
                  </a:lnTo>
                  <a:lnTo>
                    <a:pt x="546496" y="515511"/>
                  </a:lnTo>
                  <a:lnTo>
                    <a:pt x="597533" y="510711"/>
                  </a:lnTo>
                  <a:lnTo>
                    <a:pt x="655289" y="508985"/>
                  </a:lnTo>
                  <a:lnTo>
                    <a:pt x="655289" y="103601"/>
                  </a:lnTo>
                  <a:close/>
                </a:path>
                <a:path w="762000" h="585470">
                  <a:moveTo>
                    <a:pt x="705551" y="51816"/>
                  </a:moveTo>
                  <a:lnTo>
                    <a:pt x="53340" y="51816"/>
                  </a:lnTo>
                  <a:lnTo>
                    <a:pt x="53340" y="103601"/>
                  </a:lnTo>
                  <a:lnTo>
                    <a:pt x="655289" y="103601"/>
                  </a:lnTo>
                  <a:lnTo>
                    <a:pt x="655289" y="461741"/>
                  </a:lnTo>
                  <a:lnTo>
                    <a:pt x="659499" y="461265"/>
                  </a:lnTo>
                  <a:lnTo>
                    <a:pt x="670704" y="460217"/>
                  </a:lnTo>
                  <a:lnTo>
                    <a:pt x="686767" y="459169"/>
                  </a:lnTo>
                  <a:lnTo>
                    <a:pt x="705551" y="458693"/>
                  </a:lnTo>
                  <a:lnTo>
                    <a:pt x="705551" y="51816"/>
                  </a:lnTo>
                  <a:close/>
                </a:path>
                <a:path w="762000" h="585470">
                  <a:moveTo>
                    <a:pt x="761939" y="0"/>
                  </a:moveTo>
                  <a:lnTo>
                    <a:pt x="103632" y="0"/>
                  </a:lnTo>
                  <a:lnTo>
                    <a:pt x="103632" y="51816"/>
                  </a:lnTo>
                  <a:lnTo>
                    <a:pt x="705551" y="51816"/>
                  </a:lnTo>
                  <a:lnTo>
                    <a:pt x="705551" y="408401"/>
                  </a:lnTo>
                  <a:lnTo>
                    <a:pt x="722886" y="407639"/>
                  </a:lnTo>
                  <a:lnTo>
                    <a:pt x="740912" y="407115"/>
                  </a:lnTo>
                  <a:lnTo>
                    <a:pt x="761939" y="406877"/>
                  </a:lnTo>
                  <a:lnTo>
                    <a:pt x="761939" y="0"/>
                  </a:lnTo>
                  <a:close/>
                </a:path>
              </a:pathLst>
            </a:custGeom>
            <a:solidFill>
              <a:srgbClr val="FFFF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3167115" y="3302751"/>
              <a:ext cx="772795" cy="589915"/>
            </a:xfrm>
            <a:custGeom>
              <a:avLst/>
              <a:gdLst/>
              <a:ahLst/>
              <a:cxnLst/>
              <a:rect l="l" t="t" r="r" b="b"/>
              <a:pathLst>
                <a:path w="772795" h="589914">
                  <a:moveTo>
                    <a:pt x="54864" y="103632"/>
                  </a:moveTo>
                  <a:lnTo>
                    <a:pt x="0" y="103632"/>
                  </a:lnTo>
                  <a:lnTo>
                    <a:pt x="0" y="589727"/>
                  </a:lnTo>
                  <a:lnTo>
                    <a:pt x="9144" y="589727"/>
                  </a:lnTo>
                  <a:lnTo>
                    <a:pt x="6096" y="586679"/>
                  </a:lnTo>
                  <a:lnTo>
                    <a:pt x="10668" y="586679"/>
                  </a:lnTo>
                  <a:lnTo>
                    <a:pt x="10668" y="112745"/>
                  </a:lnTo>
                  <a:lnTo>
                    <a:pt x="6096" y="112745"/>
                  </a:lnTo>
                  <a:lnTo>
                    <a:pt x="10668" y="108173"/>
                  </a:lnTo>
                  <a:lnTo>
                    <a:pt x="54864" y="108173"/>
                  </a:lnTo>
                  <a:lnTo>
                    <a:pt x="54864" y="103632"/>
                  </a:lnTo>
                  <a:close/>
                </a:path>
                <a:path w="772795" h="589914">
                  <a:moveTo>
                    <a:pt x="6096" y="586679"/>
                  </a:moveTo>
                  <a:lnTo>
                    <a:pt x="9144" y="589727"/>
                  </a:lnTo>
                  <a:lnTo>
                    <a:pt x="10668" y="589727"/>
                  </a:lnTo>
                  <a:lnTo>
                    <a:pt x="10668" y="587593"/>
                  </a:lnTo>
                  <a:lnTo>
                    <a:pt x="6096" y="586679"/>
                  </a:lnTo>
                  <a:close/>
                </a:path>
                <a:path w="772795" h="589914">
                  <a:moveTo>
                    <a:pt x="10668" y="587593"/>
                  </a:moveTo>
                  <a:lnTo>
                    <a:pt x="10668" y="589727"/>
                  </a:lnTo>
                  <a:lnTo>
                    <a:pt x="21337" y="589727"/>
                  </a:lnTo>
                  <a:lnTo>
                    <a:pt x="10668" y="587593"/>
                  </a:lnTo>
                  <a:close/>
                </a:path>
                <a:path w="772795" h="589914">
                  <a:moveTo>
                    <a:pt x="656813" y="108173"/>
                  </a:moveTo>
                  <a:lnTo>
                    <a:pt x="10668" y="108173"/>
                  </a:lnTo>
                  <a:lnTo>
                    <a:pt x="10668" y="587593"/>
                  </a:lnTo>
                  <a:lnTo>
                    <a:pt x="21337" y="589727"/>
                  </a:lnTo>
                  <a:lnTo>
                    <a:pt x="291052" y="589727"/>
                  </a:lnTo>
                  <a:lnTo>
                    <a:pt x="301721" y="586679"/>
                  </a:lnTo>
                  <a:lnTo>
                    <a:pt x="332201" y="577535"/>
                  </a:lnTo>
                  <a:lnTo>
                    <a:pt x="362681" y="565343"/>
                  </a:lnTo>
                  <a:lnTo>
                    <a:pt x="394685" y="554675"/>
                  </a:lnTo>
                  <a:lnTo>
                    <a:pt x="428213" y="542483"/>
                  </a:lnTo>
                  <a:lnTo>
                    <a:pt x="446501" y="536387"/>
                  </a:lnTo>
                  <a:lnTo>
                    <a:pt x="464789" y="531845"/>
                  </a:lnTo>
                  <a:lnTo>
                    <a:pt x="486125" y="527273"/>
                  </a:lnTo>
                  <a:lnTo>
                    <a:pt x="505937" y="522701"/>
                  </a:lnTo>
                  <a:lnTo>
                    <a:pt x="528797" y="518129"/>
                  </a:lnTo>
                  <a:lnTo>
                    <a:pt x="551657" y="515081"/>
                  </a:lnTo>
                  <a:lnTo>
                    <a:pt x="577565" y="512033"/>
                  </a:lnTo>
                  <a:lnTo>
                    <a:pt x="630905" y="508985"/>
                  </a:lnTo>
                  <a:lnTo>
                    <a:pt x="656813" y="508985"/>
                  </a:lnTo>
                  <a:lnTo>
                    <a:pt x="656813" y="108173"/>
                  </a:lnTo>
                  <a:close/>
                </a:path>
                <a:path w="772795" h="589914">
                  <a:moveTo>
                    <a:pt x="656813" y="508985"/>
                  </a:moveTo>
                  <a:lnTo>
                    <a:pt x="630905" y="508985"/>
                  </a:lnTo>
                  <a:lnTo>
                    <a:pt x="577565" y="512033"/>
                  </a:lnTo>
                  <a:lnTo>
                    <a:pt x="551657" y="515081"/>
                  </a:lnTo>
                  <a:lnTo>
                    <a:pt x="528797" y="518129"/>
                  </a:lnTo>
                  <a:lnTo>
                    <a:pt x="505937" y="522701"/>
                  </a:lnTo>
                  <a:lnTo>
                    <a:pt x="486125" y="527273"/>
                  </a:lnTo>
                  <a:lnTo>
                    <a:pt x="464789" y="531845"/>
                  </a:lnTo>
                  <a:lnTo>
                    <a:pt x="446501" y="536387"/>
                  </a:lnTo>
                  <a:lnTo>
                    <a:pt x="428213" y="542483"/>
                  </a:lnTo>
                  <a:lnTo>
                    <a:pt x="394685" y="554675"/>
                  </a:lnTo>
                  <a:lnTo>
                    <a:pt x="362681" y="565343"/>
                  </a:lnTo>
                  <a:lnTo>
                    <a:pt x="332201" y="577535"/>
                  </a:lnTo>
                  <a:lnTo>
                    <a:pt x="301721" y="586679"/>
                  </a:lnTo>
                  <a:lnTo>
                    <a:pt x="291052" y="589727"/>
                  </a:lnTo>
                  <a:lnTo>
                    <a:pt x="324580" y="589727"/>
                  </a:lnTo>
                  <a:lnTo>
                    <a:pt x="335249" y="586679"/>
                  </a:lnTo>
                  <a:lnTo>
                    <a:pt x="365729" y="574487"/>
                  </a:lnTo>
                  <a:lnTo>
                    <a:pt x="397733" y="562295"/>
                  </a:lnTo>
                  <a:lnTo>
                    <a:pt x="414497" y="557723"/>
                  </a:lnTo>
                  <a:lnTo>
                    <a:pt x="431261" y="551627"/>
                  </a:lnTo>
                  <a:lnTo>
                    <a:pt x="449549" y="545531"/>
                  </a:lnTo>
                  <a:lnTo>
                    <a:pt x="507461" y="531845"/>
                  </a:lnTo>
                  <a:lnTo>
                    <a:pt x="577565" y="521177"/>
                  </a:lnTo>
                  <a:lnTo>
                    <a:pt x="632429" y="518129"/>
                  </a:lnTo>
                  <a:lnTo>
                    <a:pt x="665957" y="518129"/>
                  </a:lnTo>
                  <a:lnTo>
                    <a:pt x="665957" y="513557"/>
                  </a:lnTo>
                  <a:lnTo>
                    <a:pt x="656813" y="513557"/>
                  </a:lnTo>
                  <a:lnTo>
                    <a:pt x="656813" y="508985"/>
                  </a:lnTo>
                  <a:close/>
                </a:path>
                <a:path w="772795" h="589914">
                  <a:moveTo>
                    <a:pt x="10668" y="586679"/>
                  </a:moveTo>
                  <a:lnTo>
                    <a:pt x="6096" y="586679"/>
                  </a:lnTo>
                  <a:lnTo>
                    <a:pt x="10668" y="587593"/>
                  </a:lnTo>
                  <a:lnTo>
                    <a:pt x="10668" y="586679"/>
                  </a:lnTo>
                  <a:close/>
                </a:path>
                <a:path w="772795" h="589914">
                  <a:moveTo>
                    <a:pt x="665957" y="103632"/>
                  </a:moveTo>
                  <a:lnTo>
                    <a:pt x="64008" y="103632"/>
                  </a:lnTo>
                  <a:lnTo>
                    <a:pt x="64008" y="108173"/>
                  </a:lnTo>
                  <a:lnTo>
                    <a:pt x="656813" y="108173"/>
                  </a:lnTo>
                  <a:lnTo>
                    <a:pt x="661385" y="112745"/>
                  </a:lnTo>
                  <a:lnTo>
                    <a:pt x="656813" y="112745"/>
                  </a:lnTo>
                  <a:lnTo>
                    <a:pt x="656813" y="508985"/>
                  </a:lnTo>
                  <a:lnTo>
                    <a:pt x="661385" y="508985"/>
                  </a:lnTo>
                  <a:lnTo>
                    <a:pt x="656813" y="513557"/>
                  </a:lnTo>
                  <a:lnTo>
                    <a:pt x="665957" y="513557"/>
                  </a:lnTo>
                  <a:lnTo>
                    <a:pt x="665957" y="470885"/>
                  </a:lnTo>
                  <a:lnTo>
                    <a:pt x="661385" y="470885"/>
                  </a:lnTo>
                  <a:lnTo>
                    <a:pt x="661385" y="461741"/>
                  </a:lnTo>
                  <a:lnTo>
                    <a:pt x="665957" y="461741"/>
                  </a:lnTo>
                  <a:lnTo>
                    <a:pt x="665957" y="103632"/>
                  </a:lnTo>
                  <a:close/>
                </a:path>
                <a:path w="772795" h="589914">
                  <a:moveTo>
                    <a:pt x="665957" y="461741"/>
                  </a:moveTo>
                  <a:lnTo>
                    <a:pt x="661385" y="461741"/>
                  </a:lnTo>
                  <a:lnTo>
                    <a:pt x="661385" y="470885"/>
                  </a:lnTo>
                  <a:lnTo>
                    <a:pt x="665957" y="470885"/>
                  </a:lnTo>
                  <a:lnTo>
                    <a:pt x="665957" y="461741"/>
                  </a:lnTo>
                  <a:close/>
                </a:path>
                <a:path w="772795" h="589914">
                  <a:moveTo>
                    <a:pt x="705551" y="458693"/>
                  </a:moveTo>
                  <a:lnTo>
                    <a:pt x="691835" y="458693"/>
                  </a:lnTo>
                  <a:lnTo>
                    <a:pt x="684215" y="460217"/>
                  </a:lnTo>
                  <a:lnTo>
                    <a:pt x="670529" y="460217"/>
                  </a:lnTo>
                  <a:lnTo>
                    <a:pt x="665957" y="461741"/>
                  </a:lnTo>
                  <a:lnTo>
                    <a:pt x="665957" y="470885"/>
                  </a:lnTo>
                  <a:lnTo>
                    <a:pt x="670529" y="470885"/>
                  </a:lnTo>
                  <a:lnTo>
                    <a:pt x="676595" y="469361"/>
                  </a:lnTo>
                  <a:lnTo>
                    <a:pt x="693359" y="469361"/>
                  </a:lnTo>
                  <a:lnTo>
                    <a:pt x="702503" y="467837"/>
                  </a:lnTo>
                  <a:lnTo>
                    <a:pt x="716219" y="467837"/>
                  </a:lnTo>
                  <a:lnTo>
                    <a:pt x="716219" y="463265"/>
                  </a:lnTo>
                  <a:lnTo>
                    <a:pt x="705551" y="463265"/>
                  </a:lnTo>
                  <a:lnTo>
                    <a:pt x="705551" y="458693"/>
                  </a:lnTo>
                  <a:close/>
                </a:path>
                <a:path w="772795" h="589914">
                  <a:moveTo>
                    <a:pt x="705551" y="56388"/>
                  </a:moveTo>
                  <a:lnTo>
                    <a:pt x="705551" y="463265"/>
                  </a:lnTo>
                  <a:lnTo>
                    <a:pt x="710123" y="458693"/>
                  </a:lnTo>
                  <a:lnTo>
                    <a:pt x="716219" y="458693"/>
                  </a:lnTo>
                  <a:lnTo>
                    <a:pt x="716219" y="417545"/>
                  </a:lnTo>
                  <a:lnTo>
                    <a:pt x="711647" y="417545"/>
                  </a:lnTo>
                  <a:lnTo>
                    <a:pt x="711647" y="408401"/>
                  </a:lnTo>
                  <a:lnTo>
                    <a:pt x="716219" y="408401"/>
                  </a:lnTo>
                  <a:lnTo>
                    <a:pt x="716219" y="60960"/>
                  </a:lnTo>
                  <a:lnTo>
                    <a:pt x="711647" y="60960"/>
                  </a:lnTo>
                  <a:lnTo>
                    <a:pt x="705551" y="56388"/>
                  </a:lnTo>
                  <a:close/>
                </a:path>
                <a:path w="772795" h="589914">
                  <a:moveTo>
                    <a:pt x="716219" y="458693"/>
                  </a:moveTo>
                  <a:lnTo>
                    <a:pt x="710123" y="458693"/>
                  </a:lnTo>
                  <a:lnTo>
                    <a:pt x="705551" y="463265"/>
                  </a:lnTo>
                  <a:lnTo>
                    <a:pt x="716219" y="463265"/>
                  </a:lnTo>
                  <a:lnTo>
                    <a:pt x="716219" y="458693"/>
                  </a:lnTo>
                  <a:close/>
                </a:path>
                <a:path w="772795" h="589914">
                  <a:moveTo>
                    <a:pt x="716219" y="408401"/>
                  </a:moveTo>
                  <a:lnTo>
                    <a:pt x="711647" y="408401"/>
                  </a:lnTo>
                  <a:lnTo>
                    <a:pt x="711647" y="417545"/>
                  </a:lnTo>
                  <a:lnTo>
                    <a:pt x="716219" y="417545"/>
                  </a:lnTo>
                  <a:lnTo>
                    <a:pt x="716219" y="408401"/>
                  </a:lnTo>
                  <a:close/>
                </a:path>
                <a:path w="772795" h="589914">
                  <a:moveTo>
                    <a:pt x="761939" y="406877"/>
                  </a:moveTo>
                  <a:lnTo>
                    <a:pt x="720791" y="406877"/>
                  </a:lnTo>
                  <a:lnTo>
                    <a:pt x="716219" y="408401"/>
                  </a:lnTo>
                  <a:lnTo>
                    <a:pt x="716219" y="417545"/>
                  </a:lnTo>
                  <a:lnTo>
                    <a:pt x="722315" y="417545"/>
                  </a:lnTo>
                  <a:lnTo>
                    <a:pt x="728411" y="416021"/>
                  </a:lnTo>
                  <a:lnTo>
                    <a:pt x="772607" y="416021"/>
                  </a:lnTo>
                  <a:lnTo>
                    <a:pt x="772607" y="411449"/>
                  </a:lnTo>
                  <a:lnTo>
                    <a:pt x="761939" y="411449"/>
                  </a:lnTo>
                  <a:lnTo>
                    <a:pt x="761939" y="406877"/>
                  </a:lnTo>
                  <a:close/>
                </a:path>
                <a:path w="772795" h="589914">
                  <a:moveTo>
                    <a:pt x="761939" y="4572"/>
                  </a:moveTo>
                  <a:lnTo>
                    <a:pt x="761939" y="411449"/>
                  </a:lnTo>
                  <a:lnTo>
                    <a:pt x="768035" y="406877"/>
                  </a:lnTo>
                  <a:lnTo>
                    <a:pt x="772607" y="406877"/>
                  </a:lnTo>
                  <a:lnTo>
                    <a:pt x="772607" y="9144"/>
                  </a:lnTo>
                  <a:lnTo>
                    <a:pt x="768035" y="9144"/>
                  </a:lnTo>
                  <a:lnTo>
                    <a:pt x="761939" y="4572"/>
                  </a:lnTo>
                  <a:close/>
                </a:path>
                <a:path w="772795" h="589914">
                  <a:moveTo>
                    <a:pt x="772607" y="406877"/>
                  </a:moveTo>
                  <a:lnTo>
                    <a:pt x="768035" y="406877"/>
                  </a:lnTo>
                  <a:lnTo>
                    <a:pt x="761939" y="411449"/>
                  </a:lnTo>
                  <a:lnTo>
                    <a:pt x="772607" y="411449"/>
                  </a:lnTo>
                  <a:lnTo>
                    <a:pt x="772607" y="406877"/>
                  </a:lnTo>
                  <a:close/>
                </a:path>
                <a:path w="772795" h="589914">
                  <a:moveTo>
                    <a:pt x="105156" y="51816"/>
                  </a:moveTo>
                  <a:lnTo>
                    <a:pt x="54864" y="51816"/>
                  </a:lnTo>
                  <a:lnTo>
                    <a:pt x="54864" y="108173"/>
                  </a:lnTo>
                  <a:lnTo>
                    <a:pt x="64008" y="108173"/>
                  </a:lnTo>
                  <a:lnTo>
                    <a:pt x="64008" y="60960"/>
                  </a:lnTo>
                  <a:lnTo>
                    <a:pt x="59436" y="60960"/>
                  </a:lnTo>
                  <a:lnTo>
                    <a:pt x="64008" y="56388"/>
                  </a:lnTo>
                  <a:lnTo>
                    <a:pt x="105156" y="56388"/>
                  </a:lnTo>
                  <a:lnTo>
                    <a:pt x="105156" y="51816"/>
                  </a:lnTo>
                  <a:close/>
                </a:path>
                <a:path w="772795" h="589914">
                  <a:moveTo>
                    <a:pt x="64008" y="56388"/>
                  </a:moveTo>
                  <a:lnTo>
                    <a:pt x="59436" y="60960"/>
                  </a:lnTo>
                  <a:lnTo>
                    <a:pt x="64008" y="60960"/>
                  </a:lnTo>
                  <a:lnTo>
                    <a:pt x="64008" y="56388"/>
                  </a:lnTo>
                  <a:close/>
                </a:path>
                <a:path w="772795" h="589914">
                  <a:moveTo>
                    <a:pt x="705551" y="56388"/>
                  </a:moveTo>
                  <a:lnTo>
                    <a:pt x="64008" y="56388"/>
                  </a:lnTo>
                  <a:lnTo>
                    <a:pt x="64008" y="60960"/>
                  </a:lnTo>
                  <a:lnTo>
                    <a:pt x="705551" y="60960"/>
                  </a:lnTo>
                  <a:lnTo>
                    <a:pt x="705551" y="56388"/>
                  </a:lnTo>
                  <a:close/>
                </a:path>
                <a:path w="772795" h="589914">
                  <a:moveTo>
                    <a:pt x="716219" y="51816"/>
                  </a:moveTo>
                  <a:lnTo>
                    <a:pt x="115824" y="51816"/>
                  </a:lnTo>
                  <a:lnTo>
                    <a:pt x="115824" y="56388"/>
                  </a:lnTo>
                  <a:lnTo>
                    <a:pt x="705551" y="56388"/>
                  </a:lnTo>
                  <a:lnTo>
                    <a:pt x="711647" y="60960"/>
                  </a:lnTo>
                  <a:lnTo>
                    <a:pt x="716219" y="60960"/>
                  </a:lnTo>
                  <a:lnTo>
                    <a:pt x="716219" y="51816"/>
                  </a:lnTo>
                  <a:close/>
                </a:path>
                <a:path w="772795" h="589914">
                  <a:moveTo>
                    <a:pt x="772607" y="0"/>
                  </a:moveTo>
                  <a:lnTo>
                    <a:pt x="105156" y="0"/>
                  </a:lnTo>
                  <a:lnTo>
                    <a:pt x="105156" y="56388"/>
                  </a:lnTo>
                  <a:lnTo>
                    <a:pt x="115824" y="56388"/>
                  </a:lnTo>
                  <a:lnTo>
                    <a:pt x="115824" y="9144"/>
                  </a:lnTo>
                  <a:lnTo>
                    <a:pt x="109728" y="9144"/>
                  </a:lnTo>
                  <a:lnTo>
                    <a:pt x="115824" y="4572"/>
                  </a:lnTo>
                  <a:lnTo>
                    <a:pt x="772607" y="4572"/>
                  </a:lnTo>
                  <a:lnTo>
                    <a:pt x="772607" y="0"/>
                  </a:lnTo>
                  <a:close/>
                </a:path>
                <a:path w="772795" h="589914">
                  <a:moveTo>
                    <a:pt x="115824" y="4572"/>
                  </a:moveTo>
                  <a:lnTo>
                    <a:pt x="109728" y="9144"/>
                  </a:lnTo>
                  <a:lnTo>
                    <a:pt x="115824" y="9144"/>
                  </a:lnTo>
                  <a:lnTo>
                    <a:pt x="115824" y="4572"/>
                  </a:lnTo>
                  <a:close/>
                </a:path>
                <a:path w="772795" h="589914">
                  <a:moveTo>
                    <a:pt x="761939" y="4572"/>
                  </a:moveTo>
                  <a:lnTo>
                    <a:pt x="115824" y="4572"/>
                  </a:lnTo>
                  <a:lnTo>
                    <a:pt x="115824" y="9144"/>
                  </a:lnTo>
                  <a:lnTo>
                    <a:pt x="761939" y="9144"/>
                  </a:lnTo>
                  <a:lnTo>
                    <a:pt x="761939" y="4572"/>
                  </a:lnTo>
                  <a:close/>
                </a:path>
                <a:path w="772795" h="589914">
                  <a:moveTo>
                    <a:pt x="772607" y="4572"/>
                  </a:moveTo>
                  <a:lnTo>
                    <a:pt x="761939" y="4572"/>
                  </a:lnTo>
                  <a:lnTo>
                    <a:pt x="768035" y="9144"/>
                  </a:lnTo>
                  <a:lnTo>
                    <a:pt x="772607" y="9144"/>
                  </a:lnTo>
                  <a:lnTo>
                    <a:pt x="772607" y="457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" name="object 21"/>
          <p:cNvSpPr txBox="1"/>
          <p:nvPr/>
        </p:nvSpPr>
        <p:spPr>
          <a:xfrm>
            <a:off x="3160511" y="3757874"/>
            <a:ext cx="46164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tabLst>
                <a:tab pos="228600" algn="l"/>
              </a:tabLst>
            </a:pPr>
            <a:r>
              <a:rPr sz="1000" u="heavy" spc="-5" dirty="0">
                <a:uFill>
                  <a:solidFill>
                    <a:srgbClr val="FFFF00"/>
                  </a:solidFill>
                </a:uFill>
                <a:latin typeface="Times New Roman"/>
                <a:cs typeface="Times New Roman"/>
              </a:rPr>
              <a:t> 	</a:t>
            </a:r>
            <a:r>
              <a:rPr sz="1000" u="heavy" dirty="0">
                <a:uFill>
                  <a:solidFill>
                    <a:srgbClr val="FFFF00"/>
                  </a:solidFill>
                </a:uFill>
                <a:latin typeface="Liberation Sans Narrow"/>
                <a:cs typeface="Liberation Sans Narrow"/>
              </a:rPr>
              <a:t>F</a:t>
            </a:r>
            <a:r>
              <a:rPr sz="1000" spc="-10" dirty="0">
                <a:latin typeface="Liberation Sans Narrow"/>
                <a:cs typeface="Liberation Sans Narrow"/>
              </a:rPr>
              <a:t>il</a:t>
            </a:r>
            <a:r>
              <a:rPr sz="1000" spc="-5" dirty="0">
                <a:latin typeface="Liberation Sans Narrow"/>
                <a:cs typeface="Liberation Sans Narrow"/>
              </a:rPr>
              <a:t>es</a:t>
            </a:r>
            <a:endParaRPr sz="1000">
              <a:latin typeface="Liberation Sans Narrow"/>
              <a:cs typeface="Liberation Sans Narrow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6786311" y="2083643"/>
            <a:ext cx="772795" cy="617220"/>
            <a:chOff x="6786311" y="2083643"/>
            <a:chExt cx="772795" cy="617220"/>
          </a:xfrm>
        </p:grpSpPr>
        <p:sp>
          <p:nvSpPr>
            <p:cNvPr id="23" name="object 23"/>
            <p:cNvSpPr/>
            <p:nvPr/>
          </p:nvSpPr>
          <p:spPr>
            <a:xfrm>
              <a:off x="6792407" y="2088215"/>
              <a:ext cx="762000" cy="608965"/>
            </a:xfrm>
            <a:custGeom>
              <a:avLst/>
              <a:gdLst/>
              <a:ahLst/>
              <a:cxnLst/>
              <a:rect l="l" t="t" r="r" b="b"/>
              <a:pathLst>
                <a:path w="762000" h="608964">
                  <a:moveTo>
                    <a:pt x="3047" y="586709"/>
                  </a:moveTo>
                  <a:lnTo>
                    <a:pt x="1" y="586709"/>
                  </a:lnTo>
                  <a:lnTo>
                    <a:pt x="57756" y="598640"/>
                  </a:lnTo>
                  <a:lnTo>
                    <a:pt x="108793" y="605676"/>
                  </a:lnTo>
                  <a:lnTo>
                    <a:pt x="154070" y="608387"/>
                  </a:lnTo>
                  <a:lnTo>
                    <a:pt x="180297" y="607710"/>
                  </a:lnTo>
                  <a:lnTo>
                    <a:pt x="128015" y="606521"/>
                  </a:lnTo>
                  <a:lnTo>
                    <a:pt x="108203" y="604997"/>
                  </a:lnTo>
                  <a:lnTo>
                    <a:pt x="96011" y="603473"/>
                  </a:lnTo>
                  <a:lnTo>
                    <a:pt x="82295" y="601949"/>
                  </a:lnTo>
                  <a:lnTo>
                    <a:pt x="45719" y="595853"/>
                  </a:lnTo>
                  <a:lnTo>
                    <a:pt x="22859" y="591281"/>
                  </a:lnTo>
                  <a:lnTo>
                    <a:pt x="16763" y="589757"/>
                  </a:lnTo>
                  <a:lnTo>
                    <a:pt x="9143" y="588233"/>
                  </a:lnTo>
                  <a:lnTo>
                    <a:pt x="3047" y="586709"/>
                  </a:lnTo>
                  <a:close/>
                </a:path>
                <a:path w="762000" h="608964">
                  <a:moveTo>
                    <a:pt x="53339" y="103632"/>
                  </a:moveTo>
                  <a:lnTo>
                    <a:pt x="0" y="103632"/>
                  </a:lnTo>
                  <a:lnTo>
                    <a:pt x="53339" y="103632"/>
                  </a:lnTo>
                  <a:close/>
                </a:path>
                <a:path w="762000" h="608964">
                  <a:moveTo>
                    <a:pt x="103631" y="51816"/>
                  </a:moveTo>
                  <a:lnTo>
                    <a:pt x="53340" y="51816"/>
                  </a:lnTo>
                  <a:lnTo>
                    <a:pt x="103631" y="51816"/>
                  </a:lnTo>
                  <a:close/>
                </a:path>
                <a:path w="762000" h="608964">
                  <a:moveTo>
                    <a:pt x="761939" y="0"/>
                  </a:moveTo>
                  <a:lnTo>
                    <a:pt x="103632" y="0"/>
                  </a:lnTo>
                  <a:lnTo>
                    <a:pt x="761939" y="0"/>
                  </a:lnTo>
                  <a:close/>
                </a:path>
                <a:path w="762000" h="608964">
                  <a:moveTo>
                    <a:pt x="655248" y="508985"/>
                  </a:moveTo>
                  <a:lnTo>
                    <a:pt x="614141" y="508985"/>
                  </a:lnTo>
                  <a:lnTo>
                    <a:pt x="588233" y="510509"/>
                  </a:lnTo>
                  <a:lnTo>
                    <a:pt x="542513" y="515081"/>
                  </a:lnTo>
                  <a:lnTo>
                    <a:pt x="483077" y="525749"/>
                  </a:lnTo>
                  <a:lnTo>
                    <a:pt x="441929" y="536417"/>
                  </a:lnTo>
                  <a:lnTo>
                    <a:pt x="435833" y="537941"/>
                  </a:lnTo>
                  <a:lnTo>
                    <a:pt x="385541" y="554705"/>
                  </a:lnTo>
                  <a:lnTo>
                    <a:pt x="382493" y="556229"/>
                  </a:lnTo>
                  <a:lnTo>
                    <a:pt x="373349" y="559277"/>
                  </a:lnTo>
                  <a:lnTo>
                    <a:pt x="370301" y="560801"/>
                  </a:lnTo>
                  <a:lnTo>
                    <a:pt x="356585" y="565373"/>
                  </a:lnTo>
                  <a:lnTo>
                    <a:pt x="353537" y="566897"/>
                  </a:lnTo>
                  <a:lnTo>
                    <a:pt x="339821" y="571469"/>
                  </a:lnTo>
                  <a:lnTo>
                    <a:pt x="336773" y="572993"/>
                  </a:lnTo>
                  <a:lnTo>
                    <a:pt x="291083" y="588233"/>
                  </a:lnTo>
                  <a:lnTo>
                    <a:pt x="284987" y="589757"/>
                  </a:lnTo>
                  <a:lnTo>
                    <a:pt x="280415" y="591281"/>
                  </a:lnTo>
                  <a:lnTo>
                    <a:pt x="274319" y="592805"/>
                  </a:lnTo>
                  <a:lnTo>
                    <a:pt x="269747" y="594329"/>
                  </a:lnTo>
                  <a:lnTo>
                    <a:pt x="263651" y="595853"/>
                  </a:lnTo>
                  <a:lnTo>
                    <a:pt x="256031" y="597377"/>
                  </a:lnTo>
                  <a:lnTo>
                    <a:pt x="249935" y="598901"/>
                  </a:lnTo>
                  <a:lnTo>
                    <a:pt x="242315" y="600425"/>
                  </a:lnTo>
                  <a:lnTo>
                    <a:pt x="224027" y="603473"/>
                  </a:lnTo>
                  <a:lnTo>
                    <a:pt x="211835" y="604997"/>
                  </a:lnTo>
                  <a:lnTo>
                    <a:pt x="195071" y="606521"/>
                  </a:lnTo>
                  <a:lnTo>
                    <a:pt x="195071" y="607281"/>
                  </a:lnTo>
                  <a:lnTo>
                    <a:pt x="264940" y="596259"/>
                  </a:lnTo>
                  <a:lnTo>
                    <a:pt x="327652" y="576982"/>
                  </a:lnTo>
                  <a:lnTo>
                    <a:pt x="390361" y="554063"/>
                  </a:lnTo>
                  <a:lnTo>
                    <a:pt x="424114" y="542661"/>
                  </a:lnTo>
                  <a:lnTo>
                    <a:pt x="460746" y="532055"/>
                  </a:lnTo>
                  <a:lnTo>
                    <a:pt x="501216" y="522816"/>
                  </a:lnTo>
                  <a:lnTo>
                    <a:pt x="546485" y="515511"/>
                  </a:lnTo>
                  <a:lnTo>
                    <a:pt x="597513" y="510711"/>
                  </a:lnTo>
                  <a:lnTo>
                    <a:pt x="655248" y="508985"/>
                  </a:lnTo>
                  <a:close/>
                </a:path>
                <a:path w="762000" h="608964">
                  <a:moveTo>
                    <a:pt x="705538" y="458693"/>
                  </a:moveTo>
                  <a:lnTo>
                    <a:pt x="684214" y="458693"/>
                  </a:lnTo>
                  <a:lnTo>
                    <a:pt x="662878" y="460217"/>
                  </a:lnTo>
                  <a:lnTo>
                    <a:pt x="655261" y="461741"/>
                  </a:lnTo>
                  <a:lnTo>
                    <a:pt x="659473" y="461265"/>
                  </a:lnTo>
                  <a:lnTo>
                    <a:pt x="670689" y="460217"/>
                  </a:lnTo>
                  <a:lnTo>
                    <a:pt x="686762" y="459169"/>
                  </a:lnTo>
                  <a:lnTo>
                    <a:pt x="705538" y="458693"/>
                  </a:lnTo>
                  <a:close/>
                </a:path>
                <a:path w="762000" h="608964">
                  <a:moveTo>
                    <a:pt x="761910" y="406877"/>
                  </a:moveTo>
                  <a:lnTo>
                    <a:pt x="719266" y="406877"/>
                  </a:lnTo>
                  <a:lnTo>
                    <a:pt x="705555" y="408401"/>
                  </a:lnTo>
                  <a:lnTo>
                    <a:pt x="722886" y="407639"/>
                  </a:lnTo>
                  <a:lnTo>
                    <a:pt x="740912" y="407115"/>
                  </a:lnTo>
                  <a:lnTo>
                    <a:pt x="761910" y="406877"/>
                  </a:lnTo>
                  <a:close/>
                </a:path>
              </a:pathLst>
            </a:custGeom>
            <a:solidFill>
              <a:srgbClr val="FFFF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6786311" y="2083643"/>
              <a:ext cx="772795" cy="617220"/>
            </a:xfrm>
            <a:custGeom>
              <a:avLst/>
              <a:gdLst/>
              <a:ahLst/>
              <a:cxnLst/>
              <a:rect l="l" t="t" r="r" b="b"/>
              <a:pathLst>
                <a:path w="772795" h="617219">
                  <a:moveTo>
                    <a:pt x="54864" y="103632"/>
                  </a:moveTo>
                  <a:lnTo>
                    <a:pt x="0" y="103632"/>
                  </a:lnTo>
                  <a:lnTo>
                    <a:pt x="1" y="594329"/>
                  </a:lnTo>
                  <a:lnTo>
                    <a:pt x="35053" y="601949"/>
                  </a:lnTo>
                  <a:lnTo>
                    <a:pt x="62485" y="608045"/>
                  </a:lnTo>
                  <a:lnTo>
                    <a:pt x="88394" y="612617"/>
                  </a:lnTo>
                  <a:lnTo>
                    <a:pt x="114300" y="615635"/>
                  </a:lnTo>
                  <a:lnTo>
                    <a:pt x="137160" y="617159"/>
                  </a:lnTo>
                  <a:lnTo>
                    <a:pt x="201168" y="617159"/>
                  </a:lnTo>
                  <a:lnTo>
                    <a:pt x="219456" y="615635"/>
                  </a:lnTo>
                  <a:lnTo>
                    <a:pt x="237742" y="612617"/>
                  </a:lnTo>
                  <a:lnTo>
                    <a:pt x="201154" y="612617"/>
                  </a:lnTo>
                  <a:lnTo>
                    <a:pt x="134111" y="611093"/>
                  </a:lnTo>
                  <a:lnTo>
                    <a:pt x="114297" y="609569"/>
                  </a:lnTo>
                  <a:lnTo>
                    <a:pt x="102104" y="608045"/>
                  </a:lnTo>
                  <a:lnTo>
                    <a:pt x="88391" y="606521"/>
                  </a:lnTo>
                  <a:lnTo>
                    <a:pt x="51815" y="600425"/>
                  </a:lnTo>
                  <a:lnTo>
                    <a:pt x="28955" y="595853"/>
                  </a:lnTo>
                  <a:lnTo>
                    <a:pt x="22858" y="594329"/>
                  </a:lnTo>
                  <a:lnTo>
                    <a:pt x="15239" y="592805"/>
                  </a:lnTo>
                  <a:lnTo>
                    <a:pt x="9143" y="591281"/>
                  </a:lnTo>
                  <a:lnTo>
                    <a:pt x="6095" y="591281"/>
                  </a:lnTo>
                  <a:lnTo>
                    <a:pt x="6095" y="108204"/>
                  </a:lnTo>
                  <a:lnTo>
                    <a:pt x="10668" y="108204"/>
                  </a:lnTo>
                  <a:lnTo>
                    <a:pt x="54864" y="108204"/>
                  </a:lnTo>
                  <a:lnTo>
                    <a:pt x="54864" y="103632"/>
                  </a:lnTo>
                  <a:close/>
                </a:path>
                <a:path w="772795" h="617219">
                  <a:moveTo>
                    <a:pt x="665927" y="465399"/>
                  </a:moveTo>
                  <a:lnTo>
                    <a:pt x="661355" y="466313"/>
                  </a:lnTo>
                  <a:lnTo>
                    <a:pt x="661354" y="513557"/>
                  </a:lnTo>
                  <a:lnTo>
                    <a:pt x="620237" y="513557"/>
                  </a:lnTo>
                  <a:lnTo>
                    <a:pt x="576041" y="516605"/>
                  </a:lnTo>
                  <a:lnTo>
                    <a:pt x="537941" y="521177"/>
                  </a:lnTo>
                  <a:lnTo>
                    <a:pt x="489173" y="530321"/>
                  </a:lnTo>
                  <a:lnTo>
                    <a:pt x="448025" y="540989"/>
                  </a:lnTo>
                  <a:lnTo>
                    <a:pt x="441929" y="542513"/>
                  </a:lnTo>
                  <a:lnTo>
                    <a:pt x="391637" y="559277"/>
                  </a:lnTo>
                  <a:lnTo>
                    <a:pt x="388589" y="560801"/>
                  </a:lnTo>
                  <a:lnTo>
                    <a:pt x="379445" y="563849"/>
                  </a:lnTo>
                  <a:lnTo>
                    <a:pt x="376397" y="565373"/>
                  </a:lnTo>
                  <a:lnTo>
                    <a:pt x="362681" y="569945"/>
                  </a:lnTo>
                  <a:lnTo>
                    <a:pt x="359633" y="571469"/>
                  </a:lnTo>
                  <a:lnTo>
                    <a:pt x="345917" y="576041"/>
                  </a:lnTo>
                  <a:lnTo>
                    <a:pt x="342869" y="577565"/>
                  </a:lnTo>
                  <a:lnTo>
                    <a:pt x="297179" y="592805"/>
                  </a:lnTo>
                  <a:lnTo>
                    <a:pt x="291083" y="594329"/>
                  </a:lnTo>
                  <a:lnTo>
                    <a:pt x="286511" y="595853"/>
                  </a:lnTo>
                  <a:lnTo>
                    <a:pt x="280415" y="597377"/>
                  </a:lnTo>
                  <a:lnTo>
                    <a:pt x="275843" y="598901"/>
                  </a:lnTo>
                  <a:lnTo>
                    <a:pt x="269747" y="600425"/>
                  </a:lnTo>
                  <a:lnTo>
                    <a:pt x="262127" y="601949"/>
                  </a:lnTo>
                  <a:lnTo>
                    <a:pt x="256031" y="603473"/>
                  </a:lnTo>
                  <a:lnTo>
                    <a:pt x="248411" y="604997"/>
                  </a:lnTo>
                  <a:lnTo>
                    <a:pt x="230123" y="608045"/>
                  </a:lnTo>
                  <a:lnTo>
                    <a:pt x="217931" y="609569"/>
                  </a:lnTo>
                  <a:lnTo>
                    <a:pt x="201167" y="611093"/>
                  </a:lnTo>
                  <a:lnTo>
                    <a:pt x="201167" y="612617"/>
                  </a:lnTo>
                  <a:lnTo>
                    <a:pt x="254508" y="609569"/>
                  </a:lnTo>
                  <a:lnTo>
                    <a:pt x="335280" y="586709"/>
                  </a:lnTo>
                  <a:lnTo>
                    <a:pt x="365729" y="574517"/>
                  </a:lnTo>
                  <a:lnTo>
                    <a:pt x="397733" y="562325"/>
                  </a:lnTo>
                  <a:lnTo>
                    <a:pt x="414497" y="557753"/>
                  </a:lnTo>
                  <a:lnTo>
                    <a:pt x="431261" y="551657"/>
                  </a:lnTo>
                  <a:lnTo>
                    <a:pt x="449549" y="545561"/>
                  </a:lnTo>
                  <a:lnTo>
                    <a:pt x="507461" y="531845"/>
                  </a:lnTo>
                  <a:lnTo>
                    <a:pt x="553181" y="524225"/>
                  </a:lnTo>
                  <a:lnTo>
                    <a:pt x="603473" y="519653"/>
                  </a:lnTo>
                  <a:lnTo>
                    <a:pt x="632399" y="518129"/>
                  </a:lnTo>
                  <a:lnTo>
                    <a:pt x="665927" y="518129"/>
                  </a:lnTo>
                  <a:lnTo>
                    <a:pt x="665927" y="465399"/>
                  </a:lnTo>
                  <a:close/>
                </a:path>
                <a:path w="772795" h="617219">
                  <a:moveTo>
                    <a:pt x="661355" y="466313"/>
                  </a:moveTo>
                  <a:lnTo>
                    <a:pt x="661354" y="470885"/>
                  </a:lnTo>
                  <a:lnTo>
                    <a:pt x="661355" y="466313"/>
                  </a:lnTo>
                  <a:close/>
                </a:path>
                <a:path w="772795" h="617219">
                  <a:moveTo>
                    <a:pt x="716219" y="412465"/>
                  </a:moveTo>
                  <a:lnTo>
                    <a:pt x="711647" y="412973"/>
                  </a:lnTo>
                  <a:lnTo>
                    <a:pt x="711646" y="463265"/>
                  </a:lnTo>
                  <a:lnTo>
                    <a:pt x="690310" y="463265"/>
                  </a:lnTo>
                  <a:lnTo>
                    <a:pt x="668974" y="464789"/>
                  </a:lnTo>
                  <a:lnTo>
                    <a:pt x="665927" y="465399"/>
                  </a:lnTo>
                  <a:lnTo>
                    <a:pt x="665927" y="470885"/>
                  </a:lnTo>
                  <a:lnTo>
                    <a:pt x="670499" y="470885"/>
                  </a:lnTo>
                  <a:lnTo>
                    <a:pt x="676595" y="469361"/>
                  </a:lnTo>
                  <a:lnTo>
                    <a:pt x="693359" y="469361"/>
                  </a:lnTo>
                  <a:lnTo>
                    <a:pt x="702503" y="467837"/>
                  </a:lnTo>
                  <a:lnTo>
                    <a:pt x="716219" y="467837"/>
                  </a:lnTo>
                  <a:lnTo>
                    <a:pt x="716219" y="412465"/>
                  </a:lnTo>
                  <a:close/>
                </a:path>
                <a:path w="772795" h="617219">
                  <a:moveTo>
                    <a:pt x="711647" y="412973"/>
                  </a:moveTo>
                  <a:lnTo>
                    <a:pt x="711646" y="417545"/>
                  </a:lnTo>
                  <a:lnTo>
                    <a:pt x="711647" y="412973"/>
                  </a:lnTo>
                  <a:close/>
                </a:path>
                <a:path w="772795" h="617219">
                  <a:moveTo>
                    <a:pt x="772607" y="4572"/>
                  </a:moveTo>
                  <a:lnTo>
                    <a:pt x="768034" y="406877"/>
                  </a:lnTo>
                  <a:lnTo>
                    <a:pt x="768034" y="411449"/>
                  </a:lnTo>
                  <a:lnTo>
                    <a:pt x="725362" y="411449"/>
                  </a:lnTo>
                  <a:lnTo>
                    <a:pt x="716219" y="412465"/>
                  </a:lnTo>
                  <a:lnTo>
                    <a:pt x="716219" y="417545"/>
                  </a:lnTo>
                  <a:lnTo>
                    <a:pt x="722315" y="417545"/>
                  </a:lnTo>
                  <a:lnTo>
                    <a:pt x="728411" y="416021"/>
                  </a:lnTo>
                  <a:lnTo>
                    <a:pt x="772607" y="416021"/>
                  </a:lnTo>
                  <a:lnTo>
                    <a:pt x="772607" y="4572"/>
                  </a:lnTo>
                  <a:close/>
                </a:path>
                <a:path w="772795" h="617219">
                  <a:moveTo>
                    <a:pt x="105156" y="51816"/>
                  </a:moveTo>
                  <a:lnTo>
                    <a:pt x="54864" y="51816"/>
                  </a:lnTo>
                  <a:lnTo>
                    <a:pt x="54864" y="108204"/>
                  </a:lnTo>
                  <a:lnTo>
                    <a:pt x="10668" y="108204"/>
                  </a:lnTo>
                  <a:lnTo>
                    <a:pt x="59435" y="108204"/>
                  </a:lnTo>
                  <a:lnTo>
                    <a:pt x="59435" y="56388"/>
                  </a:lnTo>
                  <a:lnTo>
                    <a:pt x="64011" y="56388"/>
                  </a:lnTo>
                  <a:lnTo>
                    <a:pt x="105156" y="52273"/>
                  </a:lnTo>
                  <a:lnTo>
                    <a:pt x="105156" y="51816"/>
                  </a:lnTo>
                  <a:close/>
                </a:path>
                <a:path w="772795" h="617219">
                  <a:moveTo>
                    <a:pt x="64008" y="56388"/>
                  </a:moveTo>
                  <a:close/>
                </a:path>
                <a:path w="772795" h="617219">
                  <a:moveTo>
                    <a:pt x="109727" y="51816"/>
                  </a:moveTo>
                  <a:lnTo>
                    <a:pt x="105156" y="52273"/>
                  </a:lnTo>
                  <a:lnTo>
                    <a:pt x="105156" y="56388"/>
                  </a:lnTo>
                  <a:lnTo>
                    <a:pt x="109727" y="56388"/>
                  </a:lnTo>
                  <a:lnTo>
                    <a:pt x="109727" y="51816"/>
                  </a:lnTo>
                  <a:close/>
                </a:path>
                <a:path w="772795" h="617219">
                  <a:moveTo>
                    <a:pt x="772607" y="0"/>
                  </a:moveTo>
                  <a:lnTo>
                    <a:pt x="105156" y="0"/>
                  </a:lnTo>
                  <a:lnTo>
                    <a:pt x="105156" y="52273"/>
                  </a:lnTo>
                  <a:lnTo>
                    <a:pt x="109727" y="51816"/>
                  </a:lnTo>
                  <a:lnTo>
                    <a:pt x="109727" y="4572"/>
                  </a:lnTo>
                  <a:lnTo>
                    <a:pt x="115824" y="4572"/>
                  </a:lnTo>
                  <a:lnTo>
                    <a:pt x="772607" y="4572"/>
                  </a:lnTo>
                  <a:lnTo>
                    <a:pt x="772607" y="0"/>
                  </a:lnTo>
                  <a:close/>
                </a:path>
                <a:path w="772795" h="617219">
                  <a:moveTo>
                    <a:pt x="115824" y="4572"/>
                  </a:moveTo>
                  <a:close/>
                </a:path>
                <a:path w="772795" h="617219">
                  <a:moveTo>
                    <a:pt x="772607" y="4572"/>
                  </a:moveTo>
                  <a:lnTo>
                    <a:pt x="115824" y="4572"/>
                  </a:lnTo>
                  <a:lnTo>
                    <a:pt x="772607" y="457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6792407" y="2088215"/>
              <a:ext cx="762000" cy="608965"/>
            </a:xfrm>
            <a:custGeom>
              <a:avLst/>
              <a:gdLst/>
              <a:ahLst/>
              <a:cxnLst/>
              <a:rect l="l" t="t" r="r" b="b"/>
              <a:pathLst>
                <a:path w="762000" h="608964">
                  <a:moveTo>
                    <a:pt x="655259" y="103632"/>
                  </a:moveTo>
                  <a:lnTo>
                    <a:pt x="0" y="103632"/>
                  </a:lnTo>
                  <a:lnTo>
                    <a:pt x="0" y="586709"/>
                  </a:lnTo>
                  <a:lnTo>
                    <a:pt x="57756" y="598640"/>
                  </a:lnTo>
                  <a:lnTo>
                    <a:pt x="108793" y="605676"/>
                  </a:lnTo>
                  <a:lnTo>
                    <a:pt x="154070" y="608387"/>
                  </a:lnTo>
                  <a:lnTo>
                    <a:pt x="194547" y="607342"/>
                  </a:lnTo>
                  <a:lnTo>
                    <a:pt x="264940" y="596259"/>
                  </a:lnTo>
                  <a:lnTo>
                    <a:pt x="327652" y="576982"/>
                  </a:lnTo>
                  <a:lnTo>
                    <a:pt x="390361" y="554063"/>
                  </a:lnTo>
                  <a:lnTo>
                    <a:pt x="424114" y="542661"/>
                  </a:lnTo>
                  <a:lnTo>
                    <a:pt x="460746" y="532055"/>
                  </a:lnTo>
                  <a:lnTo>
                    <a:pt x="501216" y="522816"/>
                  </a:lnTo>
                  <a:lnTo>
                    <a:pt x="546485" y="515511"/>
                  </a:lnTo>
                  <a:lnTo>
                    <a:pt x="597513" y="510711"/>
                  </a:lnTo>
                  <a:lnTo>
                    <a:pt x="655259" y="508985"/>
                  </a:lnTo>
                  <a:lnTo>
                    <a:pt x="655259" y="103632"/>
                  </a:lnTo>
                  <a:close/>
                </a:path>
                <a:path w="762000" h="608964">
                  <a:moveTo>
                    <a:pt x="705551" y="51816"/>
                  </a:moveTo>
                  <a:lnTo>
                    <a:pt x="53340" y="51816"/>
                  </a:lnTo>
                  <a:lnTo>
                    <a:pt x="53340" y="103632"/>
                  </a:lnTo>
                  <a:lnTo>
                    <a:pt x="655259" y="103632"/>
                  </a:lnTo>
                  <a:lnTo>
                    <a:pt x="655259" y="461741"/>
                  </a:lnTo>
                  <a:lnTo>
                    <a:pt x="659473" y="461265"/>
                  </a:lnTo>
                  <a:lnTo>
                    <a:pt x="670689" y="460217"/>
                  </a:lnTo>
                  <a:lnTo>
                    <a:pt x="686762" y="459169"/>
                  </a:lnTo>
                  <a:lnTo>
                    <a:pt x="705551" y="458693"/>
                  </a:lnTo>
                  <a:lnTo>
                    <a:pt x="705551" y="51816"/>
                  </a:lnTo>
                  <a:close/>
                </a:path>
                <a:path w="762000" h="608964">
                  <a:moveTo>
                    <a:pt x="761939" y="0"/>
                  </a:moveTo>
                  <a:lnTo>
                    <a:pt x="103632" y="0"/>
                  </a:lnTo>
                  <a:lnTo>
                    <a:pt x="103632" y="51816"/>
                  </a:lnTo>
                  <a:lnTo>
                    <a:pt x="705551" y="51816"/>
                  </a:lnTo>
                  <a:lnTo>
                    <a:pt x="705551" y="408401"/>
                  </a:lnTo>
                  <a:lnTo>
                    <a:pt x="722886" y="407639"/>
                  </a:lnTo>
                  <a:lnTo>
                    <a:pt x="740912" y="407115"/>
                  </a:lnTo>
                  <a:lnTo>
                    <a:pt x="761939" y="406877"/>
                  </a:lnTo>
                  <a:lnTo>
                    <a:pt x="761939" y="0"/>
                  </a:lnTo>
                  <a:close/>
                </a:path>
              </a:pathLst>
            </a:custGeom>
            <a:solidFill>
              <a:srgbClr val="FFFF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6786311" y="2083643"/>
              <a:ext cx="772795" cy="617220"/>
            </a:xfrm>
            <a:custGeom>
              <a:avLst/>
              <a:gdLst/>
              <a:ahLst/>
              <a:cxnLst/>
              <a:rect l="l" t="t" r="r" b="b"/>
              <a:pathLst>
                <a:path w="772795" h="617219">
                  <a:moveTo>
                    <a:pt x="54864" y="103632"/>
                  </a:moveTo>
                  <a:lnTo>
                    <a:pt x="0" y="103632"/>
                  </a:lnTo>
                  <a:lnTo>
                    <a:pt x="0" y="594329"/>
                  </a:lnTo>
                  <a:lnTo>
                    <a:pt x="62484" y="608045"/>
                  </a:lnTo>
                  <a:lnTo>
                    <a:pt x="88392" y="612617"/>
                  </a:lnTo>
                  <a:lnTo>
                    <a:pt x="114300" y="615635"/>
                  </a:lnTo>
                  <a:lnTo>
                    <a:pt x="137160" y="617159"/>
                  </a:lnTo>
                  <a:lnTo>
                    <a:pt x="201168" y="617159"/>
                  </a:lnTo>
                  <a:lnTo>
                    <a:pt x="219456" y="615635"/>
                  </a:lnTo>
                  <a:lnTo>
                    <a:pt x="237744" y="612617"/>
                  </a:lnTo>
                  <a:lnTo>
                    <a:pt x="254508" y="609569"/>
                  </a:lnTo>
                  <a:lnTo>
                    <a:pt x="260096" y="608045"/>
                  </a:lnTo>
                  <a:lnTo>
                    <a:pt x="138684" y="608045"/>
                  </a:lnTo>
                  <a:lnTo>
                    <a:pt x="64008" y="598901"/>
                  </a:lnTo>
                  <a:lnTo>
                    <a:pt x="36576" y="592805"/>
                  </a:lnTo>
                  <a:lnTo>
                    <a:pt x="28956" y="591281"/>
                  </a:lnTo>
                  <a:lnTo>
                    <a:pt x="10668" y="591281"/>
                  </a:lnTo>
                  <a:lnTo>
                    <a:pt x="6096" y="586709"/>
                  </a:lnTo>
                  <a:lnTo>
                    <a:pt x="10668" y="586709"/>
                  </a:lnTo>
                  <a:lnTo>
                    <a:pt x="10668" y="112776"/>
                  </a:lnTo>
                  <a:lnTo>
                    <a:pt x="6096" y="112776"/>
                  </a:lnTo>
                  <a:lnTo>
                    <a:pt x="10668" y="108204"/>
                  </a:lnTo>
                  <a:lnTo>
                    <a:pt x="54864" y="108204"/>
                  </a:lnTo>
                  <a:lnTo>
                    <a:pt x="54864" y="103632"/>
                  </a:lnTo>
                  <a:close/>
                </a:path>
                <a:path w="772795" h="617219">
                  <a:moveTo>
                    <a:pt x="656783" y="508985"/>
                  </a:moveTo>
                  <a:lnTo>
                    <a:pt x="630875" y="508985"/>
                  </a:lnTo>
                  <a:lnTo>
                    <a:pt x="577565" y="512033"/>
                  </a:lnTo>
                  <a:lnTo>
                    <a:pt x="551657" y="515081"/>
                  </a:lnTo>
                  <a:lnTo>
                    <a:pt x="528797" y="518129"/>
                  </a:lnTo>
                  <a:lnTo>
                    <a:pt x="505937" y="522701"/>
                  </a:lnTo>
                  <a:lnTo>
                    <a:pt x="486125" y="527273"/>
                  </a:lnTo>
                  <a:lnTo>
                    <a:pt x="464789" y="531845"/>
                  </a:lnTo>
                  <a:lnTo>
                    <a:pt x="446501" y="536417"/>
                  </a:lnTo>
                  <a:lnTo>
                    <a:pt x="428213" y="542513"/>
                  </a:lnTo>
                  <a:lnTo>
                    <a:pt x="394685" y="554705"/>
                  </a:lnTo>
                  <a:lnTo>
                    <a:pt x="362681" y="565373"/>
                  </a:lnTo>
                  <a:lnTo>
                    <a:pt x="301752" y="586709"/>
                  </a:lnTo>
                  <a:lnTo>
                    <a:pt x="252984" y="600425"/>
                  </a:lnTo>
                  <a:lnTo>
                    <a:pt x="179832" y="608045"/>
                  </a:lnTo>
                  <a:lnTo>
                    <a:pt x="260096" y="608045"/>
                  </a:lnTo>
                  <a:lnTo>
                    <a:pt x="271272" y="604997"/>
                  </a:lnTo>
                  <a:lnTo>
                    <a:pt x="335280" y="586709"/>
                  </a:lnTo>
                  <a:lnTo>
                    <a:pt x="365729" y="574517"/>
                  </a:lnTo>
                  <a:lnTo>
                    <a:pt x="397733" y="562325"/>
                  </a:lnTo>
                  <a:lnTo>
                    <a:pt x="414497" y="557753"/>
                  </a:lnTo>
                  <a:lnTo>
                    <a:pt x="431261" y="551657"/>
                  </a:lnTo>
                  <a:lnTo>
                    <a:pt x="449549" y="545561"/>
                  </a:lnTo>
                  <a:lnTo>
                    <a:pt x="507461" y="531845"/>
                  </a:lnTo>
                  <a:lnTo>
                    <a:pt x="577565" y="521177"/>
                  </a:lnTo>
                  <a:lnTo>
                    <a:pt x="632399" y="518129"/>
                  </a:lnTo>
                  <a:lnTo>
                    <a:pt x="665927" y="518129"/>
                  </a:lnTo>
                  <a:lnTo>
                    <a:pt x="665927" y="513557"/>
                  </a:lnTo>
                  <a:lnTo>
                    <a:pt x="656783" y="513557"/>
                  </a:lnTo>
                  <a:lnTo>
                    <a:pt x="656783" y="508985"/>
                  </a:lnTo>
                  <a:close/>
                </a:path>
                <a:path w="772795" h="617219">
                  <a:moveTo>
                    <a:pt x="6096" y="586709"/>
                  </a:moveTo>
                  <a:lnTo>
                    <a:pt x="10668" y="591281"/>
                  </a:lnTo>
                  <a:lnTo>
                    <a:pt x="10668" y="587623"/>
                  </a:lnTo>
                  <a:lnTo>
                    <a:pt x="6096" y="586709"/>
                  </a:lnTo>
                  <a:close/>
                </a:path>
                <a:path w="772795" h="617219">
                  <a:moveTo>
                    <a:pt x="10668" y="587623"/>
                  </a:moveTo>
                  <a:lnTo>
                    <a:pt x="10668" y="591281"/>
                  </a:lnTo>
                  <a:lnTo>
                    <a:pt x="28956" y="591281"/>
                  </a:lnTo>
                  <a:lnTo>
                    <a:pt x="10668" y="587623"/>
                  </a:lnTo>
                  <a:close/>
                </a:path>
                <a:path w="772795" h="617219">
                  <a:moveTo>
                    <a:pt x="10668" y="586709"/>
                  </a:moveTo>
                  <a:lnTo>
                    <a:pt x="6096" y="586709"/>
                  </a:lnTo>
                  <a:lnTo>
                    <a:pt x="10668" y="587623"/>
                  </a:lnTo>
                  <a:lnTo>
                    <a:pt x="10668" y="586709"/>
                  </a:lnTo>
                  <a:close/>
                </a:path>
                <a:path w="772795" h="617219">
                  <a:moveTo>
                    <a:pt x="656783" y="108204"/>
                  </a:moveTo>
                  <a:lnTo>
                    <a:pt x="656783" y="513557"/>
                  </a:lnTo>
                  <a:lnTo>
                    <a:pt x="661355" y="508985"/>
                  </a:lnTo>
                  <a:lnTo>
                    <a:pt x="665927" y="508985"/>
                  </a:lnTo>
                  <a:lnTo>
                    <a:pt x="665927" y="470885"/>
                  </a:lnTo>
                  <a:lnTo>
                    <a:pt x="661355" y="470885"/>
                  </a:lnTo>
                  <a:lnTo>
                    <a:pt x="661355" y="461741"/>
                  </a:lnTo>
                  <a:lnTo>
                    <a:pt x="665927" y="461741"/>
                  </a:lnTo>
                  <a:lnTo>
                    <a:pt x="665927" y="112776"/>
                  </a:lnTo>
                  <a:lnTo>
                    <a:pt x="661355" y="112776"/>
                  </a:lnTo>
                  <a:lnTo>
                    <a:pt x="656783" y="108204"/>
                  </a:lnTo>
                  <a:close/>
                </a:path>
                <a:path w="772795" h="617219">
                  <a:moveTo>
                    <a:pt x="665927" y="508985"/>
                  </a:moveTo>
                  <a:lnTo>
                    <a:pt x="661355" y="508985"/>
                  </a:lnTo>
                  <a:lnTo>
                    <a:pt x="656783" y="513557"/>
                  </a:lnTo>
                  <a:lnTo>
                    <a:pt x="665927" y="513557"/>
                  </a:lnTo>
                  <a:lnTo>
                    <a:pt x="665927" y="508985"/>
                  </a:lnTo>
                  <a:close/>
                </a:path>
                <a:path w="772795" h="617219">
                  <a:moveTo>
                    <a:pt x="665927" y="461741"/>
                  </a:moveTo>
                  <a:lnTo>
                    <a:pt x="661355" y="461741"/>
                  </a:lnTo>
                  <a:lnTo>
                    <a:pt x="661355" y="470885"/>
                  </a:lnTo>
                  <a:lnTo>
                    <a:pt x="665927" y="470885"/>
                  </a:lnTo>
                  <a:lnTo>
                    <a:pt x="665927" y="461741"/>
                  </a:lnTo>
                  <a:close/>
                </a:path>
                <a:path w="772795" h="617219">
                  <a:moveTo>
                    <a:pt x="705551" y="458693"/>
                  </a:moveTo>
                  <a:lnTo>
                    <a:pt x="691835" y="458693"/>
                  </a:lnTo>
                  <a:lnTo>
                    <a:pt x="684215" y="460217"/>
                  </a:lnTo>
                  <a:lnTo>
                    <a:pt x="670499" y="460217"/>
                  </a:lnTo>
                  <a:lnTo>
                    <a:pt x="665927" y="461741"/>
                  </a:lnTo>
                  <a:lnTo>
                    <a:pt x="665927" y="470885"/>
                  </a:lnTo>
                  <a:lnTo>
                    <a:pt x="670499" y="470885"/>
                  </a:lnTo>
                  <a:lnTo>
                    <a:pt x="676595" y="469361"/>
                  </a:lnTo>
                  <a:lnTo>
                    <a:pt x="693359" y="469361"/>
                  </a:lnTo>
                  <a:lnTo>
                    <a:pt x="702503" y="467837"/>
                  </a:lnTo>
                  <a:lnTo>
                    <a:pt x="716219" y="467837"/>
                  </a:lnTo>
                  <a:lnTo>
                    <a:pt x="716219" y="463265"/>
                  </a:lnTo>
                  <a:lnTo>
                    <a:pt x="705551" y="463265"/>
                  </a:lnTo>
                  <a:lnTo>
                    <a:pt x="705551" y="458693"/>
                  </a:lnTo>
                  <a:close/>
                </a:path>
                <a:path w="772795" h="617219">
                  <a:moveTo>
                    <a:pt x="705551" y="56388"/>
                  </a:moveTo>
                  <a:lnTo>
                    <a:pt x="705551" y="463265"/>
                  </a:lnTo>
                  <a:lnTo>
                    <a:pt x="710123" y="458693"/>
                  </a:lnTo>
                  <a:lnTo>
                    <a:pt x="716219" y="458693"/>
                  </a:lnTo>
                  <a:lnTo>
                    <a:pt x="716219" y="417545"/>
                  </a:lnTo>
                  <a:lnTo>
                    <a:pt x="711647" y="417545"/>
                  </a:lnTo>
                  <a:lnTo>
                    <a:pt x="711647" y="408401"/>
                  </a:lnTo>
                  <a:lnTo>
                    <a:pt x="716219" y="408401"/>
                  </a:lnTo>
                  <a:lnTo>
                    <a:pt x="716219" y="60960"/>
                  </a:lnTo>
                  <a:lnTo>
                    <a:pt x="711647" y="60960"/>
                  </a:lnTo>
                  <a:lnTo>
                    <a:pt x="705551" y="56388"/>
                  </a:lnTo>
                  <a:close/>
                </a:path>
                <a:path w="772795" h="617219">
                  <a:moveTo>
                    <a:pt x="716219" y="458693"/>
                  </a:moveTo>
                  <a:lnTo>
                    <a:pt x="710123" y="458693"/>
                  </a:lnTo>
                  <a:lnTo>
                    <a:pt x="705551" y="463265"/>
                  </a:lnTo>
                  <a:lnTo>
                    <a:pt x="716219" y="463265"/>
                  </a:lnTo>
                  <a:lnTo>
                    <a:pt x="716219" y="458693"/>
                  </a:lnTo>
                  <a:close/>
                </a:path>
                <a:path w="772795" h="617219">
                  <a:moveTo>
                    <a:pt x="716219" y="408401"/>
                  </a:moveTo>
                  <a:lnTo>
                    <a:pt x="711647" y="408401"/>
                  </a:lnTo>
                  <a:lnTo>
                    <a:pt x="711647" y="417545"/>
                  </a:lnTo>
                  <a:lnTo>
                    <a:pt x="716219" y="417545"/>
                  </a:lnTo>
                  <a:lnTo>
                    <a:pt x="716219" y="408401"/>
                  </a:lnTo>
                  <a:close/>
                </a:path>
                <a:path w="772795" h="617219">
                  <a:moveTo>
                    <a:pt x="761939" y="406877"/>
                  </a:moveTo>
                  <a:lnTo>
                    <a:pt x="720791" y="406877"/>
                  </a:lnTo>
                  <a:lnTo>
                    <a:pt x="716219" y="408401"/>
                  </a:lnTo>
                  <a:lnTo>
                    <a:pt x="716219" y="417545"/>
                  </a:lnTo>
                  <a:lnTo>
                    <a:pt x="722315" y="417545"/>
                  </a:lnTo>
                  <a:lnTo>
                    <a:pt x="728411" y="416021"/>
                  </a:lnTo>
                  <a:lnTo>
                    <a:pt x="772607" y="416021"/>
                  </a:lnTo>
                  <a:lnTo>
                    <a:pt x="772607" y="411449"/>
                  </a:lnTo>
                  <a:lnTo>
                    <a:pt x="761939" y="411449"/>
                  </a:lnTo>
                  <a:lnTo>
                    <a:pt x="761939" y="406877"/>
                  </a:lnTo>
                  <a:close/>
                </a:path>
                <a:path w="772795" h="617219">
                  <a:moveTo>
                    <a:pt x="761939" y="4572"/>
                  </a:moveTo>
                  <a:lnTo>
                    <a:pt x="761939" y="411449"/>
                  </a:lnTo>
                  <a:lnTo>
                    <a:pt x="768035" y="406877"/>
                  </a:lnTo>
                  <a:lnTo>
                    <a:pt x="772607" y="406877"/>
                  </a:lnTo>
                  <a:lnTo>
                    <a:pt x="772607" y="9144"/>
                  </a:lnTo>
                  <a:lnTo>
                    <a:pt x="768035" y="9144"/>
                  </a:lnTo>
                  <a:lnTo>
                    <a:pt x="761939" y="4572"/>
                  </a:lnTo>
                  <a:close/>
                </a:path>
                <a:path w="772795" h="617219">
                  <a:moveTo>
                    <a:pt x="772607" y="406877"/>
                  </a:moveTo>
                  <a:lnTo>
                    <a:pt x="768035" y="406877"/>
                  </a:lnTo>
                  <a:lnTo>
                    <a:pt x="761939" y="411449"/>
                  </a:lnTo>
                  <a:lnTo>
                    <a:pt x="772607" y="411449"/>
                  </a:lnTo>
                  <a:lnTo>
                    <a:pt x="772607" y="406877"/>
                  </a:lnTo>
                  <a:close/>
                </a:path>
                <a:path w="772795" h="617219">
                  <a:moveTo>
                    <a:pt x="10668" y="108204"/>
                  </a:moveTo>
                  <a:lnTo>
                    <a:pt x="6096" y="112776"/>
                  </a:lnTo>
                  <a:lnTo>
                    <a:pt x="10668" y="112776"/>
                  </a:lnTo>
                  <a:lnTo>
                    <a:pt x="10668" y="108204"/>
                  </a:lnTo>
                  <a:close/>
                </a:path>
                <a:path w="772795" h="617219">
                  <a:moveTo>
                    <a:pt x="656783" y="108204"/>
                  </a:moveTo>
                  <a:lnTo>
                    <a:pt x="10668" y="108204"/>
                  </a:lnTo>
                  <a:lnTo>
                    <a:pt x="10668" y="112776"/>
                  </a:lnTo>
                  <a:lnTo>
                    <a:pt x="656783" y="112776"/>
                  </a:lnTo>
                  <a:lnTo>
                    <a:pt x="656783" y="108204"/>
                  </a:lnTo>
                  <a:close/>
                </a:path>
                <a:path w="772795" h="617219">
                  <a:moveTo>
                    <a:pt x="665927" y="103632"/>
                  </a:moveTo>
                  <a:lnTo>
                    <a:pt x="64008" y="103632"/>
                  </a:lnTo>
                  <a:lnTo>
                    <a:pt x="64008" y="108204"/>
                  </a:lnTo>
                  <a:lnTo>
                    <a:pt x="656783" y="108204"/>
                  </a:lnTo>
                  <a:lnTo>
                    <a:pt x="661355" y="112776"/>
                  </a:lnTo>
                  <a:lnTo>
                    <a:pt x="665927" y="112776"/>
                  </a:lnTo>
                  <a:lnTo>
                    <a:pt x="665927" y="103632"/>
                  </a:lnTo>
                  <a:close/>
                </a:path>
                <a:path w="772795" h="617219">
                  <a:moveTo>
                    <a:pt x="105156" y="51816"/>
                  </a:moveTo>
                  <a:lnTo>
                    <a:pt x="54864" y="51816"/>
                  </a:lnTo>
                  <a:lnTo>
                    <a:pt x="54864" y="108204"/>
                  </a:lnTo>
                  <a:lnTo>
                    <a:pt x="64008" y="108204"/>
                  </a:lnTo>
                  <a:lnTo>
                    <a:pt x="64008" y="60960"/>
                  </a:lnTo>
                  <a:lnTo>
                    <a:pt x="59436" y="60960"/>
                  </a:lnTo>
                  <a:lnTo>
                    <a:pt x="64008" y="56388"/>
                  </a:lnTo>
                  <a:lnTo>
                    <a:pt x="105156" y="56388"/>
                  </a:lnTo>
                  <a:lnTo>
                    <a:pt x="105156" y="51816"/>
                  </a:lnTo>
                  <a:close/>
                </a:path>
                <a:path w="772795" h="617219">
                  <a:moveTo>
                    <a:pt x="64008" y="56388"/>
                  </a:moveTo>
                  <a:lnTo>
                    <a:pt x="59436" y="60960"/>
                  </a:lnTo>
                  <a:lnTo>
                    <a:pt x="64008" y="60960"/>
                  </a:lnTo>
                  <a:lnTo>
                    <a:pt x="64008" y="56388"/>
                  </a:lnTo>
                  <a:close/>
                </a:path>
                <a:path w="772795" h="617219">
                  <a:moveTo>
                    <a:pt x="705551" y="56388"/>
                  </a:moveTo>
                  <a:lnTo>
                    <a:pt x="64008" y="56388"/>
                  </a:lnTo>
                  <a:lnTo>
                    <a:pt x="64008" y="60960"/>
                  </a:lnTo>
                  <a:lnTo>
                    <a:pt x="705551" y="60960"/>
                  </a:lnTo>
                  <a:lnTo>
                    <a:pt x="705551" y="56388"/>
                  </a:lnTo>
                  <a:close/>
                </a:path>
                <a:path w="772795" h="617219">
                  <a:moveTo>
                    <a:pt x="716219" y="51816"/>
                  </a:moveTo>
                  <a:lnTo>
                    <a:pt x="115824" y="51816"/>
                  </a:lnTo>
                  <a:lnTo>
                    <a:pt x="115824" y="56388"/>
                  </a:lnTo>
                  <a:lnTo>
                    <a:pt x="705551" y="56388"/>
                  </a:lnTo>
                  <a:lnTo>
                    <a:pt x="711647" y="60960"/>
                  </a:lnTo>
                  <a:lnTo>
                    <a:pt x="716219" y="60960"/>
                  </a:lnTo>
                  <a:lnTo>
                    <a:pt x="716219" y="51816"/>
                  </a:lnTo>
                  <a:close/>
                </a:path>
                <a:path w="772795" h="617219">
                  <a:moveTo>
                    <a:pt x="772607" y="0"/>
                  </a:moveTo>
                  <a:lnTo>
                    <a:pt x="105156" y="0"/>
                  </a:lnTo>
                  <a:lnTo>
                    <a:pt x="105156" y="56388"/>
                  </a:lnTo>
                  <a:lnTo>
                    <a:pt x="115824" y="56388"/>
                  </a:lnTo>
                  <a:lnTo>
                    <a:pt x="115824" y="9144"/>
                  </a:lnTo>
                  <a:lnTo>
                    <a:pt x="109728" y="9144"/>
                  </a:lnTo>
                  <a:lnTo>
                    <a:pt x="115824" y="4572"/>
                  </a:lnTo>
                  <a:lnTo>
                    <a:pt x="772607" y="4572"/>
                  </a:lnTo>
                  <a:lnTo>
                    <a:pt x="772607" y="0"/>
                  </a:lnTo>
                  <a:close/>
                </a:path>
                <a:path w="772795" h="617219">
                  <a:moveTo>
                    <a:pt x="115824" y="4572"/>
                  </a:moveTo>
                  <a:lnTo>
                    <a:pt x="109728" y="9144"/>
                  </a:lnTo>
                  <a:lnTo>
                    <a:pt x="115824" y="9144"/>
                  </a:lnTo>
                  <a:lnTo>
                    <a:pt x="115824" y="4572"/>
                  </a:lnTo>
                  <a:close/>
                </a:path>
                <a:path w="772795" h="617219">
                  <a:moveTo>
                    <a:pt x="761939" y="4572"/>
                  </a:moveTo>
                  <a:lnTo>
                    <a:pt x="115824" y="4572"/>
                  </a:lnTo>
                  <a:lnTo>
                    <a:pt x="115824" y="9144"/>
                  </a:lnTo>
                  <a:lnTo>
                    <a:pt x="761939" y="9144"/>
                  </a:lnTo>
                  <a:lnTo>
                    <a:pt x="761939" y="4572"/>
                  </a:lnTo>
                  <a:close/>
                </a:path>
                <a:path w="772795" h="617219">
                  <a:moveTo>
                    <a:pt x="772607" y="4572"/>
                  </a:moveTo>
                  <a:lnTo>
                    <a:pt x="761939" y="4572"/>
                  </a:lnTo>
                  <a:lnTo>
                    <a:pt x="768035" y="9144"/>
                  </a:lnTo>
                  <a:lnTo>
                    <a:pt x="772607" y="9144"/>
                  </a:lnTo>
                  <a:lnTo>
                    <a:pt x="772607" y="457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7" name="object 27"/>
          <p:cNvSpPr txBox="1"/>
          <p:nvPr/>
        </p:nvSpPr>
        <p:spPr>
          <a:xfrm>
            <a:off x="6945826" y="2310187"/>
            <a:ext cx="343535" cy="32956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62865" marR="5080" indent="-50800">
              <a:lnSpc>
                <a:spcPct val="100000"/>
              </a:lnSpc>
              <a:spcBef>
                <a:spcPts val="95"/>
              </a:spcBef>
            </a:pPr>
            <a:r>
              <a:rPr sz="1000" spc="-5" dirty="0">
                <a:latin typeface="Liberation Sans Narrow"/>
                <a:cs typeface="Liberation Sans Narrow"/>
              </a:rPr>
              <a:t>Ma</a:t>
            </a:r>
            <a:r>
              <a:rPr sz="1000" spc="-10" dirty="0">
                <a:latin typeface="Liberation Sans Narrow"/>
                <a:cs typeface="Liberation Sans Narrow"/>
              </a:rPr>
              <a:t>s</a:t>
            </a:r>
            <a:r>
              <a:rPr sz="1000" spc="-5" dirty="0">
                <a:latin typeface="Liberation Sans Narrow"/>
                <a:cs typeface="Liberation Sans Narrow"/>
              </a:rPr>
              <a:t>ter  Data</a:t>
            </a:r>
            <a:endParaRPr sz="1000">
              <a:latin typeface="Liberation Sans Narrow"/>
              <a:cs typeface="Liberation Sans Narrow"/>
            </a:endParaRPr>
          </a:p>
        </p:txBody>
      </p:sp>
      <p:grpSp>
        <p:nvGrpSpPr>
          <p:cNvPr id="28" name="object 28"/>
          <p:cNvGrpSpPr/>
          <p:nvPr/>
        </p:nvGrpSpPr>
        <p:grpSpPr>
          <a:xfrm>
            <a:off x="4049450" y="2760238"/>
            <a:ext cx="3468370" cy="1132840"/>
            <a:chOff x="4049450" y="2760238"/>
            <a:chExt cx="3468370" cy="1132840"/>
          </a:xfrm>
        </p:grpSpPr>
        <p:sp>
          <p:nvSpPr>
            <p:cNvPr id="29" name="object 29"/>
            <p:cNvSpPr/>
            <p:nvPr/>
          </p:nvSpPr>
          <p:spPr>
            <a:xfrm>
              <a:off x="5178643" y="3371331"/>
              <a:ext cx="635635" cy="381000"/>
            </a:xfrm>
            <a:custGeom>
              <a:avLst/>
              <a:gdLst/>
              <a:ahLst/>
              <a:cxnLst/>
              <a:rect l="l" t="t" r="r" b="b"/>
              <a:pathLst>
                <a:path w="635635" h="381000">
                  <a:moveTo>
                    <a:pt x="476981" y="0"/>
                  </a:moveTo>
                  <a:lnTo>
                    <a:pt x="476981" y="94457"/>
                  </a:lnTo>
                  <a:lnTo>
                    <a:pt x="0" y="94457"/>
                  </a:lnTo>
                  <a:lnTo>
                    <a:pt x="0" y="284957"/>
                  </a:lnTo>
                  <a:lnTo>
                    <a:pt x="476981" y="284957"/>
                  </a:lnTo>
                  <a:lnTo>
                    <a:pt x="476981" y="380969"/>
                  </a:lnTo>
                  <a:lnTo>
                    <a:pt x="635447" y="190469"/>
                  </a:lnTo>
                  <a:lnTo>
                    <a:pt x="476981" y="0"/>
                  </a:lnTo>
                  <a:close/>
                </a:path>
              </a:pathLst>
            </a:custGeom>
            <a:solidFill>
              <a:srgbClr val="3232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5166451" y="3336279"/>
              <a:ext cx="664845" cy="451484"/>
            </a:xfrm>
            <a:custGeom>
              <a:avLst/>
              <a:gdLst/>
              <a:ahLst/>
              <a:cxnLst/>
              <a:rect l="l" t="t" r="r" b="b"/>
              <a:pathLst>
                <a:path w="664845" h="451485">
                  <a:moveTo>
                    <a:pt x="475457" y="320009"/>
                  </a:moveTo>
                  <a:lnTo>
                    <a:pt x="475457" y="451073"/>
                  </a:lnTo>
                  <a:lnTo>
                    <a:pt x="504820" y="416021"/>
                  </a:lnTo>
                  <a:lnTo>
                    <a:pt x="501365" y="416021"/>
                  </a:lnTo>
                  <a:lnTo>
                    <a:pt x="478505" y="406877"/>
                  </a:lnTo>
                  <a:lnTo>
                    <a:pt x="501365" y="379396"/>
                  </a:lnTo>
                  <a:lnTo>
                    <a:pt x="501365" y="333725"/>
                  </a:lnTo>
                  <a:lnTo>
                    <a:pt x="489173" y="333725"/>
                  </a:lnTo>
                  <a:lnTo>
                    <a:pt x="475457" y="320009"/>
                  </a:lnTo>
                  <a:close/>
                </a:path>
                <a:path w="664845" h="451485">
                  <a:moveTo>
                    <a:pt x="501365" y="379396"/>
                  </a:moveTo>
                  <a:lnTo>
                    <a:pt x="478505" y="406877"/>
                  </a:lnTo>
                  <a:lnTo>
                    <a:pt x="501365" y="416021"/>
                  </a:lnTo>
                  <a:lnTo>
                    <a:pt x="501365" y="379396"/>
                  </a:lnTo>
                  <a:close/>
                </a:path>
                <a:path w="664845" h="451485">
                  <a:moveTo>
                    <a:pt x="629998" y="224760"/>
                  </a:moveTo>
                  <a:lnTo>
                    <a:pt x="501365" y="379396"/>
                  </a:lnTo>
                  <a:lnTo>
                    <a:pt x="501365" y="416021"/>
                  </a:lnTo>
                  <a:lnTo>
                    <a:pt x="504820" y="416021"/>
                  </a:lnTo>
                  <a:lnTo>
                    <a:pt x="658019" y="233141"/>
                  </a:lnTo>
                  <a:lnTo>
                    <a:pt x="636971" y="233141"/>
                  </a:lnTo>
                  <a:lnTo>
                    <a:pt x="629998" y="224760"/>
                  </a:lnTo>
                  <a:close/>
                </a:path>
                <a:path w="664845" h="451485">
                  <a:moveTo>
                    <a:pt x="475457" y="117317"/>
                  </a:moveTo>
                  <a:lnTo>
                    <a:pt x="0" y="117317"/>
                  </a:lnTo>
                  <a:lnTo>
                    <a:pt x="0" y="333725"/>
                  </a:lnTo>
                  <a:lnTo>
                    <a:pt x="475457" y="333725"/>
                  </a:lnTo>
                  <a:lnTo>
                    <a:pt x="475457" y="320009"/>
                  </a:lnTo>
                  <a:lnTo>
                    <a:pt x="25908" y="320009"/>
                  </a:lnTo>
                  <a:lnTo>
                    <a:pt x="12192" y="307817"/>
                  </a:lnTo>
                  <a:lnTo>
                    <a:pt x="25908" y="307817"/>
                  </a:lnTo>
                  <a:lnTo>
                    <a:pt x="25908" y="143225"/>
                  </a:lnTo>
                  <a:lnTo>
                    <a:pt x="12192" y="143225"/>
                  </a:lnTo>
                  <a:lnTo>
                    <a:pt x="25908" y="129509"/>
                  </a:lnTo>
                  <a:lnTo>
                    <a:pt x="475457" y="129509"/>
                  </a:lnTo>
                  <a:lnTo>
                    <a:pt x="475457" y="117317"/>
                  </a:lnTo>
                  <a:close/>
                </a:path>
                <a:path w="664845" h="451485">
                  <a:moveTo>
                    <a:pt x="501365" y="307817"/>
                  </a:moveTo>
                  <a:lnTo>
                    <a:pt x="25908" y="307817"/>
                  </a:lnTo>
                  <a:lnTo>
                    <a:pt x="25908" y="320009"/>
                  </a:lnTo>
                  <a:lnTo>
                    <a:pt x="475457" y="320009"/>
                  </a:lnTo>
                  <a:lnTo>
                    <a:pt x="489173" y="333725"/>
                  </a:lnTo>
                  <a:lnTo>
                    <a:pt x="501365" y="333725"/>
                  </a:lnTo>
                  <a:lnTo>
                    <a:pt x="501365" y="307817"/>
                  </a:lnTo>
                  <a:close/>
                </a:path>
                <a:path w="664845" h="451485">
                  <a:moveTo>
                    <a:pt x="25908" y="307817"/>
                  </a:moveTo>
                  <a:lnTo>
                    <a:pt x="12192" y="307817"/>
                  </a:lnTo>
                  <a:lnTo>
                    <a:pt x="25908" y="320009"/>
                  </a:lnTo>
                  <a:lnTo>
                    <a:pt x="25908" y="307817"/>
                  </a:lnTo>
                  <a:close/>
                </a:path>
                <a:path w="664845" h="451485">
                  <a:moveTo>
                    <a:pt x="636971" y="216377"/>
                  </a:moveTo>
                  <a:lnTo>
                    <a:pt x="629998" y="224760"/>
                  </a:lnTo>
                  <a:lnTo>
                    <a:pt x="636971" y="233141"/>
                  </a:lnTo>
                  <a:lnTo>
                    <a:pt x="636971" y="216377"/>
                  </a:lnTo>
                  <a:close/>
                </a:path>
                <a:path w="664845" h="451485">
                  <a:moveTo>
                    <a:pt x="656742" y="216377"/>
                  </a:moveTo>
                  <a:lnTo>
                    <a:pt x="636971" y="216377"/>
                  </a:lnTo>
                  <a:lnTo>
                    <a:pt x="636971" y="233141"/>
                  </a:lnTo>
                  <a:lnTo>
                    <a:pt x="658019" y="233141"/>
                  </a:lnTo>
                  <a:lnTo>
                    <a:pt x="664403" y="225521"/>
                  </a:lnTo>
                  <a:lnTo>
                    <a:pt x="656742" y="216377"/>
                  </a:lnTo>
                  <a:close/>
                </a:path>
                <a:path w="664845" h="451485">
                  <a:moveTo>
                    <a:pt x="504824" y="35052"/>
                  </a:moveTo>
                  <a:lnTo>
                    <a:pt x="501365" y="35052"/>
                  </a:lnTo>
                  <a:lnTo>
                    <a:pt x="501365" y="70148"/>
                  </a:lnTo>
                  <a:lnTo>
                    <a:pt x="629998" y="224760"/>
                  </a:lnTo>
                  <a:lnTo>
                    <a:pt x="636971" y="216377"/>
                  </a:lnTo>
                  <a:lnTo>
                    <a:pt x="656742" y="216377"/>
                  </a:lnTo>
                  <a:lnTo>
                    <a:pt x="504824" y="35052"/>
                  </a:lnTo>
                  <a:close/>
                </a:path>
                <a:path w="664845" h="451485">
                  <a:moveTo>
                    <a:pt x="25908" y="129509"/>
                  </a:moveTo>
                  <a:lnTo>
                    <a:pt x="12192" y="143225"/>
                  </a:lnTo>
                  <a:lnTo>
                    <a:pt x="25908" y="143225"/>
                  </a:lnTo>
                  <a:lnTo>
                    <a:pt x="25908" y="129509"/>
                  </a:lnTo>
                  <a:close/>
                </a:path>
                <a:path w="664845" h="451485">
                  <a:moveTo>
                    <a:pt x="501365" y="117317"/>
                  </a:moveTo>
                  <a:lnTo>
                    <a:pt x="489173" y="117317"/>
                  </a:lnTo>
                  <a:lnTo>
                    <a:pt x="475457" y="129509"/>
                  </a:lnTo>
                  <a:lnTo>
                    <a:pt x="25908" y="129509"/>
                  </a:lnTo>
                  <a:lnTo>
                    <a:pt x="25908" y="143225"/>
                  </a:lnTo>
                  <a:lnTo>
                    <a:pt x="501365" y="143225"/>
                  </a:lnTo>
                  <a:lnTo>
                    <a:pt x="501365" y="117317"/>
                  </a:lnTo>
                  <a:close/>
                </a:path>
                <a:path w="664845" h="451485">
                  <a:moveTo>
                    <a:pt x="475457" y="0"/>
                  </a:moveTo>
                  <a:lnTo>
                    <a:pt x="475457" y="129509"/>
                  </a:lnTo>
                  <a:lnTo>
                    <a:pt x="489173" y="117317"/>
                  </a:lnTo>
                  <a:lnTo>
                    <a:pt x="501365" y="117317"/>
                  </a:lnTo>
                  <a:lnTo>
                    <a:pt x="501365" y="70148"/>
                  </a:lnTo>
                  <a:lnTo>
                    <a:pt x="478505" y="42672"/>
                  </a:lnTo>
                  <a:lnTo>
                    <a:pt x="501365" y="35052"/>
                  </a:lnTo>
                  <a:lnTo>
                    <a:pt x="504824" y="35052"/>
                  </a:lnTo>
                  <a:lnTo>
                    <a:pt x="475457" y="0"/>
                  </a:lnTo>
                  <a:close/>
                </a:path>
                <a:path w="664845" h="451485">
                  <a:moveTo>
                    <a:pt x="501365" y="35052"/>
                  </a:moveTo>
                  <a:lnTo>
                    <a:pt x="478505" y="42672"/>
                  </a:lnTo>
                  <a:lnTo>
                    <a:pt x="501365" y="70148"/>
                  </a:lnTo>
                  <a:lnTo>
                    <a:pt x="501365" y="35052"/>
                  </a:lnTo>
                  <a:close/>
                </a:path>
              </a:pathLst>
            </a:custGeom>
            <a:solidFill>
              <a:srgbClr val="375D8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4061642" y="3371331"/>
              <a:ext cx="533400" cy="381000"/>
            </a:xfrm>
            <a:custGeom>
              <a:avLst/>
              <a:gdLst/>
              <a:ahLst/>
              <a:cxnLst/>
              <a:rect l="l" t="t" r="r" b="b"/>
              <a:pathLst>
                <a:path w="533400" h="381000">
                  <a:moveTo>
                    <a:pt x="399257" y="0"/>
                  </a:moveTo>
                  <a:lnTo>
                    <a:pt x="399257" y="94457"/>
                  </a:lnTo>
                  <a:lnTo>
                    <a:pt x="0" y="94457"/>
                  </a:lnTo>
                  <a:lnTo>
                    <a:pt x="0" y="284957"/>
                  </a:lnTo>
                  <a:lnTo>
                    <a:pt x="399257" y="284957"/>
                  </a:lnTo>
                  <a:lnTo>
                    <a:pt x="399257" y="380969"/>
                  </a:lnTo>
                  <a:lnTo>
                    <a:pt x="533339" y="190469"/>
                  </a:lnTo>
                  <a:lnTo>
                    <a:pt x="399257" y="0"/>
                  </a:lnTo>
                  <a:close/>
                </a:path>
              </a:pathLst>
            </a:custGeom>
            <a:solidFill>
              <a:srgbClr val="3232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4049450" y="3330183"/>
              <a:ext cx="561340" cy="462280"/>
            </a:xfrm>
            <a:custGeom>
              <a:avLst/>
              <a:gdLst/>
              <a:ahLst/>
              <a:cxnLst/>
              <a:rect l="l" t="t" r="r" b="b"/>
              <a:pathLst>
                <a:path w="561339" h="462279">
                  <a:moveTo>
                    <a:pt x="399257" y="326105"/>
                  </a:moveTo>
                  <a:lnTo>
                    <a:pt x="399257" y="461741"/>
                  </a:lnTo>
                  <a:lnTo>
                    <a:pt x="427067" y="422117"/>
                  </a:lnTo>
                  <a:lnTo>
                    <a:pt x="425165" y="422117"/>
                  </a:lnTo>
                  <a:lnTo>
                    <a:pt x="402305" y="414497"/>
                  </a:lnTo>
                  <a:lnTo>
                    <a:pt x="425165" y="381645"/>
                  </a:lnTo>
                  <a:lnTo>
                    <a:pt x="425165" y="339821"/>
                  </a:lnTo>
                  <a:lnTo>
                    <a:pt x="411449" y="339821"/>
                  </a:lnTo>
                  <a:lnTo>
                    <a:pt x="399257" y="326105"/>
                  </a:lnTo>
                  <a:close/>
                </a:path>
                <a:path w="561339" h="462279">
                  <a:moveTo>
                    <a:pt x="425165" y="381645"/>
                  </a:moveTo>
                  <a:lnTo>
                    <a:pt x="402305" y="414497"/>
                  </a:lnTo>
                  <a:lnTo>
                    <a:pt x="425165" y="422117"/>
                  </a:lnTo>
                  <a:lnTo>
                    <a:pt x="425165" y="381645"/>
                  </a:lnTo>
                  <a:close/>
                </a:path>
                <a:path w="561339" h="462279">
                  <a:moveTo>
                    <a:pt x="529560" y="231618"/>
                  </a:moveTo>
                  <a:lnTo>
                    <a:pt x="425165" y="381645"/>
                  </a:lnTo>
                  <a:lnTo>
                    <a:pt x="425165" y="422117"/>
                  </a:lnTo>
                  <a:lnTo>
                    <a:pt x="427067" y="422117"/>
                  </a:lnTo>
                  <a:lnTo>
                    <a:pt x="555422" y="239237"/>
                  </a:lnTo>
                  <a:lnTo>
                    <a:pt x="534863" y="239237"/>
                  </a:lnTo>
                  <a:lnTo>
                    <a:pt x="529560" y="231618"/>
                  </a:lnTo>
                  <a:close/>
                </a:path>
                <a:path w="561339" h="462279">
                  <a:moveTo>
                    <a:pt x="399257" y="123413"/>
                  </a:moveTo>
                  <a:lnTo>
                    <a:pt x="0" y="123413"/>
                  </a:lnTo>
                  <a:lnTo>
                    <a:pt x="0" y="339821"/>
                  </a:lnTo>
                  <a:lnTo>
                    <a:pt x="399257" y="339821"/>
                  </a:lnTo>
                  <a:lnTo>
                    <a:pt x="399257" y="326105"/>
                  </a:lnTo>
                  <a:lnTo>
                    <a:pt x="24384" y="326105"/>
                  </a:lnTo>
                  <a:lnTo>
                    <a:pt x="12192" y="313913"/>
                  </a:lnTo>
                  <a:lnTo>
                    <a:pt x="24384" y="313913"/>
                  </a:lnTo>
                  <a:lnTo>
                    <a:pt x="24384" y="149321"/>
                  </a:lnTo>
                  <a:lnTo>
                    <a:pt x="12192" y="149321"/>
                  </a:lnTo>
                  <a:lnTo>
                    <a:pt x="24384" y="135605"/>
                  </a:lnTo>
                  <a:lnTo>
                    <a:pt x="399257" y="135605"/>
                  </a:lnTo>
                  <a:lnTo>
                    <a:pt x="399257" y="123413"/>
                  </a:lnTo>
                  <a:close/>
                </a:path>
                <a:path w="561339" h="462279">
                  <a:moveTo>
                    <a:pt x="425165" y="313913"/>
                  </a:moveTo>
                  <a:lnTo>
                    <a:pt x="24384" y="313913"/>
                  </a:lnTo>
                  <a:lnTo>
                    <a:pt x="24384" y="326105"/>
                  </a:lnTo>
                  <a:lnTo>
                    <a:pt x="399257" y="326105"/>
                  </a:lnTo>
                  <a:lnTo>
                    <a:pt x="411449" y="339821"/>
                  </a:lnTo>
                  <a:lnTo>
                    <a:pt x="425165" y="339821"/>
                  </a:lnTo>
                  <a:lnTo>
                    <a:pt x="425165" y="313913"/>
                  </a:lnTo>
                  <a:close/>
                </a:path>
                <a:path w="561339" h="462279">
                  <a:moveTo>
                    <a:pt x="24384" y="313913"/>
                  </a:moveTo>
                  <a:lnTo>
                    <a:pt x="12192" y="313913"/>
                  </a:lnTo>
                  <a:lnTo>
                    <a:pt x="24384" y="326105"/>
                  </a:lnTo>
                  <a:lnTo>
                    <a:pt x="24384" y="313913"/>
                  </a:lnTo>
                  <a:close/>
                </a:path>
                <a:path w="561339" h="462279">
                  <a:moveTo>
                    <a:pt x="534863" y="223997"/>
                  </a:moveTo>
                  <a:lnTo>
                    <a:pt x="529560" y="231618"/>
                  </a:lnTo>
                  <a:lnTo>
                    <a:pt x="534863" y="239237"/>
                  </a:lnTo>
                  <a:lnTo>
                    <a:pt x="534863" y="223997"/>
                  </a:lnTo>
                  <a:close/>
                </a:path>
                <a:path w="561339" h="462279">
                  <a:moveTo>
                    <a:pt x="555457" y="223997"/>
                  </a:moveTo>
                  <a:lnTo>
                    <a:pt x="534863" y="223997"/>
                  </a:lnTo>
                  <a:lnTo>
                    <a:pt x="534863" y="239237"/>
                  </a:lnTo>
                  <a:lnTo>
                    <a:pt x="555422" y="239237"/>
                  </a:lnTo>
                  <a:lnTo>
                    <a:pt x="560771" y="231617"/>
                  </a:lnTo>
                  <a:lnTo>
                    <a:pt x="555457" y="223997"/>
                  </a:lnTo>
                  <a:close/>
                </a:path>
                <a:path w="561339" h="462279">
                  <a:moveTo>
                    <a:pt x="427951" y="41148"/>
                  </a:moveTo>
                  <a:lnTo>
                    <a:pt x="425165" y="41148"/>
                  </a:lnTo>
                  <a:lnTo>
                    <a:pt x="425165" y="81615"/>
                  </a:lnTo>
                  <a:lnTo>
                    <a:pt x="529560" y="231618"/>
                  </a:lnTo>
                  <a:lnTo>
                    <a:pt x="534863" y="223997"/>
                  </a:lnTo>
                  <a:lnTo>
                    <a:pt x="555457" y="223997"/>
                  </a:lnTo>
                  <a:lnTo>
                    <a:pt x="427951" y="41148"/>
                  </a:lnTo>
                  <a:close/>
                </a:path>
                <a:path w="561339" h="462279">
                  <a:moveTo>
                    <a:pt x="24384" y="135605"/>
                  </a:moveTo>
                  <a:lnTo>
                    <a:pt x="12192" y="149321"/>
                  </a:lnTo>
                  <a:lnTo>
                    <a:pt x="24384" y="149321"/>
                  </a:lnTo>
                  <a:lnTo>
                    <a:pt x="24384" y="135605"/>
                  </a:lnTo>
                  <a:close/>
                </a:path>
                <a:path w="561339" h="462279">
                  <a:moveTo>
                    <a:pt x="425165" y="123413"/>
                  </a:moveTo>
                  <a:lnTo>
                    <a:pt x="411449" y="123413"/>
                  </a:lnTo>
                  <a:lnTo>
                    <a:pt x="399257" y="135605"/>
                  </a:lnTo>
                  <a:lnTo>
                    <a:pt x="24384" y="135605"/>
                  </a:lnTo>
                  <a:lnTo>
                    <a:pt x="24384" y="149321"/>
                  </a:lnTo>
                  <a:lnTo>
                    <a:pt x="425165" y="149321"/>
                  </a:lnTo>
                  <a:lnTo>
                    <a:pt x="425165" y="123413"/>
                  </a:lnTo>
                  <a:close/>
                </a:path>
                <a:path w="561339" h="462279">
                  <a:moveTo>
                    <a:pt x="399257" y="0"/>
                  </a:moveTo>
                  <a:lnTo>
                    <a:pt x="399257" y="135605"/>
                  </a:lnTo>
                  <a:lnTo>
                    <a:pt x="411449" y="123413"/>
                  </a:lnTo>
                  <a:lnTo>
                    <a:pt x="425165" y="123413"/>
                  </a:lnTo>
                  <a:lnTo>
                    <a:pt x="425165" y="81615"/>
                  </a:lnTo>
                  <a:lnTo>
                    <a:pt x="402305" y="48768"/>
                  </a:lnTo>
                  <a:lnTo>
                    <a:pt x="425165" y="41148"/>
                  </a:lnTo>
                  <a:lnTo>
                    <a:pt x="427951" y="41148"/>
                  </a:lnTo>
                  <a:lnTo>
                    <a:pt x="399257" y="0"/>
                  </a:lnTo>
                  <a:close/>
                </a:path>
                <a:path w="561339" h="462279">
                  <a:moveTo>
                    <a:pt x="425165" y="41148"/>
                  </a:moveTo>
                  <a:lnTo>
                    <a:pt x="402305" y="48768"/>
                  </a:lnTo>
                  <a:lnTo>
                    <a:pt x="425165" y="81615"/>
                  </a:lnTo>
                  <a:lnTo>
                    <a:pt x="425165" y="41148"/>
                  </a:lnTo>
                  <a:close/>
                </a:path>
              </a:pathLst>
            </a:custGeom>
            <a:solidFill>
              <a:srgbClr val="375D8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6982906" y="2773954"/>
              <a:ext cx="457200" cy="304800"/>
            </a:xfrm>
            <a:custGeom>
              <a:avLst/>
              <a:gdLst/>
              <a:ahLst/>
              <a:cxnLst/>
              <a:rect l="l" t="t" r="r" b="b"/>
              <a:pathLst>
                <a:path w="457200" h="304800">
                  <a:moveTo>
                    <a:pt x="228569" y="0"/>
                  </a:moveTo>
                  <a:lnTo>
                    <a:pt x="0" y="76199"/>
                  </a:lnTo>
                  <a:lnTo>
                    <a:pt x="114299" y="76199"/>
                  </a:lnTo>
                  <a:lnTo>
                    <a:pt x="114299" y="304799"/>
                  </a:lnTo>
                  <a:lnTo>
                    <a:pt x="342869" y="304799"/>
                  </a:lnTo>
                  <a:lnTo>
                    <a:pt x="342869" y="76199"/>
                  </a:lnTo>
                  <a:lnTo>
                    <a:pt x="457139" y="76199"/>
                  </a:lnTo>
                  <a:lnTo>
                    <a:pt x="228569" y="0"/>
                  </a:lnTo>
                  <a:close/>
                </a:path>
              </a:pathLst>
            </a:custGeom>
            <a:solidFill>
              <a:srgbClr val="3232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6903659" y="2760238"/>
              <a:ext cx="614680" cy="330835"/>
            </a:xfrm>
            <a:custGeom>
              <a:avLst/>
              <a:gdLst/>
              <a:ahLst/>
              <a:cxnLst/>
              <a:rect l="l" t="t" r="r" b="b"/>
              <a:pathLst>
                <a:path w="614679" h="330835">
                  <a:moveTo>
                    <a:pt x="179832" y="89916"/>
                  </a:moveTo>
                  <a:lnTo>
                    <a:pt x="179832" y="330708"/>
                  </a:lnTo>
                  <a:lnTo>
                    <a:pt x="434309" y="330708"/>
                  </a:lnTo>
                  <a:lnTo>
                    <a:pt x="434309" y="318516"/>
                  </a:lnTo>
                  <a:lnTo>
                    <a:pt x="205740" y="318516"/>
                  </a:lnTo>
                  <a:lnTo>
                    <a:pt x="193548" y="306324"/>
                  </a:lnTo>
                  <a:lnTo>
                    <a:pt x="205740" y="306324"/>
                  </a:lnTo>
                  <a:lnTo>
                    <a:pt x="205740" y="102108"/>
                  </a:lnTo>
                  <a:lnTo>
                    <a:pt x="193548" y="102108"/>
                  </a:lnTo>
                  <a:lnTo>
                    <a:pt x="179832" y="89916"/>
                  </a:lnTo>
                  <a:close/>
                </a:path>
                <a:path w="614679" h="330835">
                  <a:moveTo>
                    <a:pt x="205740" y="306324"/>
                  </a:moveTo>
                  <a:lnTo>
                    <a:pt x="193548" y="306324"/>
                  </a:lnTo>
                  <a:lnTo>
                    <a:pt x="205740" y="318516"/>
                  </a:lnTo>
                  <a:lnTo>
                    <a:pt x="205740" y="306324"/>
                  </a:lnTo>
                  <a:close/>
                </a:path>
                <a:path w="614679" h="330835">
                  <a:moveTo>
                    <a:pt x="408401" y="306324"/>
                  </a:moveTo>
                  <a:lnTo>
                    <a:pt x="205740" y="306324"/>
                  </a:lnTo>
                  <a:lnTo>
                    <a:pt x="205740" y="318516"/>
                  </a:lnTo>
                  <a:lnTo>
                    <a:pt x="408401" y="318516"/>
                  </a:lnTo>
                  <a:lnTo>
                    <a:pt x="408401" y="306324"/>
                  </a:lnTo>
                  <a:close/>
                </a:path>
                <a:path w="614679" h="330835">
                  <a:moveTo>
                    <a:pt x="458672" y="77724"/>
                  </a:moveTo>
                  <a:lnTo>
                    <a:pt x="408401" y="77724"/>
                  </a:lnTo>
                  <a:lnTo>
                    <a:pt x="408401" y="318516"/>
                  </a:lnTo>
                  <a:lnTo>
                    <a:pt x="422117" y="306324"/>
                  </a:lnTo>
                  <a:lnTo>
                    <a:pt x="434309" y="306324"/>
                  </a:lnTo>
                  <a:lnTo>
                    <a:pt x="434309" y="102108"/>
                  </a:lnTo>
                  <a:lnTo>
                    <a:pt x="422117" y="102108"/>
                  </a:lnTo>
                  <a:lnTo>
                    <a:pt x="434309" y="89916"/>
                  </a:lnTo>
                  <a:lnTo>
                    <a:pt x="495243" y="89916"/>
                  </a:lnTo>
                  <a:lnTo>
                    <a:pt x="458672" y="77724"/>
                  </a:lnTo>
                  <a:close/>
                </a:path>
                <a:path w="614679" h="330835">
                  <a:moveTo>
                    <a:pt x="434309" y="306324"/>
                  </a:moveTo>
                  <a:lnTo>
                    <a:pt x="422117" y="306324"/>
                  </a:lnTo>
                  <a:lnTo>
                    <a:pt x="408401" y="318516"/>
                  </a:lnTo>
                  <a:lnTo>
                    <a:pt x="434309" y="318516"/>
                  </a:lnTo>
                  <a:lnTo>
                    <a:pt x="434309" y="306324"/>
                  </a:lnTo>
                  <a:close/>
                </a:path>
                <a:path w="614679" h="330835">
                  <a:moveTo>
                    <a:pt x="307817" y="0"/>
                  </a:moveTo>
                  <a:lnTo>
                    <a:pt x="0" y="102108"/>
                  </a:lnTo>
                  <a:lnTo>
                    <a:pt x="82296" y="102108"/>
                  </a:lnTo>
                  <a:lnTo>
                    <a:pt x="79248" y="77724"/>
                  </a:lnTo>
                  <a:lnTo>
                    <a:pt x="155438" y="77724"/>
                  </a:lnTo>
                  <a:lnTo>
                    <a:pt x="307055" y="27178"/>
                  </a:lnTo>
                  <a:lnTo>
                    <a:pt x="303245" y="25908"/>
                  </a:lnTo>
                  <a:lnTo>
                    <a:pt x="385533" y="25908"/>
                  </a:lnTo>
                  <a:lnTo>
                    <a:pt x="307817" y="0"/>
                  </a:lnTo>
                  <a:close/>
                </a:path>
                <a:path w="614679" h="330835">
                  <a:moveTo>
                    <a:pt x="155438" y="77724"/>
                  </a:moveTo>
                  <a:lnTo>
                    <a:pt x="79248" y="77724"/>
                  </a:lnTo>
                  <a:lnTo>
                    <a:pt x="82296" y="102108"/>
                  </a:lnTo>
                  <a:lnTo>
                    <a:pt x="155438" y="77724"/>
                  </a:lnTo>
                  <a:close/>
                </a:path>
                <a:path w="614679" h="330835">
                  <a:moveTo>
                    <a:pt x="205740" y="77724"/>
                  </a:moveTo>
                  <a:lnTo>
                    <a:pt x="155438" y="77724"/>
                  </a:lnTo>
                  <a:lnTo>
                    <a:pt x="82296" y="102108"/>
                  </a:lnTo>
                  <a:lnTo>
                    <a:pt x="179832" y="102108"/>
                  </a:lnTo>
                  <a:lnTo>
                    <a:pt x="179832" y="89916"/>
                  </a:lnTo>
                  <a:lnTo>
                    <a:pt x="205740" y="89916"/>
                  </a:lnTo>
                  <a:lnTo>
                    <a:pt x="205740" y="77724"/>
                  </a:lnTo>
                  <a:close/>
                </a:path>
                <a:path w="614679" h="330835">
                  <a:moveTo>
                    <a:pt x="205740" y="89916"/>
                  </a:moveTo>
                  <a:lnTo>
                    <a:pt x="179832" y="89916"/>
                  </a:lnTo>
                  <a:lnTo>
                    <a:pt x="193548" y="102108"/>
                  </a:lnTo>
                  <a:lnTo>
                    <a:pt x="205740" y="102108"/>
                  </a:lnTo>
                  <a:lnTo>
                    <a:pt x="205740" y="89916"/>
                  </a:lnTo>
                  <a:close/>
                </a:path>
                <a:path w="614679" h="330835">
                  <a:moveTo>
                    <a:pt x="434309" y="89916"/>
                  </a:moveTo>
                  <a:lnTo>
                    <a:pt x="422117" y="102108"/>
                  </a:lnTo>
                  <a:lnTo>
                    <a:pt x="434309" y="102108"/>
                  </a:lnTo>
                  <a:lnTo>
                    <a:pt x="434309" y="89916"/>
                  </a:lnTo>
                  <a:close/>
                </a:path>
                <a:path w="614679" h="330835">
                  <a:moveTo>
                    <a:pt x="495243" y="89916"/>
                  </a:moveTo>
                  <a:lnTo>
                    <a:pt x="434309" y="89916"/>
                  </a:lnTo>
                  <a:lnTo>
                    <a:pt x="434309" y="102108"/>
                  </a:lnTo>
                  <a:lnTo>
                    <a:pt x="531815" y="102108"/>
                  </a:lnTo>
                  <a:lnTo>
                    <a:pt x="495243" y="89916"/>
                  </a:lnTo>
                  <a:close/>
                </a:path>
                <a:path w="614679" h="330835">
                  <a:moveTo>
                    <a:pt x="385533" y="25908"/>
                  </a:moveTo>
                  <a:lnTo>
                    <a:pt x="310865" y="25908"/>
                  </a:lnTo>
                  <a:lnTo>
                    <a:pt x="307055" y="27178"/>
                  </a:lnTo>
                  <a:lnTo>
                    <a:pt x="531815" y="102108"/>
                  </a:lnTo>
                  <a:lnTo>
                    <a:pt x="536387" y="77724"/>
                  </a:lnTo>
                  <a:lnTo>
                    <a:pt x="540966" y="77724"/>
                  </a:lnTo>
                  <a:lnTo>
                    <a:pt x="385533" y="25908"/>
                  </a:lnTo>
                  <a:close/>
                </a:path>
                <a:path w="614679" h="330835">
                  <a:moveTo>
                    <a:pt x="540966" y="77724"/>
                  </a:moveTo>
                  <a:lnTo>
                    <a:pt x="536387" y="77724"/>
                  </a:lnTo>
                  <a:lnTo>
                    <a:pt x="531815" y="102108"/>
                  </a:lnTo>
                  <a:lnTo>
                    <a:pt x="614111" y="102108"/>
                  </a:lnTo>
                  <a:lnTo>
                    <a:pt x="540966" y="77724"/>
                  </a:lnTo>
                  <a:close/>
                </a:path>
                <a:path w="614679" h="330835">
                  <a:moveTo>
                    <a:pt x="310865" y="25908"/>
                  </a:moveTo>
                  <a:lnTo>
                    <a:pt x="303245" y="25908"/>
                  </a:lnTo>
                  <a:lnTo>
                    <a:pt x="307055" y="27178"/>
                  </a:lnTo>
                  <a:lnTo>
                    <a:pt x="310865" y="25908"/>
                  </a:lnTo>
                  <a:close/>
                </a:path>
              </a:pathLst>
            </a:custGeom>
            <a:solidFill>
              <a:srgbClr val="375D8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6248400" y="3561801"/>
              <a:ext cx="571500" cy="330835"/>
            </a:xfrm>
            <a:custGeom>
              <a:avLst/>
              <a:gdLst/>
              <a:ahLst/>
              <a:cxnLst/>
              <a:rect l="l" t="t" r="r" b="b"/>
              <a:pathLst>
                <a:path w="571500" h="330835">
                  <a:moveTo>
                    <a:pt x="0" y="0"/>
                  </a:moveTo>
                  <a:lnTo>
                    <a:pt x="0" y="330677"/>
                  </a:lnTo>
                  <a:lnTo>
                    <a:pt x="571439" y="330677"/>
                  </a:lnTo>
                  <a:lnTo>
                    <a:pt x="571439" y="50292"/>
                  </a:lnTo>
                  <a:lnTo>
                    <a:pt x="286481" y="50292"/>
                  </a:lnTo>
                  <a:lnTo>
                    <a:pt x="210237" y="48471"/>
                  </a:lnTo>
                  <a:lnTo>
                    <a:pt x="141779" y="43349"/>
                  </a:lnTo>
                  <a:lnTo>
                    <a:pt x="83816" y="35433"/>
                  </a:lnTo>
                  <a:lnTo>
                    <a:pt x="39058" y="25230"/>
                  </a:lnTo>
                  <a:lnTo>
                    <a:pt x="10216" y="13250"/>
                  </a:lnTo>
                  <a:lnTo>
                    <a:pt x="0" y="0"/>
                  </a:lnTo>
                  <a:close/>
                </a:path>
                <a:path w="571500" h="330835">
                  <a:moveTo>
                    <a:pt x="571439" y="0"/>
                  </a:moveTo>
                  <a:lnTo>
                    <a:pt x="532443" y="25230"/>
                  </a:lnTo>
                  <a:lnTo>
                    <a:pt x="487824" y="35433"/>
                  </a:lnTo>
                  <a:lnTo>
                    <a:pt x="430124" y="43349"/>
                  </a:lnTo>
                  <a:lnTo>
                    <a:pt x="362093" y="48471"/>
                  </a:lnTo>
                  <a:lnTo>
                    <a:pt x="286481" y="50292"/>
                  </a:lnTo>
                  <a:lnTo>
                    <a:pt x="571439" y="50292"/>
                  </a:lnTo>
                  <a:lnTo>
                    <a:pt x="571439" y="0"/>
                  </a:lnTo>
                  <a:close/>
                </a:path>
              </a:pathLst>
            </a:custGeom>
            <a:solidFill>
              <a:srgbClr val="BAE0E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6248400" y="3509985"/>
              <a:ext cx="571500" cy="102235"/>
            </a:xfrm>
            <a:custGeom>
              <a:avLst/>
              <a:gdLst/>
              <a:ahLst/>
              <a:cxnLst/>
              <a:rect l="l" t="t" r="r" b="b"/>
              <a:pathLst>
                <a:path w="571500" h="102235">
                  <a:moveTo>
                    <a:pt x="286481" y="0"/>
                  </a:moveTo>
                  <a:lnTo>
                    <a:pt x="210237" y="1827"/>
                  </a:lnTo>
                  <a:lnTo>
                    <a:pt x="141779" y="6999"/>
                  </a:lnTo>
                  <a:lnTo>
                    <a:pt x="83816" y="15049"/>
                  </a:lnTo>
                  <a:lnTo>
                    <a:pt x="39058" y="25512"/>
                  </a:lnTo>
                  <a:lnTo>
                    <a:pt x="0" y="51816"/>
                  </a:lnTo>
                  <a:lnTo>
                    <a:pt x="10216" y="65066"/>
                  </a:lnTo>
                  <a:lnTo>
                    <a:pt x="83816" y="87249"/>
                  </a:lnTo>
                  <a:lnTo>
                    <a:pt x="141779" y="95165"/>
                  </a:lnTo>
                  <a:lnTo>
                    <a:pt x="210237" y="100287"/>
                  </a:lnTo>
                  <a:lnTo>
                    <a:pt x="286481" y="102108"/>
                  </a:lnTo>
                  <a:lnTo>
                    <a:pt x="362093" y="100287"/>
                  </a:lnTo>
                  <a:lnTo>
                    <a:pt x="430124" y="95165"/>
                  </a:lnTo>
                  <a:lnTo>
                    <a:pt x="487824" y="87249"/>
                  </a:lnTo>
                  <a:lnTo>
                    <a:pt x="532443" y="77046"/>
                  </a:lnTo>
                  <a:lnTo>
                    <a:pt x="571439" y="51816"/>
                  </a:lnTo>
                  <a:lnTo>
                    <a:pt x="561231" y="37923"/>
                  </a:lnTo>
                  <a:lnTo>
                    <a:pt x="487824" y="15049"/>
                  </a:lnTo>
                  <a:lnTo>
                    <a:pt x="430124" y="6999"/>
                  </a:lnTo>
                  <a:lnTo>
                    <a:pt x="362093" y="1827"/>
                  </a:lnTo>
                  <a:lnTo>
                    <a:pt x="286481" y="0"/>
                  </a:lnTo>
                  <a:close/>
                </a:path>
              </a:pathLst>
            </a:custGeom>
            <a:solidFill>
              <a:srgbClr val="D6EC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7"/>
            <p:cNvSpPr/>
            <p:nvPr/>
          </p:nvSpPr>
          <p:spPr>
            <a:xfrm>
              <a:off x="6243827" y="3505413"/>
              <a:ext cx="581025" cy="387350"/>
            </a:xfrm>
            <a:custGeom>
              <a:avLst/>
              <a:gdLst/>
              <a:ahLst/>
              <a:cxnLst/>
              <a:rect l="l" t="t" r="r" b="b"/>
              <a:pathLst>
                <a:path w="581025" h="387350">
                  <a:moveTo>
                    <a:pt x="0" y="56388"/>
                  </a:moveTo>
                  <a:lnTo>
                    <a:pt x="0" y="387065"/>
                  </a:lnTo>
                  <a:lnTo>
                    <a:pt x="9144" y="387065"/>
                  </a:lnTo>
                  <a:lnTo>
                    <a:pt x="9144" y="71120"/>
                  </a:lnTo>
                  <a:lnTo>
                    <a:pt x="7620" y="70104"/>
                  </a:lnTo>
                  <a:lnTo>
                    <a:pt x="4572" y="67056"/>
                  </a:lnTo>
                  <a:lnTo>
                    <a:pt x="3048" y="64008"/>
                  </a:lnTo>
                  <a:lnTo>
                    <a:pt x="1524" y="64008"/>
                  </a:lnTo>
                  <a:lnTo>
                    <a:pt x="1524" y="59436"/>
                  </a:lnTo>
                  <a:lnTo>
                    <a:pt x="0" y="56388"/>
                  </a:lnTo>
                  <a:close/>
                </a:path>
                <a:path w="581025" h="387350">
                  <a:moveTo>
                    <a:pt x="580583" y="60960"/>
                  </a:moveTo>
                  <a:lnTo>
                    <a:pt x="577535" y="67056"/>
                  </a:lnTo>
                  <a:lnTo>
                    <a:pt x="576011" y="67056"/>
                  </a:lnTo>
                  <a:lnTo>
                    <a:pt x="574487" y="70104"/>
                  </a:lnTo>
                  <a:lnTo>
                    <a:pt x="571439" y="72136"/>
                  </a:lnTo>
                  <a:lnTo>
                    <a:pt x="571439" y="387065"/>
                  </a:lnTo>
                  <a:lnTo>
                    <a:pt x="580583" y="387065"/>
                  </a:lnTo>
                  <a:lnTo>
                    <a:pt x="580583" y="60960"/>
                  </a:lnTo>
                  <a:close/>
                </a:path>
                <a:path w="581025" h="387350">
                  <a:moveTo>
                    <a:pt x="320009" y="111252"/>
                  </a:moveTo>
                  <a:lnTo>
                    <a:pt x="262097" y="111252"/>
                  </a:lnTo>
                  <a:lnTo>
                    <a:pt x="291053" y="112776"/>
                  </a:lnTo>
                  <a:lnTo>
                    <a:pt x="320009" y="111252"/>
                  </a:lnTo>
                  <a:close/>
                </a:path>
                <a:path w="581025" h="387350">
                  <a:moveTo>
                    <a:pt x="9652" y="55880"/>
                  </a:moveTo>
                  <a:lnTo>
                    <a:pt x="9144" y="56388"/>
                  </a:lnTo>
                  <a:lnTo>
                    <a:pt x="9144" y="71120"/>
                  </a:lnTo>
                  <a:lnTo>
                    <a:pt x="12192" y="73152"/>
                  </a:lnTo>
                  <a:lnTo>
                    <a:pt x="15240" y="76200"/>
                  </a:lnTo>
                  <a:lnTo>
                    <a:pt x="19812" y="77724"/>
                  </a:lnTo>
                  <a:lnTo>
                    <a:pt x="25908" y="80772"/>
                  </a:lnTo>
                  <a:lnTo>
                    <a:pt x="32004" y="82296"/>
                  </a:lnTo>
                  <a:lnTo>
                    <a:pt x="38100" y="85344"/>
                  </a:lnTo>
                  <a:lnTo>
                    <a:pt x="53340" y="89916"/>
                  </a:lnTo>
                  <a:lnTo>
                    <a:pt x="70104" y="92964"/>
                  </a:lnTo>
                  <a:lnTo>
                    <a:pt x="88392" y="97536"/>
                  </a:lnTo>
                  <a:lnTo>
                    <a:pt x="108204" y="100584"/>
                  </a:lnTo>
                  <a:lnTo>
                    <a:pt x="131064" y="103632"/>
                  </a:lnTo>
                  <a:lnTo>
                    <a:pt x="153924" y="105156"/>
                  </a:lnTo>
                  <a:lnTo>
                    <a:pt x="179801" y="108204"/>
                  </a:lnTo>
                  <a:lnTo>
                    <a:pt x="233141" y="111252"/>
                  </a:lnTo>
                  <a:lnTo>
                    <a:pt x="348965" y="111252"/>
                  </a:lnTo>
                  <a:lnTo>
                    <a:pt x="402305" y="108204"/>
                  </a:lnTo>
                  <a:lnTo>
                    <a:pt x="428213" y="105156"/>
                  </a:lnTo>
                  <a:lnTo>
                    <a:pt x="451073" y="103632"/>
                  </a:lnTo>
                  <a:lnTo>
                    <a:pt x="462488" y="102108"/>
                  </a:lnTo>
                  <a:lnTo>
                    <a:pt x="233141" y="102108"/>
                  </a:lnTo>
                  <a:lnTo>
                    <a:pt x="179801" y="99060"/>
                  </a:lnTo>
                  <a:lnTo>
                    <a:pt x="155448" y="96012"/>
                  </a:lnTo>
                  <a:lnTo>
                    <a:pt x="131064" y="94488"/>
                  </a:lnTo>
                  <a:lnTo>
                    <a:pt x="109728" y="91440"/>
                  </a:lnTo>
                  <a:lnTo>
                    <a:pt x="89916" y="88392"/>
                  </a:lnTo>
                  <a:lnTo>
                    <a:pt x="71628" y="83820"/>
                  </a:lnTo>
                  <a:lnTo>
                    <a:pt x="54864" y="80772"/>
                  </a:lnTo>
                  <a:lnTo>
                    <a:pt x="41148" y="76200"/>
                  </a:lnTo>
                  <a:lnTo>
                    <a:pt x="35052" y="73152"/>
                  </a:lnTo>
                  <a:lnTo>
                    <a:pt x="28956" y="71628"/>
                  </a:lnTo>
                  <a:lnTo>
                    <a:pt x="24384" y="70104"/>
                  </a:lnTo>
                  <a:lnTo>
                    <a:pt x="19812" y="67056"/>
                  </a:lnTo>
                  <a:lnTo>
                    <a:pt x="16764" y="65532"/>
                  </a:lnTo>
                  <a:lnTo>
                    <a:pt x="10668" y="59436"/>
                  </a:lnTo>
                  <a:lnTo>
                    <a:pt x="10668" y="57912"/>
                  </a:lnTo>
                  <a:lnTo>
                    <a:pt x="9652" y="55880"/>
                  </a:lnTo>
                  <a:close/>
                </a:path>
                <a:path w="581025" h="387350">
                  <a:moveTo>
                    <a:pt x="571439" y="59436"/>
                  </a:moveTo>
                  <a:lnTo>
                    <a:pt x="569915" y="60960"/>
                  </a:lnTo>
                  <a:lnTo>
                    <a:pt x="566867" y="62484"/>
                  </a:lnTo>
                  <a:lnTo>
                    <a:pt x="565343" y="65532"/>
                  </a:lnTo>
                  <a:lnTo>
                    <a:pt x="560771" y="67056"/>
                  </a:lnTo>
                  <a:lnTo>
                    <a:pt x="557723" y="70104"/>
                  </a:lnTo>
                  <a:lnTo>
                    <a:pt x="551627" y="71628"/>
                  </a:lnTo>
                  <a:lnTo>
                    <a:pt x="547055" y="74676"/>
                  </a:lnTo>
                  <a:lnTo>
                    <a:pt x="540959" y="76200"/>
                  </a:lnTo>
                  <a:lnTo>
                    <a:pt x="525719" y="80772"/>
                  </a:lnTo>
                  <a:lnTo>
                    <a:pt x="510479" y="83820"/>
                  </a:lnTo>
                  <a:lnTo>
                    <a:pt x="492191" y="88392"/>
                  </a:lnTo>
                  <a:lnTo>
                    <a:pt x="472379" y="91440"/>
                  </a:lnTo>
                  <a:lnTo>
                    <a:pt x="449549" y="94488"/>
                  </a:lnTo>
                  <a:lnTo>
                    <a:pt x="426689" y="96012"/>
                  </a:lnTo>
                  <a:lnTo>
                    <a:pt x="402305" y="99060"/>
                  </a:lnTo>
                  <a:lnTo>
                    <a:pt x="347441" y="102108"/>
                  </a:lnTo>
                  <a:lnTo>
                    <a:pt x="462488" y="102108"/>
                  </a:lnTo>
                  <a:lnTo>
                    <a:pt x="473903" y="100584"/>
                  </a:lnTo>
                  <a:lnTo>
                    <a:pt x="493715" y="97536"/>
                  </a:lnTo>
                  <a:lnTo>
                    <a:pt x="512003" y="92964"/>
                  </a:lnTo>
                  <a:lnTo>
                    <a:pt x="528767" y="89916"/>
                  </a:lnTo>
                  <a:lnTo>
                    <a:pt x="544007" y="85344"/>
                  </a:lnTo>
                  <a:lnTo>
                    <a:pt x="550103" y="82296"/>
                  </a:lnTo>
                  <a:lnTo>
                    <a:pt x="556199" y="80772"/>
                  </a:lnTo>
                  <a:lnTo>
                    <a:pt x="560771" y="77724"/>
                  </a:lnTo>
                  <a:lnTo>
                    <a:pt x="566867" y="76200"/>
                  </a:lnTo>
                  <a:lnTo>
                    <a:pt x="569915" y="73152"/>
                  </a:lnTo>
                  <a:lnTo>
                    <a:pt x="571439" y="72136"/>
                  </a:lnTo>
                  <a:lnTo>
                    <a:pt x="571439" y="59436"/>
                  </a:lnTo>
                  <a:close/>
                </a:path>
                <a:path w="581025" h="387350">
                  <a:moveTo>
                    <a:pt x="571439" y="54864"/>
                  </a:moveTo>
                  <a:lnTo>
                    <a:pt x="571439" y="72136"/>
                  </a:lnTo>
                  <a:lnTo>
                    <a:pt x="574487" y="70104"/>
                  </a:lnTo>
                  <a:lnTo>
                    <a:pt x="576011" y="67056"/>
                  </a:lnTo>
                  <a:lnTo>
                    <a:pt x="577535" y="67056"/>
                  </a:lnTo>
                  <a:lnTo>
                    <a:pt x="580583" y="60960"/>
                  </a:lnTo>
                  <a:lnTo>
                    <a:pt x="580583" y="56388"/>
                  </a:lnTo>
                  <a:lnTo>
                    <a:pt x="571439" y="54864"/>
                  </a:lnTo>
                  <a:close/>
                </a:path>
                <a:path w="581025" h="387350">
                  <a:moveTo>
                    <a:pt x="291053" y="0"/>
                  </a:moveTo>
                  <a:lnTo>
                    <a:pt x="262097" y="0"/>
                  </a:lnTo>
                  <a:lnTo>
                    <a:pt x="153924" y="6096"/>
                  </a:lnTo>
                  <a:lnTo>
                    <a:pt x="108204" y="12192"/>
                  </a:lnTo>
                  <a:lnTo>
                    <a:pt x="88392" y="15240"/>
                  </a:lnTo>
                  <a:lnTo>
                    <a:pt x="68580" y="19812"/>
                  </a:lnTo>
                  <a:lnTo>
                    <a:pt x="51816" y="22860"/>
                  </a:lnTo>
                  <a:lnTo>
                    <a:pt x="38100" y="27432"/>
                  </a:lnTo>
                  <a:lnTo>
                    <a:pt x="32004" y="30480"/>
                  </a:lnTo>
                  <a:lnTo>
                    <a:pt x="25908" y="32004"/>
                  </a:lnTo>
                  <a:lnTo>
                    <a:pt x="19812" y="35052"/>
                  </a:lnTo>
                  <a:lnTo>
                    <a:pt x="15240" y="36576"/>
                  </a:lnTo>
                  <a:lnTo>
                    <a:pt x="10668" y="39624"/>
                  </a:lnTo>
                  <a:lnTo>
                    <a:pt x="4572" y="45720"/>
                  </a:lnTo>
                  <a:lnTo>
                    <a:pt x="3048" y="48768"/>
                  </a:lnTo>
                  <a:lnTo>
                    <a:pt x="1524" y="48768"/>
                  </a:lnTo>
                  <a:lnTo>
                    <a:pt x="1524" y="53340"/>
                  </a:lnTo>
                  <a:lnTo>
                    <a:pt x="0" y="54864"/>
                  </a:lnTo>
                  <a:lnTo>
                    <a:pt x="0" y="56388"/>
                  </a:lnTo>
                  <a:lnTo>
                    <a:pt x="1524" y="59436"/>
                  </a:lnTo>
                  <a:lnTo>
                    <a:pt x="1524" y="64008"/>
                  </a:lnTo>
                  <a:lnTo>
                    <a:pt x="3048" y="64008"/>
                  </a:lnTo>
                  <a:lnTo>
                    <a:pt x="4572" y="67056"/>
                  </a:lnTo>
                  <a:lnTo>
                    <a:pt x="7620" y="70104"/>
                  </a:lnTo>
                  <a:lnTo>
                    <a:pt x="9144" y="71120"/>
                  </a:lnTo>
                  <a:lnTo>
                    <a:pt x="9144" y="54864"/>
                  </a:lnTo>
                  <a:lnTo>
                    <a:pt x="10668" y="54864"/>
                  </a:lnTo>
                  <a:lnTo>
                    <a:pt x="10668" y="53340"/>
                  </a:lnTo>
                  <a:lnTo>
                    <a:pt x="12192" y="51816"/>
                  </a:lnTo>
                  <a:lnTo>
                    <a:pt x="13716" y="48768"/>
                  </a:lnTo>
                  <a:lnTo>
                    <a:pt x="19812" y="45720"/>
                  </a:lnTo>
                  <a:lnTo>
                    <a:pt x="24384" y="42672"/>
                  </a:lnTo>
                  <a:lnTo>
                    <a:pt x="28956" y="41148"/>
                  </a:lnTo>
                  <a:lnTo>
                    <a:pt x="35052" y="38100"/>
                  </a:lnTo>
                  <a:lnTo>
                    <a:pt x="41148" y="36576"/>
                  </a:lnTo>
                  <a:lnTo>
                    <a:pt x="54864" y="32004"/>
                  </a:lnTo>
                  <a:lnTo>
                    <a:pt x="71628" y="28956"/>
                  </a:lnTo>
                  <a:lnTo>
                    <a:pt x="89916" y="24384"/>
                  </a:lnTo>
                  <a:lnTo>
                    <a:pt x="109728" y="21336"/>
                  </a:lnTo>
                  <a:lnTo>
                    <a:pt x="131064" y="18288"/>
                  </a:lnTo>
                  <a:lnTo>
                    <a:pt x="155448" y="16764"/>
                  </a:lnTo>
                  <a:lnTo>
                    <a:pt x="179801" y="13716"/>
                  </a:lnTo>
                  <a:lnTo>
                    <a:pt x="233141" y="10668"/>
                  </a:lnTo>
                  <a:lnTo>
                    <a:pt x="462480" y="10668"/>
                  </a:lnTo>
                  <a:lnTo>
                    <a:pt x="428213" y="6096"/>
                  </a:lnTo>
                  <a:lnTo>
                    <a:pt x="348965" y="1524"/>
                  </a:lnTo>
                  <a:lnTo>
                    <a:pt x="320009" y="1524"/>
                  </a:lnTo>
                  <a:lnTo>
                    <a:pt x="291053" y="0"/>
                  </a:lnTo>
                  <a:close/>
                </a:path>
                <a:path w="581025" h="387350">
                  <a:moveTo>
                    <a:pt x="9144" y="54864"/>
                  </a:moveTo>
                  <a:lnTo>
                    <a:pt x="9144" y="56388"/>
                  </a:lnTo>
                  <a:lnTo>
                    <a:pt x="9652" y="55880"/>
                  </a:lnTo>
                  <a:lnTo>
                    <a:pt x="9144" y="54864"/>
                  </a:lnTo>
                  <a:close/>
                </a:path>
                <a:path w="581025" h="387350">
                  <a:moveTo>
                    <a:pt x="462480" y="10668"/>
                  </a:moveTo>
                  <a:lnTo>
                    <a:pt x="348965" y="10668"/>
                  </a:lnTo>
                  <a:lnTo>
                    <a:pt x="402305" y="13716"/>
                  </a:lnTo>
                  <a:lnTo>
                    <a:pt x="426689" y="16764"/>
                  </a:lnTo>
                  <a:lnTo>
                    <a:pt x="449549" y="18288"/>
                  </a:lnTo>
                  <a:lnTo>
                    <a:pt x="472379" y="21336"/>
                  </a:lnTo>
                  <a:lnTo>
                    <a:pt x="492191" y="24384"/>
                  </a:lnTo>
                  <a:lnTo>
                    <a:pt x="510479" y="28956"/>
                  </a:lnTo>
                  <a:lnTo>
                    <a:pt x="527243" y="32004"/>
                  </a:lnTo>
                  <a:lnTo>
                    <a:pt x="540959" y="36576"/>
                  </a:lnTo>
                  <a:lnTo>
                    <a:pt x="547055" y="38100"/>
                  </a:lnTo>
                  <a:lnTo>
                    <a:pt x="551627" y="41148"/>
                  </a:lnTo>
                  <a:lnTo>
                    <a:pt x="557723" y="42672"/>
                  </a:lnTo>
                  <a:lnTo>
                    <a:pt x="560771" y="45720"/>
                  </a:lnTo>
                  <a:lnTo>
                    <a:pt x="565343" y="47244"/>
                  </a:lnTo>
                  <a:lnTo>
                    <a:pt x="571439" y="53340"/>
                  </a:lnTo>
                  <a:lnTo>
                    <a:pt x="571439" y="54864"/>
                  </a:lnTo>
                  <a:lnTo>
                    <a:pt x="580583" y="56388"/>
                  </a:lnTo>
                  <a:lnTo>
                    <a:pt x="580583" y="51816"/>
                  </a:lnTo>
                  <a:lnTo>
                    <a:pt x="579059" y="48768"/>
                  </a:lnTo>
                  <a:lnTo>
                    <a:pt x="569915" y="39624"/>
                  </a:lnTo>
                  <a:lnTo>
                    <a:pt x="565343" y="36576"/>
                  </a:lnTo>
                  <a:lnTo>
                    <a:pt x="560771" y="35052"/>
                  </a:lnTo>
                  <a:lnTo>
                    <a:pt x="556199" y="32004"/>
                  </a:lnTo>
                  <a:lnTo>
                    <a:pt x="550103" y="28956"/>
                  </a:lnTo>
                  <a:lnTo>
                    <a:pt x="544007" y="27432"/>
                  </a:lnTo>
                  <a:lnTo>
                    <a:pt x="528767" y="22860"/>
                  </a:lnTo>
                  <a:lnTo>
                    <a:pt x="512003" y="19812"/>
                  </a:lnTo>
                  <a:lnTo>
                    <a:pt x="493715" y="15240"/>
                  </a:lnTo>
                  <a:lnTo>
                    <a:pt x="473903" y="12192"/>
                  </a:lnTo>
                  <a:lnTo>
                    <a:pt x="462480" y="10668"/>
                  </a:lnTo>
                  <a:close/>
                </a:path>
                <a:path w="581025" h="387350">
                  <a:moveTo>
                    <a:pt x="10668" y="54864"/>
                  </a:moveTo>
                  <a:lnTo>
                    <a:pt x="9144" y="54864"/>
                  </a:lnTo>
                  <a:lnTo>
                    <a:pt x="9652" y="55880"/>
                  </a:lnTo>
                  <a:lnTo>
                    <a:pt x="10668" y="54864"/>
                  </a:lnTo>
                  <a:close/>
                </a:path>
              </a:pathLst>
            </a:custGeom>
            <a:solidFill>
              <a:srgbClr val="CCFFC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8" name="object 38"/>
          <p:cNvSpPr txBox="1"/>
          <p:nvPr/>
        </p:nvSpPr>
        <p:spPr>
          <a:xfrm>
            <a:off x="2209624" y="1380627"/>
            <a:ext cx="4234815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3406140" algn="l"/>
              </a:tabLst>
            </a:pPr>
            <a:r>
              <a:rPr sz="2100" spc="-15" baseline="3968" dirty="0">
                <a:latin typeface="Liberation Sans Narrow"/>
                <a:cs typeface="Liberation Sans Narrow"/>
              </a:rPr>
              <a:t>MANUFACTURING</a:t>
            </a:r>
            <a:r>
              <a:rPr sz="2100" spc="-60" baseline="3968" dirty="0">
                <a:latin typeface="Liberation Sans Narrow"/>
                <a:cs typeface="Liberation Sans Narrow"/>
              </a:rPr>
              <a:t> </a:t>
            </a:r>
            <a:r>
              <a:rPr sz="2100" spc="-7" baseline="3968" dirty="0">
                <a:latin typeface="Liberation Sans Narrow"/>
                <a:cs typeface="Liberation Sans Narrow"/>
              </a:rPr>
              <a:t>PLANT	</a:t>
            </a:r>
            <a:r>
              <a:rPr sz="1400" dirty="0">
                <a:latin typeface="Liberation Sans Narrow"/>
                <a:cs typeface="Liberation Sans Narrow"/>
              </a:rPr>
              <a:t>SAP</a:t>
            </a:r>
            <a:r>
              <a:rPr sz="1400" spc="-95" dirty="0">
                <a:latin typeface="Liberation Sans Narrow"/>
                <a:cs typeface="Liberation Sans Narrow"/>
              </a:rPr>
              <a:t> </a:t>
            </a:r>
            <a:r>
              <a:rPr sz="1400" spc="-5" dirty="0">
                <a:latin typeface="Liberation Sans Narrow"/>
                <a:cs typeface="Liberation Sans Narrow"/>
              </a:rPr>
              <a:t>System</a:t>
            </a:r>
            <a:endParaRPr sz="1400">
              <a:latin typeface="Liberation Sans Narrow"/>
              <a:cs typeface="Liberation Sans Narrow"/>
            </a:endParaRPr>
          </a:p>
        </p:txBody>
      </p:sp>
      <p:grpSp>
        <p:nvGrpSpPr>
          <p:cNvPr id="39" name="object 39"/>
          <p:cNvGrpSpPr/>
          <p:nvPr/>
        </p:nvGrpSpPr>
        <p:grpSpPr>
          <a:xfrm>
            <a:off x="1938884" y="3277321"/>
            <a:ext cx="607060" cy="543560"/>
            <a:chOff x="1938884" y="3277321"/>
            <a:chExt cx="607060" cy="543560"/>
          </a:xfrm>
        </p:grpSpPr>
        <p:sp>
          <p:nvSpPr>
            <p:cNvPr id="40" name="object 40"/>
            <p:cNvSpPr/>
            <p:nvPr/>
          </p:nvSpPr>
          <p:spPr>
            <a:xfrm>
              <a:off x="1943456" y="3339328"/>
              <a:ext cx="597535" cy="475615"/>
            </a:xfrm>
            <a:custGeom>
              <a:avLst/>
              <a:gdLst/>
              <a:ahLst/>
              <a:cxnLst/>
              <a:rect l="l" t="t" r="r" b="b"/>
              <a:pathLst>
                <a:path w="597535" h="475614">
                  <a:moveTo>
                    <a:pt x="597362" y="0"/>
                  </a:moveTo>
                  <a:lnTo>
                    <a:pt x="566937" y="25477"/>
                  </a:lnTo>
                  <a:lnTo>
                    <a:pt x="485331" y="45195"/>
                  </a:lnTo>
                  <a:lnTo>
                    <a:pt x="429867" y="52029"/>
                  </a:lnTo>
                  <a:lnTo>
                    <a:pt x="367045" y="56383"/>
                  </a:lnTo>
                  <a:lnTo>
                    <a:pt x="298679" y="57911"/>
                  </a:lnTo>
                  <a:lnTo>
                    <a:pt x="230313" y="56383"/>
                  </a:lnTo>
                  <a:lnTo>
                    <a:pt x="167492" y="52029"/>
                  </a:lnTo>
                  <a:lnTo>
                    <a:pt x="112028" y="45195"/>
                  </a:lnTo>
                  <a:lnTo>
                    <a:pt x="65735" y="36229"/>
                  </a:lnTo>
                  <a:lnTo>
                    <a:pt x="7908" y="13285"/>
                  </a:lnTo>
                  <a:lnTo>
                    <a:pt x="0" y="0"/>
                  </a:lnTo>
                  <a:lnTo>
                    <a:pt x="0" y="417545"/>
                  </a:lnTo>
                  <a:lnTo>
                    <a:pt x="30423" y="443022"/>
                  </a:lnTo>
                  <a:lnTo>
                    <a:pt x="112028" y="462741"/>
                  </a:lnTo>
                  <a:lnTo>
                    <a:pt x="167492" y="469574"/>
                  </a:lnTo>
                  <a:lnTo>
                    <a:pt x="230313" y="473929"/>
                  </a:lnTo>
                  <a:lnTo>
                    <a:pt x="298679" y="475457"/>
                  </a:lnTo>
                  <a:lnTo>
                    <a:pt x="367045" y="473929"/>
                  </a:lnTo>
                  <a:lnTo>
                    <a:pt x="429867" y="469574"/>
                  </a:lnTo>
                  <a:lnTo>
                    <a:pt x="485331" y="462741"/>
                  </a:lnTo>
                  <a:lnTo>
                    <a:pt x="531625" y="453774"/>
                  </a:lnTo>
                  <a:lnTo>
                    <a:pt x="589454" y="430830"/>
                  </a:lnTo>
                  <a:lnTo>
                    <a:pt x="597362" y="417545"/>
                  </a:lnTo>
                  <a:lnTo>
                    <a:pt x="597362" y="0"/>
                  </a:lnTo>
                  <a:close/>
                </a:path>
              </a:pathLst>
            </a:custGeom>
            <a:solidFill>
              <a:srgbClr val="CCCC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/>
            <p:cNvSpPr/>
            <p:nvPr/>
          </p:nvSpPr>
          <p:spPr>
            <a:xfrm>
              <a:off x="1943456" y="3281415"/>
              <a:ext cx="597535" cy="116205"/>
            </a:xfrm>
            <a:custGeom>
              <a:avLst/>
              <a:gdLst/>
              <a:ahLst/>
              <a:cxnLst/>
              <a:rect l="l" t="t" r="r" b="b"/>
              <a:pathLst>
                <a:path w="597535" h="116204">
                  <a:moveTo>
                    <a:pt x="298679" y="0"/>
                  </a:moveTo>
                  <a:lnTo>
                    <a:pt x="230313" y="1528"/>
                  </a:lnTo>
                  <a:lnTo>
                    <a:pt x="167492" y="5882"/>
                  </a:lnTo>
                  <a:lnTo>
                    <a:pt x="112028" y="12716"/>
                  </a:lnTo>
                  <a:lnTo>
                    <a:pt x="65735" y="21682"/>
                  </a:lnTo>
                  <a:lnTo>
                    <a:pt x="7908" y="44626"/>
                  </a:lnTo>
                  <a:lnTo>
                    <a:pt x="0" y="57912"/>
                  </a:lnTo>
                  <a:lnTo>
                    <a:pt x="7908" y="71197"/>
                  </a:lnTo>
                  <a:lnTo>
                    <a:pt x="65735" y="94141"/>
                  </a:lnTo>
                  <a:lnTo>
                    <a:pt x="112028" y="103107"/>
                  </a:lnTo>
                  <a:lnTo>
                    <a:pt x="167492" y="109941"/>
                  </a:lnTo>
                  <a:lnTo>
                    <a:pt x="230313" y="114295"/>
                  </a:lnTo>
                  <a:lnTo>
                    <a:pt x="298679" y="115824"/>
                  </a:lnTo>
                  <a:lnTo>
                    <a:pt x="367045" y="114295"/>
                  </a:lnTo>
                  <a:lnTo>
                    <a:pt x="429867" y="109941"/>
                  </a:lnTo>
                  <a:lnTo>
                    <a:pt x="485331" y="103107"/>
                  </a:lnTo>
                  <a:lnTo>
                    <a:pt x="531626" y="94141"/>
                  </a:lnTo>
                  <a:lnTo>
                    <a:pt x="589454" y="71197"/>
                  </a:lnTo>
                  <a:lnTo>
                    <a:pt x="597362" y="57912"/>
                  </a:lnTo>
                  <a:lnTo>
                    <a:pt x="589454" y="44626"/>
                  </a:lnTo>
                  <a:lnTo>
                    <a:pt x="531626" y="21682"/>
                  </a:lnTo>
                  <a:lnTo>
                    <a:pt x="485331" y="12716"/>
                  </a:lnTo>
                  <a:lnTo>
                    <a:pt x="429867" y="5882"/>
                  </a:lnTo>
                  <a:lnTo>
                    <a:pt x="367045" y="1528"/>
                  </a:lnTo>
                  <a:lnTo>
                    <a:pt x="298679" y="0"/>
                  </a:lnTo>
                  <a:close/>
                </a:path>
              </a:pathLst>
            </a:custGeom>
            <a:solidFill>
              <a:srgbClr val="E0E06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1938884" y="3277321"/>
              <a:ext cx="607060" cy="543560"/>
            </a:xfrm>
            <a:custGeom>
              <a:avLst/>
              <a:gdLst/>
              <a:ahLst/>
              <a:cxnLst/>
              <a:rect l="l" t="t" r="r" b="b"/>
              <a:pathLst>
                <a:path w="607060" h="543560">
                  <a:moveTo>
                    <a:pt x="333719" y="542290"/>
                  </a:moveTo>
                  <a:lnTo>
                    <a:pt x="272771" y="542290"/>
                  </a:lnTo>
                  <a:lnTo>
                    <a:pt x="303251" y="543560"/>
                  </a:lnTo>
                  <a:lnTo>
                    <a:pt x="333719" y="542290"/>
                  </a:lnTo>
                  <a:close/>
                </a:path>
                <a:path w="607060" h="543560">
                  <a:moveTo>
                    <a:pt x="0" y="64770"/>
                  </a:moveTo>
                  <a:lnTo>
                    <a:pt x="0" y="481330"/>
                  </a:lnTo>
                  <a:lnTo>
                    <a:pt x="1524" y="485140"/>
                  </a:lnTo>
                  <a:lnTo>
                    <a:pt x="1524" y="487680"/>
                  </a:lnTo>
                  <a:lnTo>
                    <a:pt x="3048" y="488950"/>
                  </a:lnTo>
                  <a:lnTo>
                    <a:pt x="4572" y="492760"/>
                  </a:lnTo>
                  <a:lnTo>
                    <a:pt x="7620" y="496570"/>
                  </a:lnTo>
                  <a:lnTo>
                    <a:pt x="16764" y="502920"/>
                  </a:lnTo>
                  <a:lnTo>
                    <a:pt x="21336" y="504190"/>
                  </a:lnTo>
                  <a:lnTo>
                    <a:pt x="39624" y="514350"/>
                  </a:lnTo>
                  <a:lnTo>
                    <a:pt x="47231" y="515620"/>
                  </a:lnTo>
                  <a:lnTo>
                    <a:pt x="54851" y="518160"/>
                  </a:lnTo>
                  <a:lnTo>
                    <a:pt x="71615" y="523240"/>
                  </a:lnTo>
                  <a:lnTo>
                    <a:pt x="91427" y="525780"/>
                  </a:lnTo>
                  <a:lnTo>
                    <a:pt x="112763" y="530860"/>
                  </a:lnTo>
                  <a:lnTo>
                    <a:pt x="135623" y="533400"/>
                  </a:lnTo>
                  <a:lnTo>
                    <a:pt x="187439" y="539750"/>
                  </a:lnTo>
                  <a:lnTo>
                    <a:pt x="243815" y="542290"/>
                  </a:lnTo>
                  <a:lnTo>
                    <a:pt x="364199" y="542290"/>
                  </a:lnTo>
                  <a:lnTo>
                    <a:pt x="420587" y="539750"/>
                  </a:lnTo>
                  <a:lnTo>
                    <a:pt x="446495" y="537210"/>
                  </a:lnTo>
                  <a:lnTo>
                    <a:pt x="470879" y="533400"/>
                  </a:lnTo>
                  <a:lnTo>
                    <a:pt x="243815" y="533400"/>
                  </a:lnTo>
                  <a:lnTo>
                    <a:pt x="214859" y="532130"/>
                  </a:lnTo>
                  <a:lnTo>
                    <a:pt x="137147" y="524510"/>
                  </a:lnTo>
                  <a:lnTo>
                    <a:pt x="114287" y="521970"/>
                  </a:lnTo>
                  <a:lnTo>
                    <a:pt x="92951" y="516890"/>
                  </a:lnTo>
                  <a:lnTo>
                    <a:pt x="74663" y="514350"/>
                  </a:lnTo>
                  <a:lnTo>
                    <a:pt x="30480" y="499110"/>
                  </a:lnTo>
                  <a:lnTo>
                    <a:pt x="12954" y="487680"/>
                  </a:lnTo>
                  <a:lnTo>
                    <a:pt x="12192" y="487680"/>
                  </a:lnTo>
                  <a:lnTo>
                    <a:pt x="10668" y="485140"/>
                  </a:lnTo>
                  <a:lnTo>
                    <a:pt x="10668" y="483870"/>
                  </a:lnTo>
                  <a:lnTo>
                    <a:pt x="9144" y="480060"/>
                  </a:lnTo>
                  <a:lnTo>
                    <a:pt x="9144" y="79502"/>
                  </a:lnTo>
                  <a:lnTo>
                    <a:pt x="4572" y="74930"/>
                  </a:lnTo>
                  <a:lnTo>
                    <a:pt x="1524" y="69850"/>
                  </a:lnTo>
                  <a:lnTo>
                    <a:pt x="1524" y="67310"/>
                  </a:lnTo>
                  <a:lnTo>
                    <a:pt x="0" y="64770"/>
                  </a:lnTo>
                  <a:close/>
                </a:path>
                <a:path w="607060" h="543560">
                  <a:moveTo>
                    <a:pt x="594314" y="486410"/>
                  </a:moveTo>
                  <a:lnTo>
                    <a:pt x="592790" y="488950"/>
                  </a:lnTo>
                  <a:lnTo>
                    <a:pt x="589742" y="492760"/>
                  </a:lnTo>
                  <a:lnTo>
                    <a:pt x="585170" y="494030"/>
                  </a:lnTo>
                  <a:lnTo>
                    <a:pt x="582122" y="496570"/>
                  </a:lnTo>
                  <a:lnTo>
                    <a:pt x="576026" y="500380"/>
                  </a:lnTo>
                  <a:lnTo>
                    <a:pt x="569930" y="501650"/>
                  </a:lnTo>
                  <a:lnTo>
                    <a:pt x="557738" y="506730"/>
                  </a:lnTo>
                  <a:lnTo>
                    <a:pt x="550118" y="509270"/>
                  </a:lnTo>
                  <a:lnTo>
                    <a:pt x="533354" y="514350"/>
                  </a:lnTo>
                  <a:lnTo>
                    <a:pt x="513542" y="516890"/>
                  </a:lnTo>
                  <a:lnTo>
                    <a:pt x="492206" y="521970"/>
                  </a:lnTo>
                  <a:lnTo>
                    <a:pt x="469355" y="524510"/>
                  </a:lnTo>
                  <a:lnTo>
                    <a:pt x="391631" y="532130"/>
                  </a:lnTo>
                  <a:lnTo>
                    <a:pt x="362675" y="533400"/>
                  </a:lnTo>
                  <a:lnTo>
                    <a:pt x="470879" y="533400"/>
                  </a:lnTo>
                  <a:lnTo>
                    <a:pt x="493730" y="530860"/>
                  </a:lnTo>
                  <a:lnTo>
                    <a:pt x="515066" y="525780"/>
                  </a:lnTo>
                  <a:lnTo>
                    <a:pt x="534878" y="523240"/>
                  </a:lnTo>
                  <a:lnTo>
                    <a:pt x="551642" y="518160"/>
                  </a:lnTo>
                  <a:lnTo>
                    <a:pt x="560786" y="515620"/>
                  </a:lnTo>
                  <a:lnTo>
                    <a:pt x="566882" y="514350"/>
                  </a:lnTo>
                  <a:lnTo>
                    <a:pt x="574502" y="510540"/>
                  </a:lnTo>
                  <a:lnTo>
                    <a:pt x="586694" y="504190"/>
                  </a:lnTo>
                  <a:lnTo>
                    <a:pt x="595838" y="499110"/>
                  </a:lnTo>
                  <a:lnTo>
                    <a:pt x="604982" y="488950"/>
                  </a:lnTo>
                  <a:lnTo>
                    <a:pt x="604982" y="487680"/>
                  </a:lnTo>
                  <a:lnTo>
                    <a:pt x="594314" y="487680"/>
                  </a:lnTo>
                  <a:lnTo>
                    <a:pt x="594314" y="486410"/>
                  </a:lnTo>
                  <a:close/>
                </a:path>
                <a:path w="607060" h="543560">
                  <a:moveTo>
                    <a:pt x="12192" y="486410"/>
                  </a:moveTo>
                  <a:lnTo>
                    <a:pt x="12192" y="487680"/>
                  </a:lnTo>
                  <a:lnTo>
                    <a:pt x="12954" y="487680"/>
                  </a:lnTo>
                  <a:lnTo>
                    <a:pt x="12192" y="486410"/>
                  </a:lnTo>
                  <a:close/>
                </a:path>
                <a:path w="607060" h="543560">
                  <a:moveTo>
                    <a:pt x="597362" y="481330"/>
                  </a:moveTo>
                  <a:lnTo>
                    <a:pt x="594314" y="487680"/>
                  </a:lnTo>
                  <a:lnTo>
                    <a:pt x="604982" y="487680"/>
                  </a:lnTo>
                  <a:lnTo>
                    <a:pt x="606506" y="486410"/>
                  </a:lnTo>
                  <a:lnTo>
                    <a:pt x="606506" y="483870"/>
                  </a:lnTo>
                  <a:lnTo>
                    <a:pt x="597362" y="483870"/>
                  </a:lnTo>
                  <a:lnTo>
                    <a:pt x="597362" y="481330"/>
                  </a:lnTo>
                  <a:close/>
                </a:path>
                <a:path w="607060" h="543560">
                  <a:moveTo>
                    <a:pt x="606506" y="68580"/>
                  </a:moveTo>
                  <a:lnTo>
                    <a:pt x="604982" y="69850"/>
                  </a:lnTo>
                  <a:lnTo>
                    <a:pt x="604982" y="72390"/>
                  </a:lnTo>
                  <a:lnTo>
                    <a:pt x="597362" y="79798"/>
                  </a:lnTo>
                  <a:lnTo>
                    <a:pt x="597362" y="483870"/>
                  </a:lnTo>
                  <a:lnTo>
                    <a:pt x="606506" y="483870"/>
                  </a:lnTo>
                  <a:lnTo>
                    <a:pt x="606506" y="68580"/>
                  </a:lnTo>
                  <a:close/>
                </a:path>
                <a:path w="607060" h="543560">
                  <a:moveTo>
                    <a:pt x="333719" y="125730"/>
                  </a:moveTo>
                  <a:lnTo>
                    <a:pt x="272771" y="125730"/>
                  </a:lnTo>
                  <a:lnTo>
                    <a:pt x="303251" y="127000"/>
                  </a:lnTo>
                  <a:lnTo>
                    <a:pt x="333719" y="125730"/>
                  </a:lnTo>
                  <a:close/>
                </a:path>
                <a:path w="607060" h="543560">
                  <a:moveTo>
                    <a:pt x="9652" y="63500"/>
                  </a:moveTo>
                  <a:lnTo>
                    <a:pt x="9144" y="64770"/>
                  </a:lnTo>
                  <a:lnTo>
                    <a:pt x="9144" y="79502"/>
                  </a:lnTo>
                  <a:lnTo>
                    <a:pt x="12192" y="82550"/>
                  </a:lnTo>
                  <a:lnTo>
                    <a:pt x="16764" y="83820"/>
                  </a:lnTo>
                  <a:lnTo>
                    <a:pt x="21336" y="87630"/>
                  </a:lnTo>
                  <a:lnTo>
                    <a:pt x="39624" y="96520"/>
                  </a:lnTo>
                  <a:lnTo>
                    <a:pt x="47231" y="97790"/>
                  </a:lnTo>
                  <a:lnTo>
                    <a:pt x="54851" y="100330"/>
                  </a:lnTo>
                  <a:lnTo>
                    <a:pt x="71615" y="105410"/>
                  </a:lnTo>
                  <a:lnTo>
                    <a:pt x="91427" y="107950"/>
                  </a:lnTo>
                  <a:lnTo>
                    <a:pt x="112763" y="113030"/>
                  </a:lnTo>
                  <a:lnTo>
                    <a:pt x="135623" y="115570"/>
                  </a:lnTo>
                  <a:lnTo>
                    <a:pt x="187439" y="121920"/>
                  </a:lnTo>
                  <a:lnTo>
                    <a:pt x="214859" y="123190"/>
                  </a:lnTo>
                  <a:lnTo>
                    <a:pt x="243815" y="125730"/>
                  </a:lnTo>
                  <a:lnTo>
                    <a:pt x="364199" y="125730"/>
                  </a:lnTo>
                  <a:lnTo>
                    <a:pt x="393155" y="123190"/>
                  </a:lnTo>
                  <a:lnTo>
                    <a:pt x="420587" y="121920"/>
                  </a:lnTo>
                  <a:lnTo>
                    <a:pt x="446495" y="119380"/>
                  </a:lnTo>
                  <a:lnTo>
                    <a:pt x="470879" y="115570"/>
                  </a:lnTo>
                  <a:lnTo>
                    <a:pt x="243815" y="115570"/>
                  </a:lnTo>
                  <a:lnTo>
                    <a:pt x="214859" y="114300"/>
                  </a:lnTo>
                  <a:lnTo>
                    <a:pt x="187439" y="111760"/>
                  </a:lnTo>
                  <a:lnTo>
                    <a:pt x="161531" y="110490"/>
                  </a:lnTo>
                  <a:lnTo>
                    <a:pt x="137147" y="106680"/>
                  </a:lnTo>
                  <a:lnTo>
                    <a:pt x="114287" y="104140"/>
                  </a:lnTo>
                  <a:lnTo>
                    <a:pt x="92951" y="99060"/>
                  </a:lnTo>
                  <a:lnTo>
                    <a:pt x="74663" y="96520"/>
                  </a:lnTo>
                  <a:lnTo>
                    <a:pt x="57899" y="91440"/>
                  </a:lnTo>
                  <a:lnTo>
                    <a:pt x="50279" y="88900"/>
                  </a:lnTo>
                  <a:lnTo>
                    <a:pt x="42672" y="87630"/>
                  </a:lnTo>
                  <a:lnTo>
                    <a:pt x="30480" y="81280"/>
                  </a:lnTo>
                  <a:lnTo>
                    <a:pt x="25908" y="80010"/>
                  </a:lnTo>
                  <a:lnTo>
                    <a:pt x="16764" y="73660"/>
                  </a:lnTo>
                  <a:lnTo>
                    <a:pt x="13716" y="72390"/>
                  </a:lnTo>
                  <a:lnTo>
                    <a:pt x="12700" y="69850"/>
                  </a:lnTo>
                  <a:lnTo>
                    <a:pt x="12192" y="69850"/>
                  </a:lnTo>
                  <a:lnTo>
                    <a:pt x="10668" y="67310"/>
                  </a:lnTo>
                  <a:lnTo>
                    <a:pt x="10668" y="66040"/>
                  </a:lnTo>
                  <a:lnTo>
                    <a:pt x="9652" y="63500"/>
                  </a:lnTo>
                  <a:close/>
                </a:path>
                <a:path w="607060" h="543560">
                  <a:moveTo>
                    <a:pt x="594314" y="68580"/>
                  </a:moveTo>
                  <a:lnTo>
                    <a:pt x="592790" y="72390"/>
                  </a:lnTo>
                  <a:lnTo>
                    <a:pt x="589742" y="74930"/>
                  </a:lnTo>
                  <a:lnTo>
                    <a:pt x="585170" y="76200"/>
                  </a:lnTo>
                  <a:lnTo>
                    <a:pt x="582122" y="80010"/>
                  </a:lnTo>
                  <a:lnTo>
                    <a:pt x="576026" y="81280"/>
                  </a:lnTo>
                  <a:lnTo>
                    <a:pt x="563834" y="87630"/>
                  </a:lnTo>
                  <a:lnTo>
                    <a:pt x="557738" y="88900"/>
                  </a:lnTo>
                  <a:lnTo>
                    <a:pt x="550118" y="91440"/>
                  </a:lnTo>
                  <a:lnTo>
                    <a:pt x="533354" y="96520"/>
                  </a:lnTo>
                  <a:lnTo>
                    <a:pt x="513542" y="99060"/>
                  </a:lnTo>
                  <a:lnTo>
                    <a:pt x="492206" y="104140"/>
                  </a:lnTo>
                  <a:lnTo>
                    <a:pt x="469355" y="106680"/>
                  </a:lnTo>
                  <a:lnTo>
                    <a:pt x="444971" y="110490"/>
                  </a:lnTo>
                  <a:lnTo>
                    <a:pt x="419063" y="111760"/>
                  </a:lnTo>
                  <a:lnTo>
                    <a:pt x="391631" y="114300"/>
                  </a:lnTo>
                  <a:lnTo>
                    <a:pt x="362675" y="114300"/>
                  </a:lnTo>
                  <a:lnTo>
                    <a:pt x="333719" y="115570"/>
                  </a:lnTo>
                  <a:lnTo>
                    <a:pt x="470879" y="115570"/>
                  </a:lnTo>
                  <a:lnTo>
                    <a:pt x="493730" y="113030"/>
                  </a:lnTo>
                  <a:lnTo>
                    <a:pt x="515066" y="107950"/>
                  </a:lnTo>
                  <a:lnTo>
                    <a:pt x="534878" y="105410"/>
                  </a:lnTo>
                  <a:lnTo>
                    <a:pt x="551642" y="100330"/>
                  </a:lnTo>
                  <a:lnTo>
                    <a:pt x="560786" y="97790"/>
                  </a:lnTo>
                  <a:lnTo>
                    <a:pt x="566882" y="95250"/>
                  </a:lnTo>
                  <a:lnTo>
                    <a:pt x="574502" y="92710"/>
                  </a:lnTo>
                  <a:lnTo>
                    <a:pt x="586694" y="87630"/>
                  </a:lnTo>
                  <a:lnTo>
                    <a:pt x="595838" y="81280"/>
                  </a:lnTo>
                  <a:lnTo>
                    <a:pt x="597362" y="79798"/>
                  </a:lnTo>
                  <a:lnTo>
                    <a:pt x="597362" y="69850"/>
                  </a:lnTo>
                  <a:lnTo>
                    <a:pt x="594314" y="69850"/>
                  </a:lnTo>
                  <a:lnTo>
                    <a:pt x="594314" y="68580"/>
                  </a:lnTo>
                  <a:close/>
                </a:path>
                <a:path w="607060" h="543560">
                  <a:moveTo>
                    <a:pt x="597362" y="62230"/>
                  </a:moveTo>
                  <a:lnTo>
                    <a:pt x="597362" y="79798"/>
                  </a:lnTo>
                  <a:lnTo>
                    <a:pt x="604982" y="72390"/>
                  </a:lnTo>
                  <a:lnTo>
                    <a:pt x="604982" y="69850"/>
                  </a:lnTo>
                  <a:lnTo>
                    <a:pt x="606506" y="68580"/>
                  </a:lnTo>
                  <a:lnTo>
                    <a:pt x="606506" y="64770"/>
                  </a:lnTo>
                  <a:lnTo>
                    <a:pt x="597362" y="62230"/>
                  </a:lnTo>
                  <a:close/>
                </a:path>
                <a:path w="607060" h="543560">
                  <a:moveTo>
                    <a:pt x="364199" y="1270"/>
                  </a:moveTo>
                  <a:lnTo>
                    <a:pt x="243815" y="1270"/>
                  </a:lnTo>
                  <a:lnTo>
                    <a:pt x="214859" y="3810"/>
                  </a:lnTo>
                  <a:lnTo>
                    <a:pt x="187439" y="5080"/>
                  </a:lnTo>
                  <a:lnTo>
                    <a:pt x="160007" y="7620"/>
                  </a:lnTo>
                  <a:lnTo>
                    <a:pt x="135623" y="11430"/>
                  </a:lnTo>
                  <a:lnTo>
                    <a:pt x="112763" y="13970"/>
                  </a:lnTo>
                  <a:lnTo>
                    <a:pt x="91427" y="19050"/>
                  </a:lnTo>
                  <a:lnTo>
                    <a:pt x="71615" y="21590"/>
                  </a:lnTo>
                  <a:lnTo>
                    <a:pt x="54851" y="26670"/>
                  </a:lnTo>
                  <a:lnTo>
                    <a:pt x="47231" y="29210"/>
                  </a:lnTo>
                  <a:lnTo>
                    <a:pt x="39624" y="30480"/>
                  </a:lnTo>
                  <a:lnTo>
                    <a:pt x="32004" y="34290"/>
                  </a:lnTo>
                  <a:lnTo>
                    <a:pt x="3048" y="54610"/>
                  </a:lnTo>
                  <a:lnTo>
                    <a:pt x="1524" y="54610"/>
                  </a:lnTo>
                  <a:lnTo>
                    <a:pt x="1524" y="59690"/>
                  </a:lnTo>
                  <a:lnTo>
                    <a:pt x="0" y="62230"/>
                  </a:lnTo>
                  <a:lnTo>
                    <a:pt x="0" y="64770"/>
                  </a:lnTo>
                  <a:lnTo>
                    <a:pt x="1524" y="67310"/>
                  </a:lnTo>
                  <a:lnTo>
                    <a:pt x="1524" y="69850"/>
                  </a:lnTo>
                  <a:lnTo>
                    <a:pt x="4572" y="74930"/>
                  </a:lnTo>
                  <a:lnTo>
                    <a:pt x="9144" y="79502"/>
                  </a:lnTo>
                  <a:lnTo>
                    <a:pt x="9144" y="62230"/>
                  </a:lnTo>
                  <a:lnTo>
                    <a:pt x="10160" y="62230"/>
                  </a:lnTo>
                  <a:lnTo>
                    <a:pt x="10668" y="60960"/>
                  </a:lnTo>
                  <a:lnTo>
                    <a:pt x="10668" y="59690"/>
                  </a:lnTo>
                  <a:lnTo>
                    <a:pt x="12192" y="57150"/>
                  </a:lnTo>
                  <a:lnTo>
                    <a:pt x="13411" y="57150"/>
                  </a:lnTo>
                  <a:lnTo>
                    <a:pt x="18288" y="52070"/>
                  </a:lnTo>
                  <a:lnTo>
                    <a:pt x="21336" y="50800"/>
                  </a:lnTo>
                  <a:lnTo>
                    <a:pt x="30480" y="44450"/>
                  </a:lnTo>
                  <a:lnTo>
                    <a:pt x="36576" y="43180"/>
                  </a:lnTo>
                  <a:lnTo>
                    <a:pt x="42672" y="39370"/>
                  </a:lnTo>
                  <a:lnTo>
                    <a:pt x="50279" y="38100"/>
                  </a:lnTo>
                  <a:lnTo>
                    <a:pt x="57899" y="35560"/>
                  </a:lnTo>
                  <a:lnTo>
                    <a:pt x="74663" y="30480"/>
                  </a:lnTo>
                  <a:lnTo>
                    <a:pt x="92951" y="27940"/>
                  </a:lnTo>
                  <a:lnTo>
                    <a:pt x="114287" y="22860"/>
                  </a:lnTo>
                  <a:lnTo>
                    <a:pt x="137147" y="20320"/>
                  </a:lnTo>
                  <a:lnTo>
                    <a:pt x="161531" y="16510"/>
                  </a:lnTo>
                  <a:lnTo>
                    <a:pt x="187439" y="15240"/>
                  </a:lnTo>
                  <a:lnTo>
                    <a:pt x="214859" y="12700"/>
                  </a:lnTo>
                  <a:lnTo>
                    <a:pt x="243815" y="11430"/>
                  </a:lnTo>
                  <a:lnTo>
                    <a:pt x="470879" y="11430"/>
                  </a:lnTo>
                  <a:lnTo>
                    <a:pt x="446495" y="7620"/>
                  </a:lnTo>
                  <a:lnTo>
                    <a:pt x="420587" y="5080"/>
                  </a:lnTo>
                  <a:lnTo>
                    <a:pt x="393155" y="3810"/>
                  </a:lnTo>
                  <a:lnTo>
                    <a:pt x="364199" y="1270"/>
                  </a:lnTo>
                  <a:close/>
                </a:path>
                <a:path w="607060" h="543560">
                  <a:moveTo>
                    <a:pt x="12192" y="68580"/>
                  </a:moveTo>
                  <a:lnTo>
                    <a:pt x="12192" y="69850"/>
                  </a:lnTo>
                  <a:lnTo>
                    <a:pt x="12700" y="69850"/>
                  </a:lnTo>
                  <a:lnTo>
                    <a:pt x="12192" y="68580"/>
                  </a:lnTo>
                  <a:close/>
                </a:path>
                <a:path w="607060" h="543560">
                  <a:moveTo>
                    <a:pt x="597362" y="64770"/>
                  </a:moveTo>
                  <a:lnTo>
                    <a:pt x="594314" y="69850"/>
                  </a:lnTo>
                  <a:lnTo>
                    <a:pt x="597362" y="69850"/>
                  </a:lnTo>
                  <a:lnTo>
                    <a:pt x="597362" y="64770"/>
                  </a:lnTo>
                  <a:close/>
                </a:path>
                <a:path w="607060" h="543560">
                  <a:moveTo>
                    <a:pt x="9144" y="62230"/>
                  </a:moveTo>
                  <a:lnTo>
                    <a:pt x="9144" y="64770"/>
                  </a:lnTo>
                  <a:lnTo>
                    <a:pt x="9652" y="63500"/>
                  </a:lnTo>
                  <a:lnTo>
                    <a:pt x="9144" y="62230"/>
                  </a:lnTo>
                  <a:close/>
                </a:path>
                <a:path w="607060" h="543560">
                  <a:moveTo>
                    <a:pt x="606506" y="60960"/>
                  </a:moveTo>
                  <a:lnTo>
                    <a:pt x="597362" y="60960"/>
                  </a:lnTo>
                  <a:lnTo>
                    <a:pt x="597362" y="62230"/>
                  </a:lnTo>
                  <a:lnTo>
                    <a:pt x="606506" y="64770"/>
                  </a:lnTo>
                  <a:lnTo>
                    <a:pt x="606506" y="60960"/>
                  </a:lnTo>
                  <a:close/>
                </a:path>
                <a:path w="607060" h="543560">
                  <a:moveTo>
                    <a:pt x="10160" y="62230"/>
                  </a:moveTo>
                  <a:lnTo>
                    <a:pt x="9144" y="62230"/>
                  </a:lnTo>
                  <a:lnTo>
                    <a:pt x="9652" y="63500"/>
                  </a:lnTo>
                  <a:lnTo>
                    <a:pt x="10160" y="62230"/>
                  </a:lnTo>
                  <a:close/>
                </a:path>
                <a:path w="607060" h="543560">
                  <a:moveTo>
                    <a:pt x="605998" y="57150"/>
                  </a:moveTo>
                  <a:lnTo>
                    <a:pt x="594314" y="57150"/>
                  </a:lnTo>
                  <a:lnTo>
                    <a:pt x="597362" y="62230"/>
                  </a:lnTo>
                  <a:lnTo>
                    <a:pt x="597362" y="60960"/>
                  </a:lnTo>
                  <a:lnTo>
                    <a:pt x="606506" y="60960"/>
                  </a:lnTo>
                  <a:lnTo>
                    <a:pt x="606506" y="58420"/>
                  </a:lnTo>
                  <a:lnTo>
                    <a:pt x="605998" y="57150"/>
                  </a:lnTo>
                  <a:close/>
                </a:path>
                <a:path w="607060" h="543560">
                  <a:moveTo>
                    <a:pt x="13411" y="57150"/>
                  </a:moveTo>
                  <a:lnTo>
                    <a:pt x="12192" y="57150"/>
                  </a:lnTo>
                  <a:lnTo>
                    <a:pt x="12192" y="58420"/>
                  </a:lnTo>
                  <a:lnTo>
                    <a:pt x="13411" y="57150"/>
                  </a:lnTo>
                  <a:close/>
                </a:path>
                <a:path w="607060" h="543560">
                  <a:moveTo>
                    <a:pt x="470879" y="11430"/>
                  </a:moveTo>
                  <a:lnTo>
                    <a:pt x="364199" y="11430"/>
                  </a:lnTo>
                  <a:lnTo>
                    <a:pt x="391631" y="12700"/>
                  </a:lnTo>
                  <a:lnTo>
                    <a:pt x="419063" y="15240"/>
                  </a:lnTo>
                  <a:lnTo>
                    <a:pt x="444971" y="16510"/>
                  </a:lnTo>
                  <a:lnTo>
                    <a:pt x="469355" y="20320"/>
                  </a:lnTo>
                  <a:lnTo>
                    <a:pt x="492206" y="22860"/>
                  </a:lnTo>
                  <a:lnTo>
                    <a:pt x="513542" y="27940"/>
                  </a:lnTo>
                  <a:lnTo>
                    <a:pt x="533354" y="30480"/>
                  </a:lnTo>
                  <a:lnTo>
                    <a:pt x="550118" y="35560"/>
                  </a:lnTo>
                  <a:lnTo>
                    <a:pt x="557738" y="38100"/>
                  </a:lnTo>
                  <a:lnTo>
                    <a:pt x="563834" y="39370"/>
                  </a:lnTo>
                  <a:lnTo>
                    <a:pt x="571454" y="43180"/>
                  </a:lnTo>
                  <a:lnTo>
                    <a:pt x="576026" y="45720"/>
                  </a:lnTo>
                  <a:lnTo>
                    <a:pt x="582122" y="46990"/>
                  </a:lnTo>
                  <a:lnTo>
                    <a:pt x="589742" y="53340"/>
                  </a:lnTo>
                  <a:lnTo>
                    <a:pt x="592790" y="54610"/>
                  </a:lnTo>
                  <a:lnTo>
                    <a:pt x="594314" y="58420"/>
                  </a:lnTo>
                  <a:lnTo>
                    <a:pt x="594314" y="57150"/>
                  </a:lnTo>
                  <a:lnTo>
                    <a:pt x="605998" y="57150"/>
                  </a:lnTo>
                  <a:lnTo>
                    <a:pt x="604982" y="54610"/>
                  </a:lnTo>
                  <a:lnTo>
                    <a:pt x="601934" y="52070"/>
                  </a:lnTo>
                  <a:lnTo>
                    <a:pt x="598886" y="46990"/>
                  </a:lnTo>
                  <a:lnTo>
                    <a:pt x="595838" y="44450"/>
                  </a:lnTo>
                  <a:lnTo>
                    <a:pt x="586694" y="39370"/>
                  </a:lnTo>
                  <a:lnTo>
                    <a:pt x="574502" y="34290"/>
                  </a:lnTo>
                  <a:lnTo>
                    <a:pt x="566882" y="30480"/>
                  </a:lnTo>
                  <a:lnTo>
                    <a:pt x="560786" y="29210"/>
                  </a:lnTo>
                  <a:lnTo>
                    <a:pt x="551642" y="26670"/>
                  </a:lnTo>
                  <a:lnTo>
                    <a:pt x="534878" y="21590"/>
                  </a:lnTo>
                  <a:lnTo>
                    <a:pt x="515066" y="19050"/>
                  </a:lnTo>
                  <a:lnTo>
                    <a:pt x="493730" y="13970"/>
                  </a:lnTo>
                  <a:lnTo>
                    <a:pt x="470879" y="11430"/>
                  </a:lnTo>
                  <a:close/>
                </a:path>
                <a:path w="607060" h="543560">
                  <a:moveTo>
                    <a:pt x="303251" y="0"/>
                  </a:moveTo>
                  <a:lnTo>
                    <a:pt x="272771" y="1270"/>
                  </a:lnTo>
                  <a:lnTo>
                    <a:pt x="333719" y="1270"/>
                  </a:lnTo>
                  <a:lnTo>
                    <a:pt x="303251" y="0"/>
                  </a:lnTo>
                  <a:close/>
                </a:path>
              </a:pathLst>
            </a:custGeom>
            <a:solidFill>
              <a:srgbClr val="98CC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3" name="object 43"/>
          <p:cNvSpPr txBox="1"/>
          <p:nvPr/>
        </p:nvSpPr>
        <p:spPr>
          <a:xfrm>
            <a:off x="2083143" y="3518631"/>
            <a:ext cx="350365" cy="47384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indent="15240">
              <a:lnSpc>
                <a:spcPct val="100000"/>
              </a:lnSpc>
              <a:spcBef>
                <a:spcPts val="95"/>
              </a:spcBef>
            </a:pPr>
            <a:r>
              <a:rPr sz="1000" spc="-10" dirty="0">
                <a:latin typeface="Liberation Sans Narrow"/>
                <a:cs typeface="Liberation Sans Narrow"/>
              </a:rPr>
              <a:t>Cl</a:t>
            </a:r>
            <a:r>
              <a:rPr sz="1000" spc="-5" dirty="0">
                <a:latin typeface="Liberation Sans Narrow"/>
                <a:cs typeface="Liberation Sans Narrow"/>
              </a:rPr>
              <a:t>o</a:t>
            </a:r>
            <a:r>
              <a:rPr sz="1000" spc="-10" dirty="0">
                <a:latin typeface="Liberation Sans Narrow"/>
                <a:cs typeface="Liberation Sans Narrow"/>
              </a:rPr>
              <a:t>c</a:t>
            </a:r>
            <a:r>
              <a:rPr sz="1000" spc="-5" dirty="0">
                <a:latin typeface="Liberation Sans Narrow"/>
                <a:cs typeface="Liberation Sans Narrow"/>
              </a:rPr>
              <a:t>k  </a:t>
            </a:r>
            <a:r>
              <a:rPr sz="1000" spc="-10" dirty="0">
                <a:latin typeface="Liberation Sans Narrow"/>
                <a:cs typeface="Liberation Sans Narrow"/>
              </a:rPr>
              <a:t>s</a:t>
            </a:r>
            <a:r>
              <a:rPr sz="1000" spc="-5" dirty="0">
                <a:latin typeface="Liberation Sans Narrow"/>
                <a:cs typeface="Liberation Sans Narrow"/>
              </a:rPr>
              <a:t>er</a:t>
            </a:r>
            <a:r>
              <a:rPr sz="1000" spc="-10" dirty="0">
                <a:latin typeface="Liberation Sans Narrow"/>
                <a:cs typeface="Liberation Sans Narrow"/>
              </a:rPr>
              <a:t>v</a:t>
            </a:r>
            <a:r>
              <a:rPr sz="1000" spc="-5" dirty="0">
                <a:latin typeface="Liberation Sans Narrow"/>
                <a:cs typeface="Liberation Sans Narrow"/>
              </a:rPr>
              <a:t>er</a:t>
            </a:r>
            <a:endParaRPr sz="1000" dirty="0">
              <a:latin typeface="Liberation Sans Narrow"/>
              <a:cs typeface="Liberation Sans Narrow"/>
            </a:endParaRPr>
          </a:p>
        </p:txBody>
      </p:sp>
      <p:sp>
        <p:nvSpPr>
          <p:cNvPr id="44" name="object 44"/>
          <p:cNvSpPr/>
          <p:nvPr/>
        </p:nvSpPr>
        <p:spPr>
          <a:xfrm>
            <a:off x="2302902" y="1765244"/>
            <a:ext cx="372330" cy="47711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 txBox="1"/>
          <p:nvPr/>
        </p:nvSpPr>
        <p:spPr>
          <a:xfrm>
            <a:off x="1917040" y="2270576"/>
            <a:ext cx="1054759" cy="3199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49225" marR="5080" indent="-137160">
              <a:lnSpc>
                <a:spcPct val="100000"/>
              </a:lnSpc>
              <a:spcBef>
                <a:spcPts val="95"/>
              </a:spcBef>
            </a:pPr>
            <a:r>
              <a:rPr sz="1000" spc="-5" dirty="0">
                <a:latin typeface="Liberation Sans Narrow"/>
                <a:cs typeface="Liberation Sans Narrow"/>
              </a:rPr>
              <a:t>Time</a:t>
            </a:r>
            <a:r>
              <a:rPr sz="1000" spc="-75" dirty="0">
                <a:latin typeface="Liberation Sans Narrow"/>
                <a:cs typeface="Liberation Sans Narrow"/>
              </a:rPr>
              <a:t> </a:t>
            </a:r>
            <a:r>
              <a:rPr sz="1000" spc="-5" dirty="0">
                <a:latin typeface="Liberation Sans Narrow"/>
                <a:cs typeface="Liberation Sans Narrow"/>
              </a:rPr>
              <a:t>Recording  Terminals</a:t>
            </a:r>
            <a:endParaRPr sz="1000" dirty="0">
              <a:latin typeface="Liberation Sans Narrow"/>
              <a:cs typeface="Liberation Sans Narrow"/>
            </a:endParaRPr>
          </a:p>
        </p:txBody>
      </p:sp>
      <p:grpSp>
        <p:nvGrpSpPr>
          <p:cNvPr id="46" name="object 46"/>
          <p:cNvGrpSpPr/>
          <p:nvPr/>
        </p:nvGrpSpPr>
        <p:grpSpPr>
          <a:xfrm>
            <a:off x="2053172" y="2659684"/>
            <a:ext cx="460375" cy="574675"/>
            <a:chOff x="2053172" y="2659684"/>
            <a:chExt cx="460375" cy="574675"/>
          </a:xfrm>
        </p:grpSpPr>
        <p:sp>
          <p:nvSpPr>
            <p:cNvPr id="47" name="object 47"/>
            <p:cNvSpPr/>
            <p:nvPr/>
          </p:nvSpPr>
          <p:spPr>
            <a:xfrm>
              <a:off x="2092796" y="2671876"/>
              <a:ext cx="381000" cy="547370"/>
            </a:xfrm>
            <a:custGeom>
              <a:avLst/>
              <a:gdLst/>
              <a:ahLst/>
              <a:cxnLst/>
              <a:rect l="l" t="t" r="r" b="b"/>
              <a:pathLst>
                <a:path w="381000" h="547369">
                  <a:moveTo>
                    <a:pt x="286487" y="0"/>
                  </a:moveTo>
                  <a:lnTo>
                    <a:pt x="95999" y="0"/>
                  </a:lnTo>
                  <a:lnTo>
                    <a:pt x="95999" y="409925"/>
                  </a:lnTo>
                  <a:lnTo>
                    <a:pt x="0" y="409925"/>
                  </a:lnTo>
                  <a:lnTo>
                    <a:pt x="190475" y="547055"/>
                  </a:lnTo>
                  <a:lnTo>
                    <a:pt x="380966" y="409925"/>
                  </a:lnTo>
                  <a:lnTo>
                    <a:pt x="286487" y="409925"/>
                  </a:lnTo>
                  <a:lnTo>
                    <a:pt x="286487" y="0"/>
                  </a:lnTo>
                  <a:close/>
                </a:path>
              </a:pathLst>
            </a:custGeom>
            <a:solidFill>
              <a:srgbClr val="3232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8"/>
            <p:cNvSpPr/>
            <p:nvPr/>
          </p:nvSpPr>
          <p:spPr>
            <a:xfrm>
              <a:off x="2053172" y="2659684"/>
              <a:ext cx="460375" cy="574675"/>
            </a:xfrm>
            <a:custGeom>
              <a:avLst/>
              <a:gdLst/>
              <a:ahLst/>
              <a:cxnLst/>
              <a:rect l="l" t="t" r="r" b="b"/>
              <a:pathLst>
                <a:path w="460375" h="574675">
                  <a:moveTo>
                    <a:pt x="121907" y="409925"/>
                  </a:moveTo>
                  <a:lnTo>
                    <a:pt x="0" y="409925"/>
                  </a:lnTo>
                  <a:lnTo>
                    <a:pt x="230099" y="574487"/>
                  </a:lnTo>
                  <a:lnTo>
                    <a:pt x="266328" y="548579"/>
                  </a:lnTo>
                  <a:lnTo>
                    <a:pt x="222479" y="548579"/>
                  </a:lnTo>
                  <a:lnTo>
                    <a:pt x="230099" y="543093"/>
                  </a:lnTo>
                  <a:lnTo>
                    <a:pt x="81113" y="435833"/>
                  </a:lnTo>
                  <a:lnTo>
                    <a:pt x="39624" y="435833"/>
                  </a:lnTo>
                  <a:lnTo>
                    <a:pt x="47244" y="411449"/>
                  </a:lnTo>
                  <a:lnTo>
                    <a:pt x="121907" y="411449"/>
                  </a:lnTo>
                  <a:lnTo>
                    <a:pt x="121907" y="409925"/>
                  </a:lnTo>
                  <a:close/>
                </a:path>
                <a:path w="460375" h="574675">
                  <a:moveTo>
                    <a:pt x="230099" y="543093"/>
                  </a:moveTo>
                  <a:lnTo>
                    <a:pt x="222479" y="548579"/>
                  </a:lnTo>
                  <a:lnTo>
                    <a:pt x="237719" y="548579"/>
                  </a:lnTo>
                  <a:lnTo>
                    <a:pt x="230099" y="543093"/>
                  </a:lnTo>
                  <a:close/>
                </a:path>
                <a:path w="460375" h="574675">
                  <a:moveTo>
                    <a:pt x="412970" y="411449"/>
                  </a:moveTo>
                  <a:lnTo>
                    <a:pt x="230099" y="543093"/>
                  </a:lnTo>
                  <a:lnTo>
                    <a:pt x="237719" y="548579"/>
                  </a:lnTo>
                  <a:lnTo>
                    <a:pt x="266328" y="548579"/>
                  </a:lnTo>
                  <a:lnTo>
                    <a:pt x="423985" y="435833"/>
                  </a:lnTo>
                  <a:lnTo>
                    <a:pt x="420590" y="435833"/>
                  </a:lnTo>
                  <a:lnTo>
                    <a:pt x="412970" y="411449"/>
                  </a:lnTo>
                  <a:close/>
                </a:path>
                <a:path w="460375" h="574675">
                  <a:moveTo>
                    <a:pt x="47244" y="411449"/>
                  </a:moveTo>
                  <a:lnTo>
                    <a:pt x="39624" y="435833"/>
                  </a:lnTo>
                  <a:lnTo>
                    <a:pt x="81113" y="435833"/>
                  </a:lnTo>
                  <a:lnTo>
                    <a:pt x="47244" y="411449"/>
                  </a:lnTo>
                  <a:close/>
                </a:path>
                <a:path w="460375" h="574675">
                  <a:moveTo>
                    <a:pt x="121907" y="411449"/>
                  </a:moveTo>
                  <a:lnTo>
                    <a:pt x="47244" y="411449"/>
                  </a:lnTo>
                  <a:lnTo>
                    <a:pt x="81113" y="435833"/>
                  </a:lnTo>
                  <a:lnTo>
                    <a:pt x="147815" y="435833"/>
                  </a:lnTo>
                  <a:lnTo>
                    <a:pt x="147815" y="422117"/>
                  </a:lnTo>
                  <a:lnTo>
                    <a:pt x="121907" y="422117"/>
                  </a:lnTo>
                  <a:lnTo>
                    <a:pt x="121907" y="411449"/>
                  </a:lnTo>
                  <a:close/>
                </a:path>
                <a:path w="460375" h="574675">
                  <a:moveTo>
                    <a:pt x="312395" y="12192"/>
                  </a:moveTo>
                  <a:lnTo>
                    <a:pt x="312395" y="435833"/>
                  </a:lnTo>
                  <a:lnTo>
                    <a:pt x="379097" y="435833"/>
                  </a:lnTo>
                  <a:lnTo>
                    <a:pt x="398151" y="422117"/>
                  </a:lnTo>
                  <a:lnTo>
                    <a:pt x="338303" y="422117"/>
                  </a:lnTo>
                  <a:lnTo>
                    <a:pt x="326111" y="409925"/>
                  </a:lnTo>
                  <a:lnTo>
                    <a:pt x="338303" y="409925"/>
                  </a:lnTo>
                  <a:lnTo>
                    <a:pt x="338303" y="25908"/>
                  </a:lnTo>
                  <a:lnTo>
                    <a:pt x="326111" y="25908"/>
                  </a:lnTo>
                  <a:lnTo>
                    <a:pt x="312395" y="12192"/>
                  </a:lnTo>
                  <a:close/>
                </a:path>
                <a:path w="460375" h="574675">
                  <a:moveTo>
                    <a:pt x="458083" y="411449"/>
                  </a:moveTo>
                  <a:lnTo>
                    <a:pt x="412970" y="411449"/>
                  </a:lnTo>
                  <a:lnTo>
                    <a:pt x="420590" y="435833"/>
                  </a:lnTo>
                  <a:lnTo>
                    <a:pt x="423985" y="435833"/>
                  </a:lnTo>
                  <a:lnTo>
                    <a:pt x="458083" y="411449"/>
                  </a:lnTo>
                  <a:close/>
                </a:path>
                <a:path w="460375" h="574675">
                  <a:moveTo>
                    <a:pt x="338303" y="0"/>
                  </a:moveTo>
                  <a:lnTo>
                    <a:pt x="121907" y="0"/>
                  </a:lnTo>
                  <a:lnTo>
                    <a:pt x="121907" y="422117"/>
                  </a:lnTo>
                  <a:lnTo>
                    <a:pt x="135623" y="409925"/>
                  </a:lnTo>
                  <a:lnTo>
                    <a:pt x="147815" y="409925"/>
                  </a:lnTo>
                  <a:lnTo>
                    <a:pt x="147815" y="25908"/>
                  </a:lnTo>
                  <a:lnTo>
                    <a:pt x="135623" y="25908"/>
                  </a:lnTo>
                  <a:lnTo>
                    <a:pt x="147815" y="12192"/>
                  </a:lnTo>
                  <a:lnTo>
                    <a:pt x="338303" y="12192"/>
                  </a:lnTo>
                  <a:lnTo>
                    <a:pt x="338303" y="0"/>
                  </a:lnTo>
                  <a:close/>
                </a:path>
                <a:path w="460375" h="574675">
                  <a:moveTo>
                    <a:pt x="147815" y="409925"/>
                  </a:moveTo>
                  <a:lnTo>
                    <a:pt x="135623" y="409925"/>
                  </a:lnTo>
                  <a:lnTo>
                    <a:pt x="121907" y="422117"/>
                  </a:lnTo>
                  <a:lnTo>
                    <a:pt x="147815" y="422117"/>
                  </a:lnTo>
                  <a:lnTo>
                    <a:pt x="147815" y="409925"/>
                  </a:lnTo>
                  <a:close/>
                </a:path>
                <a:path w="460375" h="574675">
                  <a:moveTo>
                    <a:pt x="338303" y="409925"/>
                  </a:moveTo>
                  <a:lnTo>
                    <a:pt x="326111" y="409925"/>
                  </a:lnTo>
                  <a:lnTo>
                    <a:pt x="338303" y="422117"/>
                  </a:lnTo>
                  <a:lnTo>
                    <a:pt x="338303" y="409925"/>
                  </a:lnTo>
                  <a:close/>
                </a:path>
                <a:path w="460375" h="574675">
                  <a:moveTo>
                    <a:pt x="460214" y="409925"/>
                  </a:moveTo>
                  <a:lnTo>
                    <a:pt x="338303" y="409925"/>
                  </a:lnTo>
                  <a:lnTo>
                    <a:pt x="338303" y="422117"/>
                  </a:lnTo>
                  <a:lnTo>
                    <a:pt x="398151" y="422117"/>
                  </a:lnTo>
                  <a:lnTo>
                    <a:pt x="412970" y="411449"/>
                  </a:lnTo>
                  <a:lnTo>
                    <a:pt x="458083" y="411449"/>
                  </a:lnTo>
                  <a:lnTo>
                    <a:pt x="460214" y="409925"/>
                  </a:lnTo>
                  <a:close/>
                </a:path>
                <a:path w="460375" h="574675">
                  <a:moveTo>
                    <a:pt x="147815" y="12192"/>
                  </a:moveTo>
                  <a:lnTo>
                    <a:pt x="135623" y="25908"/>
                  </a:lnTo>
                  <a:lnTo>
                    <a:pt x="147815" y="25908"/>
                  </a:lnTo>
                  <a:lnTo>
                    <a:pt x="147815" y="12192"/>
                  </a:lnTo>
                  <a:close/>
                </a:path>
                <a:path w="460375" h="574675">
                  <a:moveTo>
                    <a:pt x="312395" y="12192"/>
                  </a:moveTo>
                  <a:lnTo>
                    <a:pt x="147815" y="12192"/>
                  </a:lnTo>
                  <a:lnTo>
                    <a:pt x="147815" y="25908"/>
                  </a:lnTo>
                  <a:lnTo>
                    <a:pt x="312395" y="25908"/>
                  </a:lnTo>
                  <a:lnTo>
                    <a:pt x="312395" y="12192"/>
                  </a:lnTo>
                  <a:close/>
                </a:path>
                <a:path w="460375" h="574675">
                  <a:moveTo>
                    <a:pt x="338303" y="12192"/>
                  </a:moveTo>
                  <a:lnTo>
                    <a:pt x="312395" y="12192"/>
                  </a:lnTo>
                  <a:lnTo>
                    <a:pt x="326111" y="25908"/>
                  </a:lnTo>
                  <a:lnTo>
                    <a:pt x="338303" y="25908"/>
                  </a:lnTo>
                  <a:lnTo>
                    <a:pt x="338303" y="12192"/>
                  </a:lnTo>
                  <a:close/>
                </a:path>
              </a:pathLst>
            </a:custGeom>
            <a:solidFill>
              <a:srgbClr val="375D8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9" name="object 49"/>
          <p:cNvSpPr txBox="1">
            <a:spLocks noGrp="1"/>
          </p:cNvSpPr>
          <p:nvPr>
            <p:ph type="title"/>
          </p:nvPr>
        </p:nvSpPr>
        <p:spPr>
          <a:xfrm>
            <a:off x="758896" y="710125"/>
            <a:ext cx="6197600" cy="36004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200" b="0" spc="-5" dirty="0">
                <a:solidFill>
                  <a:srgbClr val="4D84C4"/>
                </a:solidFill>
                <a:latin typeface="Liberation Sans Narrow"/>
                <a:cs typeface="Liberation Sans Narrow"/>
              </a:rPr>
              <a:t>SAP </a:t>
            </a:r>
            <a:r>
              <a:rPr sz="2200" b="0" spc="-15" dirty="0">
                <a:solidFill>
                  <a:srgbClr val="4D84C4"/>
                </a:solidFill>
                <a:latin typeface="Liberation Sans Narrow"/>
                <a:cs typeface="Liberation Sans Narrow"/>
              </a:rPr>
              <a:t>Time </a:t>
            </a:r>
            <a:r>
              <a:rPr sz="2200" b="0" spc="-10" dirty="0">
                <a:solidFill>
                  <a:srgbClr val="4D84C4"/>
                </a:solidFill>
                <a:latin typeface="Liberation Sans Narrow"/>
                <a:cs typeface="Liberation Sans Narrow"/>
              </a:rPr>
              <a:t>and Payroll Integration </a:t>
            </a:r>
            <a:r>
              <a:rPr sz="2200" b="0" spc="-5" dirty="0">
                <a:solidFill>
                  <a:srgbClr val="4D84C4"/>
                </a:solidFill>
                <a:latin typeface="Liberation Sans Narrow"/>
                <a:cs typeface="Liberation Sans Narrow"/>
              </a:rPr>
              <a:t>with </a:t>
            </a:r>
            <a:r>
              <a:rPr sz="2200" b="0" spc="-10" dirty="0">
                <a:solidFill>
                  <a:srgbClr val="4D84C4"/>
                </a:solidFill>
                <a:latin typeface="Liberation Sans Narrow"/>
                <a:cs typeface="Liberation Sans Narrow"/>
              </a:rPr>
              <a:t>External </a:t>
            </a:r>
            <a:r>
              <a:rPr sz="2200" b="0" spc="-15" dirty="0">
                <a:solidFill>
                  <a:srgbClr val="4D84C4"/>
                </a:solidFill>
                <a:latin typeface="Liberation Sans Narrow"/>
                <a:cs typeface="Liberation Sans Narrow"/>
              </a:rPr>
              <a:t>Time</a:t>
            </a:r>
            <a:r>
              <a:rPr sz="2200" b="0" spc="-10" dirty="0">
                <a:solidFill>
                  <a:srgbClr val="4D84C4"/>
                </a:solidFill>
                <a:latin typeface="Liberation Sans Narrow"/>
                <a:cs typeface="Liberation Sans Narrow"/>
              </a:rPr>
              <a:t> Devices</a:t>
            </a:r>
            <a:endParaRPr sz="2200">
              <a:latin typeface="Liberation Sans Narrow"/>
              <a:cs typeface="Liberation Sans Narrow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6391140" y="3733489"/>
            <a:ext cx="28384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spc="-5" dirty="0">
                <a:latin typeface="Liberation Sans Narrow"/>
                <a:cs typeface="Liberation Sans Narrow"/>
              </a:rPr>
              <a:t>T &amp;</a:t>
            </a:r>
            <a:r>
              <a:rPr sz="1000" spc="-85" dirty="0">
                <a:latin typeface="Liberation Sans Narrow"/>
                <a:cs typeface="Liberation Sans Narrow"/>
              </a:rPr>
              <a:t> </a:t>
            </a:r>
            <a:r>
              <a:rPr sz="1000" spc="-5" dirty="0">
                <a:latin typeface="Liberation Sans Narrow"/>
                <a:cs typeface="Liberation Sans Narrow"/>
              </a:rPr>
              <a:t>A</a:t>
            </a:r>
            <a:endParaRPr sz="1000">
              <a:latin typeface="Liberation Sans Narrow"/>
              <a:cs typeface="Liberation Sans Narrow"/>
            </a:endParaRPr>
          </a:p>
        </p:txBody>
      </p:sp>
      <p:grpSp>
        <p:nvGrpSpPr>
          <p:cNvPr id="51" name="object 51"/>
          <p:cNvGrpSpPr/>
          <p:nvPr/>
        </p:nvGrpSpPr>
        <p:grpSpPr>
          <a:xfrm>
            <a:off x="7043866" y="3493221"/>
            <a:ext cx="581025" cy="399415"/>
            <a:chOff x="7043866" y="3493221"/>
            <a:chExt cx="581025" cy="399415"/>
          </a:xfrm>
        </p:grpSpPr>
        <p:sp>
          <p:nvSpPr>
            <p:cNvPr id="52" name="object 52"/>
            <p:cNvSpPr/>
            <p:nvPr/>
          </p:nvSpPr>
          <p:spPr>
            <a:xfrm>
              <a:off x="7048438" y="3549609"/>
              <a:ext cx="571500" cy="342900"/>
            </a:xfrm>
            <a:custGeom>
              <a:avLst/>
              <a:gdLst/>
              <a:ahLst/>
              <a:cxnLst/>
              <a:rect l="l" t="t" r="r" b="b"/>
              <a:pathLst>
                <a:path w="571500" h="342900">
                  <a:moveTo>
                    <a:pt x="0" y="0"/>
                  </a:moveTo>
                  <a:lnTo>
                    <a:pt x="0" y="342869"/>
                  </a:lnTo>
                  <a:lnTo>
                    <a:pt x="571439" y="342869"/>
                  </a:lnTo>
                  <a:lnTo>
                    <a:pt x="571439" y="50292"/>
                  </a:lnTo>
                  <a:lnTo>
                    <a:pt x="286481" y="50292"/>
                  </a:lnTo>
                  <a:lnTo>
                    <a:pt x="210227" y="48471"/>
                  </a:lnTo>
                  <a:lnTo>
                    <a:pt x="141765" y="43349"/>
                  </a:lnTo>
                  <a:lnTo>
                    <a:pt x="83804" y="35433"/>
                  </a:lnTo>
                  <a:lnTo>
                    <a:pt x="39051" y="25230"/>
                  </a:lnTo>
                  <a:lnTo>
                    <a:pt x="10214" y="13250"/>
                  </a:lnTo>
                  <a:lnTo>
                    <a:pt x="0" y="0"/>
                  </a:lnTo>
                  <a:close/>
                </a:path>
                <a:path w="571500" h="342900">
                  <a:moveTo>
                    <a:pt x="571439" y="0"/>
                  </a:moveTo>
                  <a:lnTo>
                    <a:pt x="532437" y="25230"/>
                  </a:lnTo>
                  <a:lnTo>
                    <a:pt x="487813" y="35433"/>
                  </a:lnTo>
                  <a:lnTo>
                    <a:pt x="430111" y="43349"/>
                  </a:lnTo>
                  <a:lnTo>
                    <a:pt x="362083" y="48471"/>
                  </a:lnTo>
                  <a:lnTo>
                    <a:pt x="286481" y="50292"/>
                  </a:lnTo>
                  <a:lnTo>
                    <a:pt x="571439" y="50292"/>
                  </a:lnTo>
                  <a:lnTo>
                    <a:pt x="571439" y="0"/>
                  </a:lnTo>
                  <a:close/>
                </a:path>
              </a:pathLst>
            </a:custGeom>
            <a:solidFill>
              <a:srgbClr val="98CC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53"/>
            <p:cNvSpPr/>
            <p:nvPr/>
          </p:nvSpPr>
          <p:spPr>
            <a:xfrm>
              <a:off x="7048438" y="3497793"/>
              <a:ext cx="571500" cy="102235"/>
            </a:xfrm>
            <a:custGeom>
              <a:avLst/>
              <a:gdLst/>
              <a:ahLst/>
              <a:cxnLst/>
              <a:rect l="l" t="t" r="r" b="b"/>
              <a:pathLst>
                <a:path w="571500" h="102235">
                  <a:moveTo>
                    <a:pt x="286481" y="0"/>
                  </a:moveTo>
                  <a:lnTo>
                    <a:pt x="210227" y="1827"/>
                  </a:lnTo>
                  <a:lnTo>
                    <a:pt x="141765" y="6999"/>
                  </a:lnTo>
                  <a:lnTo>
                    <a:pt x="83804" y="15049"/>
                  </a:lnTo>
                  <a:lnTo>
                    <a:pt x="39051" y="25512"/>
                  </a:lnTo>
                  <a:lnTo>
                    <a:pt x="0" y="51816"/>
                  </a:lnTo>
                  <a:lnTo>
                    <a:pt x="10214" y="65066"/>
                  </a:lnTo>
                  <a:lnTo>
                    <a:pt x="83804" y="87249"/>
                  </a:lnTo>
                  <a:lnTo>
                    <a:pt x="141765" y="95165"/>
                  </a:lnTo>
                  <a:lnTo>
                    <a:pt x="210227" y="100287"/>
                  </a:lnTo>
                  <a:lnTo>
                    <a:pt x="286481" y="102108"/>
                  </a:lnTo>
                  <a:lnTo>
                    <a:pt x="362083" y="100287"/>
                  </a:lnTo>
                  <a:lnTo>
                    <a:pt x="430111" y="95165"/>
                  </a:lnTo>
                  <a:lnTo>
                    <a:pt x="487813" y="87249"/>
                  </a:lnTo>
                  <a:lnTo>
                    <a:pt x="532437" y="77046"/>
                  </a:lnTo>
                  <a:lnTo>
                    <a:pt x="571439" y="51816"/>
                  </a:lnTo>
                  <a:lnTo>
                    <a:pt x="561229" y="37923"/>
                  </a:lnTo>
                  <a:lnTo>
                    <a:pt x="487813" y="15049"/>
                  </a:lnTo>
                  <a:lnTo>
                    <a:pt x="430111" y="6999"/>
                  </a:lnTo>
                  <a:lnTo>
                    <a:pt x="362083" y="1827"/>
                  </a:lnTo>
                  <a:lnTo>
                    <a:pt x="286481" y="0"/>
                  </a:lnTo>
                  <a:close/>
                </a:path>
              </a:pathLst>
            </a:custGeom>
            <a:solidFill>
              <a:srgbClr val="C1E0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4"/>
            <p:cNvSpPr/>
            <p:nvPr/>
          </p:nvSpPr>
          <p:spPr>
            <a:xfrm>
              <a:off x="7043866" y="3493221"/>
              <a:ext cx="581025" cy="399415"/>
            </a:xfrm>
            <a:custGeom>
              <a:avLst/>
              <a:gdLst/>
              <a:ahLst/>
              <a:cxnLst/>
              <a:rect l="l" t="t" r="r" b="b"/>
              <a:pathLst>
                <a:path w="581025" h="399414">
                  <a:moveTo>
                    <a:pt x="0" y="56388"/>
                  </a:moveTo>
                  <a:lnTo>
                    <a:pt x="0" y="399257"/>
                  </a:lnTo>
                  <a:lnTo>
                    <a:pt x="9144" y="399257"/>
                  </a:lnTo>
                  <a:lnTo>
                    <a:pt x="9144" y="71120"/>
                  </a:lnTo>
                  <a:lnTo>
                    <a:pt x="7620" y="70104"/>
                  </a:lnTo>
                  <a:lnTo>
                    <a:pt x="4572" y="67056"/>
                  </a:lnTo>
                  <a:lnTo>
                    <a:pt x="3048" y="64008"/>
                  </a:lnTo>
                  <a:lnTo>
                    <a:pt x="1524" y="62484"/>
                  </a:lnTo>
                  <a:lnTo>
                    <a:pt x="1524" y="59436"/>
                  </a:lnTo>
                  <a:lnTo>
                    <a:pt x="0" y="56388"/>
                  </a:lnTo>
                  <a:close/>
                </a:path>
                <a:path w="581025" h="399414">
                  <a:moveTo>
                    <a:pt x="580583" y="60960"/>
                  </a:moveTo>
                  <a:lnTo>
                    <a:pt x="579059" y="62484"/>
                  </a:lnTo>
                  <a:lnTo>
                    <a:pt x="579059" y="64008"/>
                  </a:lnTo>
                  <a:lnTo>
                    <a:pt x="577535" y="67056"/>
                  </a:lnTo>
                  <a:lnTo>
                    <a:pt x="576011" y="67056"/>
                  </a:lnTo>
                  <a:lnTo>
                    <a:pt x="574487" y="70104"/>
                  </a:lnTo>
                  <a:lnTo>
                    <a:pt x="571439" y="71120"/>
                  </a:lnTo>
                  <a:lnTo>
                    <a:pt x="571439" y="399257"/>
                  </a:lnTo>
                  <a:lnTo>
                    <a:pt x="580583" y="399257"/>
                  </a:lnTo>
                  <a:lnTo>
                    <a:pt x="580583" y="60960"/>
                  </a:lnTo>
                  <a:close/>
                </a:path>
                <a:path w="581025" h="399414">
                  <a:moveTo>
                    <a:pt x="348965" y="109728"/>
                  </a:moveTo>
                  <a:lnTo>
                    <a:pt x="233141" y="109728"/>
                  </a:lnTo>
                  <a:lnTo>
                    <a:pt x="262097" y="111252"/>
                  </a:lnTo>
                  <a:lnTo>
                    <a:pt x="320009" y="111252"/>
                  </a:lnTo>
                  <a:lnTo>
                    <a:pt x="348965" y="109728"/>
                  </a:lnTo>
                  <a:close/>
                </a:path>
                <a:path w="581025" h="399414">
                  <a:moveTo>
                    <a:pt x="9525" y="55626"/>
                  </a:moveTo>
                  <a:lnTo>
                    <a:pt x="9144" y="56388"/>
                  </a:lnTo>
                  <a:lnTo>
                    <a:pt x="9144" y="71120"/>
                  </a:lnTo>
                  <a:lnTo>
                    <a:pt x="12192" y="73152"/>
                  </a:lnTo>
                  <a:lnTo>
                    <a:pt x="15240" y="74676"/>
                  </a:lnTo>
                  <a:lnTo>
                    <a:pt x="19812" y="77724"/>
                  </a:lnTo>
                  <a:lnTo>
                    <a:pt x="25908" y="80772"/>
                  </a:lnTo>
                  <a:lnTo>
                    <a:pt x="32004" y="82296"/>
                  </a:lnTo>
                  <a:lnTo>
                    <a:pt x="38100" y="85344"/>
                  </a:lnTo>
                  <a:lnTo>
                    <a:pt x="53340" y="88392"/>
                  </a:lnTo>
                  <a:lnTo>
                    <a:pt x="70104" y="92964"/>
                  </a:lnTo>
                  <a:lnTo>
                    <a:pt x="88361" y="96012"/>
                  </a:lnTo>
                  <a:lnTo>
                    <a:pt x="108173" y="100584"/>
                  </a:lnTo>
                  <a:lnTo>
                    <a:pt x="131033" y="102108"/>
                  </a:lnTo>
                  <a:lnTo>
                    <a:pt x="153893" y="105156"/>
                  </a:lnTo>
                  <a:lnTo>
                    <a:pt x="179801" y="108204"/>
                  </a:lnTo>
                  <a:lnTo>
                    <a:pt x="205709" y="109728"/>
                  </a:lnTo>
                  <a:lnTo>
                    <a:pt x="376367" y="109728"/>
                  </a:lnTo>
                  <a:lnTo>
                    <a:pt x="402275" y="108204"/>
                  </a:lnTo>
                  <a:lnTo>
                    <a:pt x="428183" y="105156"/>
                  </a:lnTo>
                  <a:lnTo>
                    <a:pt x="451043" y="102108"/>
                  </a:lnTo>
                  <a:lnTo>
                    <a:pt x="262097" y="102108"/>
                  </a:lnTo>
                  <a:lnTo>
                    <a:pt x="155417" y="96012"/>
                  </a:lnTo>
                  <a:lnTo>
                    <a:pt x="109697" y="89916"/>
                  </a:lnTo>
                  <a:lnTo>
                    <a:pt x="71628" y="83820"/>
                  </a:lnTo>
                  <a:lnTo>
                    <a:pt x="54864" y="79248"/>
                  </a:lnTo>
                  <a:lnTo>
                    <a:pt x="41148" y="76200"/>
                  </a:lnTo>
                  <a:lnTo>
                    <a:pt x="35052" y="73152"/>
                  </a:lnTo>
                  <a:lnTo>
                    <a:pt x="28956" y="71628"/>
                  </a:lnTo>
                  <a:lnTo>
                    <a:pt x="24384" y="68580"/>
                  </a:lnTo>
                  <a:lnTo>
                    <a:pt x="19812" y="67056"/>
                  </a:lnTo>
                  <a:lnTo>
                    <a:pt x="16764" y="64008"/>
                  </a:lnTo>
                  <a:lnTo>
                    <a:pt x="13716" y="62484"/>
                  </a:lnTo>
                  <a:lnTo>
                    <a:pt x="12192" y="60960"/>
                  </a:lnTo>
                  <a:lnTo>
                    <a:pt x="11430" y="59436"/>
                  </a:lnTo>
                  <a:lnTo>
                    <a:pt x="10668" y="59436"/>
                  </a:lnTo>
                  <a:lnTo>
                    <a:pt x="10668" y="57912"/>
                  </a:lnTo>
                  <a:lnTo>
                    <a:pt x="9525" y="55626"/>
                  </a:lnTo>
                  <a:close/>
                </a:path>
                <a:path w="581025" h="399414">
                  <a:moveTo>
                    <a:pt x="571439" y="57912"/>
                  </a:moveTo>
                  <a:lnTo>
                    <a:pt x="569915" y="60960"/>
                  </a:lnTo>
                  <a:lnTo>
                    <a:pt x="566867" y="62484"/>
                  </a:lnTo>
                  <a:lnTo>
                    <a:pt x="565343" y="65532"/>
                  </a:lnTo>
                  <a:lnTo>
                    <a:pt x="560771" y="67056"/>
                  </a:lnTo>
                  <a:lnTo>
                    <a:pt x="551627" y="71628"/>
                  </a:lnTo>
                  <a:lnTo>
                    <a:pt x="547055" y="73152"/>
                  </a:lnTo>
                  <a:lnTo>
                    <a:pt x="540959" y="76200"/>
                  </a:lnTo>
                  <a:lnTo>
                    <a:pt x="525719" y="79248"/>
                  </a:lnTo>
                  <a:lnTo>
                    <a:pt x="510479" y="83820"/>
                  </a:lnTo>
                  <a:lnTo>
                    <a:pt x="492191" y="86868"/>
                  </a:lnTo>
                  <a:lnTo>
                    <a:pt x="472379" y="89916"/>
                  </a:lnTo>
                  <a:lnTo>
                    <a:pt x="426659" y="96012"/>
                  </a:lnTo>
                  <a:lnTo>
                    <a:pt x="320009" y="102108"/>
                  </a:lnTo>
                  <a:lnTo>
                    <a:pt x="451043" y="102108"/>
                  </a:lnTo>
                  <a:lnTo>
                    <a:pt x="473903" y="100584"/>
                  </a:lnTo>
                  <a:lnTo>
                    <a:pt x="493715" y="96012"/>
                  </a:lnTo>
                  <a:lnTo>
                    <a:pt x="512003" y="92964"/>
                  </a:lnTo>
                  <a:lnTo>
                    <a:pt x="528767" y="88392"/>
                  </a:lnTo>
                  <a:lnTo>
                    <a:pt x="544007" y="85344"/>
                  </a:lnTo>
                  <a:lnTo>
                    <a:pt x="556199" y="79248"/>
                  </a:lnTo>
                  <a:lnTo>
                    <a:pt x="560771" y="77724"/>
                  </a:lnTo>
                  <a:lnTo>
                    <a:pt x="566867" y="74676"/>
                  </a:lnTo>
                  <a:lnTo>
                    <a:pt x="569915" y="71628"/>
                  </a:lnTo>
                  <a:lnTo>
                    <a:pt x="571439" y="71120"/>
                  </a:lnTo>
                  <a:lnTo>
                    <a:pt x="571439" y="57912"/>
                  </a:lnTo>
                  <a:close/>
                </a:path>
                <a:path w="581025" h="399414">
                  <a:moveTo>
                    <a:pt x="376367" y="1524"/>
                  </a:moveTo>
                  <a:lnTo>
                    <a:pt x="205709" y="1524"/>
                  </a:lnTo>
                  <a:lnTo>
                    <a:pt x="179801" y="4572"/>
                  </a:lnTo>
                  <a:lnTo>
                    <a:pt x="153893" y="6096"/>
                  </a:lnTo>
                  <a:lnTo>
                    <a:pt x="108173" y="12192"/>
                  </a:lnTo>
                  <a:lnTo>
                    <a:pt x="68580" y="18288"/>
                  </a:lnTo>
                  <a:lnTo>
                    <a:pt x="51816" y="22860"/>
                  </a:lnTo>
                  <a:lnTo>
                    <a:pt x="38100" y="27432"/>
                  </a:lnTo>
                  <a:lnTo>
                    <a:pt x="32004" y="28956"/>
                  </a:lnTo>
                  <a:lnTo>
                    <a:pt x="25908" y="32004"/>
                  </a:lnTo>
                  <a:lnTo>
                    <a:pt x="19812" y="33528"/>
                  </a:lnTo>
                  <a:lnTo>
                    <a:pt x="10668" y="39624"/>
                  </a:lnTo>
                  <a:lnTo>
                    <a:pt x="7620" y="42672"/>
                  </a:lnTo>
                  <a:lnTo>
                    <a:pt x="4572" y="44196"/>
                  </a:lnTo>
                  <a:lnTo>
                    <a:pt x="4572" y="45720"/>
                  </a:lnTo>
                  <a:lnTo>
                    <a:pt x="1524" y="48768"/>
                  </a:lnTo>
                  <a:lnTo>
                    <a:pt x="1524" y="51816"/>
                  </a:lnTo>
                  <a:lnTo>
                    <a:pt x="0" y="54864"/>
                  </a:lnTo>
                  <a:lnTo>
                    <a:pt x="0" y="56388"/>
                  </a:lnTo>
                  <a:lnTo>
                    <a:pt x="1524" y="59436"/>
                  </a:lnTo>
                  <a:lnTo>
                    <a:pt x="1524" y="62484"/>
                  </a:lnTo>
                  <a:lnTo>
                    <a:pt x="3048" y="64008"/>
                  </a:lnTo>
                  <a:lnTo>
                    <a:pt x="4572" y="67056"/>
                  </a:lnTo>
                  <a:lnTo>
                    <a:pt x="7620" y="70104"/>
                  </a:lnTo>
                  <a:lnTo>
                    <a:pt x="9144" y="71120"/>
                  </a:lnTo>
                  <a:lnTo>
                    <a:pt x="9144" y="54864"/>
                  </a:lnTo>
                  <a:lnTo>
                    <a:pt x="9906" y="54864"/>
                  </a:lnTo>
                  <a:lnTo>
                    <a:pt x="10668" y="53340"/>
                  </a:lnTo>
                  <a:lnTo>
                    <a:pt x="10668" y="51816"/>
                  </a:lnTo>
                  <a:lnTo>
                    <a:pt x="11430" y="51816"/>
                  </a:lnTo>
                  <a:lnTo>
                    <a:pt x="12192" y="50292"/>
                  </a:lnTo>
                  <a:lnTo>
                    <a:pt x="12954" y="50292"/>
                  </a:lnTo>
                  <a:lnTo>
                    <a:pt x="13716" y="48768"/>
                  </a:lnTo>
                  <a:lnTo>
                    <a:pt x="16764" y="47244"/>
                  </a:lnTo>
                  <a:lnTo>
                    <a:pt x="19812" y="44196"/>
                  </a:lnTo>
                  <a:lnTo>
                    <a:pt x="24384" y="42672"/>
                  </a:lnTo>
                  <a:lnTo>
                    <a:pt x="28956" y="39624"/>
                  </a:lnTo>
                  <a:lnTo>
                    <a:pt x="41148" y="36576"/>
                  </a:lnTo>
                  <a:lnTo>
                    <a:pt x="54864" y="32004"/>
                  </a:lnTo>
                  <a:lnTo>
                    <a:pt x="109697" y="21336"/>
                  </a:lnTo>
                  <a:lnTo>
                    <a:pt x="155417" y="15240"/>
                  </a:lnTo>
                  <a:lnTo>
                    <a:pt x="262097" y="9144"/>
                  </a:lnTo>
                  <a:lnTo>
                    <a:pt x="451043" y="9144"/>
                  </a:lnTo>
                  <a:lnTo>
                    <a:pt x="428183" y="6096"/>
                  </a:lnTo>
                  <a:lnTo>
                    <a:pt x="402275" y="4572"/>
                  </a:lnTo>
                  <a:lnTo>
                    <a:pt x="376367" y="1524"/>
                  </a:lnTo>
                  <a:close/>
                </a:path>
                <a:path w="581025" h="399414">
                  <a:moveTo>
                    <a:pt x="571439" y="54864"/>
                  </a:moveTo>
                  <a:lnTo>
                    <a:pt x="571439" y="71120"/>
                  </a:lnTo>
                  <a:lnTo>
                    <a:pt x="574487" y="70104"/>
                  </a:lnTo>
                  <a:lnTo>
                    <a:pt x="576011" y="67056"/>
                  </a:lnTo>
                  <a:lnTo>
                    <a:pt x="577535" y="67056"/>
                  </a:lnTo>
                  <a:lnTo>
                    <a:pt x="579059" y="64008"/>
                  </a:lnTo>
                  <a:lnTo>
                    <a:pt x="579059" y="62484"/>
                  </a:lnTo>
                  <a:lnTo>
                    <a:pt x="580583" y="60960"/>
                  </a:lnTo>
                  <a:lnTo>
                    <a:pt x="580583" y="56388"/>
                  </a:lnTo>
                  <a:lnTo>
                    <a:pt x="571439" y="54864"/>
                  </a:lnTo>
                  <a:close/>
                </a:path>
                <a:path w="581025" h="399414">
                  <a:moveTo>
                    <a:pt x="10668" y="57912"/>
                  </a:moveTo>
                  <a:lnTo>
                    <a:pt x="10668" y="59436"/>
                  </a:lnTo>
                  <a:lnTo>
                    <a:pt x="11430" y="59436"/>
                  </a:lnTo>
                  <a:lnTo>
                    <a:pt x="10668" y="57912"/>
                  </a:lnTo>
                  <a:close/>
                </a:path>
                <a:path w="581025" h="399414">
                  <a:moveTo>
                    <a:pt x="9144" y="54864"/>
                  </a:moveTo>
                  <a:lnTo>
                    <a:pt x="9144" y="56388"/>
                  </a:lnTo>
                  <a:lnTo>
                    <a:pt x="9525" y="55626"/>
                  </a:lnTo>
                  <a:lnTo>
                    <a:pt x="9144" y="54864"/>
                  </a:lnTo>
                  <a:close/>
                </a:path>
                <a:path w="581025" h="399414">
                  <a:moveTo>
                    <a:pt x="580583" y="51816"/>
                  </a:moveTo>
                  <a:lnTo>
                    <a:pt x="571439" y="51816"/>
                  </a:lnTo>
                  <a:lnTo>
                    <a:pt x="571439" y="54864"/>
                  </a:lnTo>
                  <a:lnTo>
                    <a:pt x="580583" y="56388"/>
                  </a:lnTo>
                  <a:lnTo>
                    <a:pt x="580583" y="51816"/>
                  </a:lnTo>
                  <a:close/>
                </a:path>
                <a:path w="581025" h="399414">
                  <a:moveTo>
                    <a:pt x="9906" y="54864"/>
                  </a:moveTo>
                  <a:lnTo>
                    <a:pt x="9144" y="54864"/>
                  </a:lnTo>
                  <a:lnTo>
                    <a:pt x="9525" y="55626"/>
                  </a:lnTo>
                  <a:lnTo>
                    <a:pt x="9906" y="54864"/>
                  </a:lnTo>
                  <a:close/>
                </a:path>
                <a:path w="581025" h="399414">
                  <a:moveTo>
                    <a:pt x="11430" y="51816"/>
                  </a:moveTo>
                  <a:lnTo>
                    <a:pt x="10668" y="51816"/>
                  </a:lnTo>
                  <a:lnTo>
                    <a:pt x="10668" y="53340"/>
                  </a:lnTo>
                  <a:lnTo>
                    <a:pt x="11430" y="51816"/>
                  </a:lnTo>
                  <a:close/>
                </a:path>
                <a:path w="581025" h="399414">
                  <a:moveTo>
                    <a:pt x="579821" y="50292"/>
                  </a:moveTo>
                  <a:lnTo>
                    <a:pt x="569915" y="50292"/>
                  </a:lnTo>
                  <a:lnTo>
                    <a:pt x="571439" y="53340"/>
                  </a:lnTo>
                  <a:lnTo>
                    <a:pt x="571439" y="51816"/>
                  </a:lnTo>
                  <a:lnTo>
                    <a:pt x="580583" y="51816"/>
                  </a:lnTo>
                  <a:lnTo>
                    <a:pt x="579821" y="50292"/>
                  </a:lnTo>
                  <a:close/>
                </a:path>
                <a:path w="581025" h="399414">
                  <a:moveTo>
                    <a:pt x="12954" y="50292"/>
                  </a:moveTo>
                  <a:lnTo>
                    <a:pt x="12192" y="50292"/>
                  </a:lnTo>
                  <a:lnTo>
                    <a:pt x="12192" y="51816"/>
                  </a:lnTo>
                  <a:lnTo>
                    <a:pt x="12954" y="50292"/>
                  </a:lnTo>
                  <a:close/>
                </a:path>
                <a:path w="581025" h="399414">
                  <a:moveTo>
                    <a:pt x="451043" y="9144"/>
                  </a:moveTo>
                  <a:lnTo>
                    <a:pt x="320009" y="9144"/>
                  </a:lnTo>
                  <a:lnTo>
                    <a:pt x="426659" y="15240"/>
                  </a:lnTo>
                  <a:lnTo>
                    <a:pt x="472379" y="21336"/>
                  </a:lnTo>
                  <a:lnTo>
                    <a:pt x="492191" y="24384"/>
                  </a:lnTo>
                  <a:lnTo>
                    <a:pt x="510479" y="27432"/>
                  </a:lnTo>
                  <a:lnTo>
                    <a:pt x="527243" y="32004"/>
                  </a:lnTo>
                  <a:lnTo>
                    <a:pt x="540959" y="36576"/>
                  </a:lnTo>
                  <a:lnTo>
                    <a:pt x="547055" y="38100"/>
                  </a:lnTo>
                  <a:lnTo>
                    <a:pt x="551627" y="39624"/>
                  </a:lnTo>
                  <a:lnTo>
                    <a:pt x="560771" y="44196"/>
                  </a:lnTo>
                  <a:lnTo>
                    <a:pt x="565343" y="47244"/>
                  </a:lnTo>
                  <a:lnTo>
                    <a:pt x="568391" y="48768"/>
                  </a:lnTo>
                  <a:lnTo>
                    <a:pt x="569915" y="51816"/>
                  </a:lnTo>
                  <a:lnTo>
                    <a:pt x="569915" y="50292"/>
                  </a:lnTo>
                  <a:lnTo>
                    <a:pt x="579821" y="50292"/>
                  </a:lnTo>
                  <a:lnTo>
                    <a:pt x="579059" y="48768"/>
                  </a:lnTo>
                  <a:lnTo>
                    <a:pt x="579059" y="47244"/>
                  </a:lnTo>
                  <a:lnTo>
                    <a:pt x="572963" y="41148"/>
                  </a:lnTo>
                  <a:lnTo>
                    <a:pt x="569915" y="39624"/>
                  </a:lnTo>
                  <a:lnTo>
                    <a:pt x="560771" y="33528"/>
                  </a:lnTo>
                  <a:lnTo>
                    <a:pt x="556199" y="32004"/>
                  </a:lnTo>
                  <a:lnTo>
                    <a:pt x="550103" y="28956"/>
                  </a:lnTo>
                  <a:lnTo>
                    <a:pt x="544007" y="27432"/>
                  </a:lnTo>
                  <a:lnTo>
                    <a:pt x="528767" y="22860"/>
                  </a:lnTo>
                  <a:lnTo>
                    <a:pt x="512003" y="18288"/>
                  </a:lnTo>
                  <a:lnTo>
                    <a:pt x="493715" y="15240"/>
                  </a:lnTo>
                  <a:lnTo>
                    <a:pt x="473903" y="12192"/>
                  </a:lnTo>
                  <a:lnTo>
                    <a:pt x="451043" y="9144"/>
                  </a:lnTo>
                  <a:close/>
                </a:path>
                <a:path w="581025" h="399414">
                  <a:moveTo>
                    <a:pt x="320009" y="0"/>
                  </a:moveTo>
                  <a:lnTo>
                    <a:pt x="262097" y="0"/>
                  </a:lnTo>
                  <a:lnTo>
                    <a:pt x="233141" y="1524"/>
                  </a:lnTo>
                  <a:lnTo>
                    <a:pt x="348965" y="1524"/>
                  </a:lnTo>
                  <a:lnTo>
                    <a:pt x="320009" y="0"/>
                  </a:lnTo>
                  <a:close/>
                </a:path>
              </a:pathLst>
            </a:custGeom>
            <a:solidFill>
              <a:srgbClr val="3298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5" name="object 55"/>
          <p:cNvSpPr txBox="1"/>
          <p:nvPr/>
        </p:nvSpPr>
        <p:spPr>
          <a:xfrm>
            <a:off x="7162208" y="3721298"/>
            <a:ext cx="34290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spc="-10" dirty="0">
                <a:latin typeface="Liberation Sans Narrow"/>
                <a:cs typeface="Liberation Sans Narrow"/>
              </a:rPr>
              <a:t>P</a:t>
            </a:r>
            <a:r>
              <a:rPr sz="1000" spc="-5" dirty="0">
                <a:latin typeface="Liberation Sans Narrow"/>
                <a:cs typeface="Liberation Sans Narrow"/>
              </a:rPr>
              <a:t>a</a:t>
            </a:r>
            <a:r>
              <a:rPr sz="1000" spc="-10" dirty="0">
                <a:latin typeface="Liberation Sans Narrow"/>
                <a:cs typeface="Liberation Sans Narrow"/>
              </a:rPr>
              <a:t>y</a:t>
            </a:r>
            <a:r>
              <a:rPr sz="1000" spc="-5" dirty="0">
                <a:latin typeface="Liberation Sans Narrow"/>
                <a:cs typeface="Liberation Sans Narrow"/>
              </a:rPr>
              <a:t>ro</a:t>
            </a:r>
            <a:r>
              <a:rPr sz="1000" spc="-10" dirty="0">
                <a:latin typeface="Liberation Sans Narrow"/>
                <a:cs typeface="Liberation Sans Narrow"/>
              </a:rPr>
              <a:t>l</a:t>
            </a:r>
            <a:r>
              <a:rPr sz="1000" spc="-5" dirty="0">
                <a:latin typeface="Liberation Sans Narrow"/>
                <a:cs typeface="Liberation Sans Narrow"/>
              </a:rPr>
              <a:t>l</a:t>
            </a:r>
            <a:endParaRPr sz="1000">
              <a:latin typeface="Liberation Sans Narrow"/>
              <a:cs typeface="Liberation Sans Narrow"/>
            </a:endParaRPr>
          </a:p>
        </p:txBody>
      </p:sp>
      <p:grpSp>
        <p:nvGrpSpPr>
          <p:cNvPr id="56" name="object 56"/>
          <p:cNvGrpSpPr/>
          <p:nvPr/>
        </p:nvGrpSpPr>
        <p:grpSpPr>
          <a:xfrm>
            <a:off x="6740590" y="3625809"/>
            <a:ext cx="410209" cy="266700"/>
            <a:chOff x="6740590" y="3625809"/>
            <a:chExt cx="410209" cy="266700"/>
          </a:xfrm>
        </p:grpSpPr>
        <p:sp>
          <p:nvSpPr>
            <p:cNvPr id="57" name="object 57"/>
            <p:cNvSpPr/>
            <p:nvPr/>
          </p:nvSpPr>
          <p:spPr>
            <a:xfrm>
              <a:off x="6754306" y="3662385"/>
              <a:ext cx="381000" cy="230504"/>
            </a:xfrm>
            <a:custGeom>
              <a:avLst/>
              <a:gdLst/>
              <a:ahLst/>
              <a:cxnLst/>
              <a:rect l="l" t="t" r="r" b="b"/>
              <a:pathLst>
                <a:path w="381000" h="230504">
                  <a:moveTo>
                    <a:pt x="284988" y="0"/>
                  </a:moveTo>
                  <a:lnTo>
                    <a:pt x="284988" y="60960"/>
                  </a:lnTo>
                  <a:lnTo>
                    <a:pt x="0" y="60960"/>
                  </a:lnTo>
                  <a:lnTo>
                    <a:pt x="0" y="181325"/>
                  </a:lnTo>
                  <a:lnTo>
                    <a:pt x="284988" y="181325"/>
                  </a:lnTo>
                  <a:lnTo>
                    <a:pt x="284988" y="230093"/>
                  </a:lnTo>
                  <a:lnTo>
                    <a:pt x="294709" y="230093"/>
                  </a:lnTo>
                  <a:lnTo>
                    <a:pt x="380969" y="121920"/>
                  </a:lnTo>
                  <a:lnTo>
                    <a:pt x="284988" y="0"/>
                  </a:lnTo>
                  <a:close/>
                </a:path>
              </a:pathLst>
            </a:custGeom>
            <a:solidFill>
              <a:srgbClr val="3232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58"/>
            <p:cNvSpPr/>
            <p:nvPr/>
          </p:nvSpPr>
          <p:spPr>
            <a:xfrm>
              <a:off x="6740590" y="3625809"/>
              <a:ext cx="410209" cy="266700"/>
            </a:xfrm>
            <a:custGeom>
              <a:avLst/>
              <a:gdLst/>
              <a:ahLst/>
              <a:cxnLst/>
              <a:rect l="l" t="t" r="r" b="b"/>
              <a:pathLst>
                <a:path w="410209" h="266700">
                  <a:moveTo>
                    <a:pt x="286512" y="217901"/>
                  </a:moveTo>
                  <a:lnTo>
                    <a:pt x="286512" y="266669"/>
                  </a:lnTo>
                  <a:lnTo>
                    <a:pt x="293104" y="266669"/>
                  </a:lnTo>
                  <a:lnTo>
                    <a:pt x="310896" y="243718"/>
                  </a:lnTo>
                  <a:lnTo>
                    <a:pt x="310896" y="231617"/>
                  </a:lnTo>
                  <a:lnTo>
                    <a:pt x="298704" y="231617"/>
                  </a:lnTo>
                  <a:lnTo>
                    <a:pt x="286512" y="217901"/>
                  </a:lnTo>
                  <a:close/>
                </a:path>
                <a:path w="410209" h="266700">
                  <a:moveTo>
                    <a:pt x="310896" y="243718"/>
                  </a:moveTo>
                  <a:lnTo>
                    <a:pt x="293104" y="266669"/>
                  </a:lnTo>
                  <a:lnTo>
                    <a:pt x="310896" y="266669"/>
                  </a:lnTo>
                  <a:lnTo>
                    <a:pt x="310896" y="243718"/>
                  </a:lnTo>
                  <a:close/>
                </a:path>
                <a:path w="410209" h="266700">
                  <a:moveTo>
                    <a:pt x="377510" y="157785"/>
                  </a:moveTo>
                  <a:lnTo>
                    <a:pt x="310896" y="243718"/>
                  </a:lnTo>
                  <a:lnTo>
                    <a:pt x="310896" y="266669"/>
                  </a:lnTo>
                  <a:lnTo>
                    <a:pt x="324861" y="266669"/>
                  </a:lnTo>
                  <a:lnTo>
                    <a:pt x="403933" y="166116"/>
                  </a:lnTo>
                  <a:lnTo>
                    <a:pt x="384048" y="166116"/>
                  </a:lnTo>
                  <a:lnTo>
                    <a:pt x="377510" y="157785"/>
                  </a:lnTo>
                  <a:close/>
                </a:path>
                <a:path w="410209" h="266700">
                  <a:moveTo>
                    <a:pt x="286512" y="85344"/>
                  </a:moveTo>
                  <a:lnTo>
                    <a:pt x="0" y="85344"/>
                  </a:lnTo>
                  <a:lnTo>
                    <a:pt x="0" y="231617"/>
                  </a:lnTo>
                  <a:lnTo>
                    <a:pt x="286512" y="231617"/>
                  </a:lnTo>
                  <a:lnTo>
                    <a:pt x="286512" y="217901"/>
                  </a:lnTo>
                  <a:lnTo>
                    <a:pt x="25908" y="217901"/>
                  </a:lnTo>
                  <a:lnTo>
                    <a:pt x="13716" y="205740"/>
                  </a:lnTo>
                  <a:lnTo>
                    <a:pt x="25908" y="205740"/>
                  </a:lnTo>
                  <a:lnTo>
                    <a:pt x="25908" y="109728"/>
                  </a:lnTo>
                  <a:lnTo>
                    <a:pt x="13716" y="109728"/>
                  </a:lnTo>
                  <a:lnTo>
                    <a:pt x="25908" y="97536"/>
                  </a:lnTo>
                  <a:lnTo>
                    <a:pt x="286512" y="97536"/>
                  </a:lnTo>
                  <a:lnTo>
                    <a:pt x="286512" y="85344"/>
                  </a:lnTo>
                  <a:close/>
                </a:path>
                <a:path w="410209" h="266700">
                  <a:moveTo>
                    <a:pt x="310896" y="205740"/>
                  </a:moveTo>
                  <a:lnTo>
                    <a:pt x="25908" y="205740"/>
                  </a:lnTo>
                  <a:lnTo>
                    <a:pt x="25908" y="217901"/>
                  </a:lnTo>
                  <a:lnTo>
                    <a:pt x="286512" y="217901"/>
                  </a:lnTo>
                  <a:lnTo>
                    <a:pt x="298704" y="231617"/>
                  </a:lnTo>
                  <a:lnTo>
                    <a:pt x="310896" y="231617"/>
                  </a:lnTo>
                  <a:lnTo>
                    <a:pt x="310896" y="205740"/>
                  </a:lnTo>
                  <a:close/>
                </a:path>
                <a:path w="410209" h="266700">
                  <a:moveTo>
                    <a:pt x="25908" y="205740"/>
                  </a:moveTo>
                  <a:lnTo>
                    <a:pt x="13716" y="205740"/>
                  </a:lnTo>
                  <a:lnTo>
                    <a:pt x="25908" y="217901"/>
                  </a:lnTo>
                  <a:lnTo>
                    <a:pt x="25908" y="205740"/>
                  </a:lnTo>
                  <a:close/>
                </a:path>
                <a:path w="410209" h="266700">
                  <a:moveTo>
                    <a:pt x="384048" y="149352"/>
                  </a:moveTo>
                  <a:lnTo>
                    <a:pt x="377510" y="157785"/>
                  </a:lnTo>
                  <a:lnTo>
                    <a:pt x="384048" y="166116"/>
                  </a:lnTo>
                  <a:lnTo>
                    <a:pt x="384048" y="149352"/>
                  </a:lnTo>
                  <a:close/>
                </a:path>
                <a:path w="410209" h="266700">
                  <a:moveTo>
                    <a:pt x="402805" y="149352"/>
                  </a:moveTo>
                  <a:lnTo>
                    <a:pt x="384048" y="149352"/>
                  </a:lnTo>
                  <a:lnTo>
                    <a:pt x="384048" y="166116"/>
                  </a:lnTo>
                  <a:lnTo>
                    <a:pt x="403933" y="166116"/>
                  </a:lnTo>
                  <a:lnTo>
                    <a:pt x="409925" y="158496"/>
                  </a:lnTo>
                  <a:lnTo>
                    <a:pt x="402805" y="149352"/>
                  </a:lnTo>
                  <a:close/>
                </a:path>
                <a:path w="410209" h="266700">
                  <a:moveTo>
                    <a:pt x="314992" y="36576"/>
                  </a:moveTo>
                  <a:lnTo>
                    <a:pt x="310896" y="36576"/>
                  </a:lnTo>
                  <a:lnTo>
                    <a:pt x="310896" y="72906"/>
                  </a:lnTo>
                  <a:lnTo>
                    <a:pt x="377510" y="157785"/>
                  </a:lnTo>
                  <a:lnTo>
                    <a:pt x="384048" y="149352"/>
                  </a:lnTo>
                  <a:lnTo>
                    <a:pt x="402805" y="149352"/>
                  </a:lnTo>
                  <a:lnTo>
                    <a:pt x="314992" y="36576"/>
                  </a:lnTo>
                  <a:close/>
                </a:path>
                <a:path w="410209" h="266700">
                  <a:moveTo>
                    <a:pt x="25908" y="97536"/>
                  </a:moveTo>
                  <a:lnTo>
                    <a:pt x="13716" y="109728"/>
                  </a:lnTo>
                  <a:lnTo>
                    <a:pt x="25908" y="109728"/>
                  </a:lnTo>
                  <a:lnTo>
                    <a:pt x="25908" y="97536"/>
                  </a:lnTo>
                  <a:close/>
                </a:path>
                <a:path w="410209" h="266700">
                  <a:moveTo>
                    <a:pt x="310896" y="85344"/>
                  </a:moveTo>
                  <a:lnTo>
                    <a:pt x="298704" y="85344"/>
                  </a:lnTo>
                  <a:lnTo>
                    <a:pt x="286512" y="97536"/>
                  </a:lnTo>
                  <a:lnTo>
                    <a:pt x="25908" y="97536"/>
                  </a:lnTo>
                  <a:lnTo>
                    <a:pt x="25908" y="109728"/>
                  </a:lnTo>
                  <a:lnTo>
                    <a:pt x="310896" y="109728"/>
                  </a:lnTo>
                  <a:lnTo>
                    <a:pt x="310896" y="85344"/>
                  </a:lnTo>
                  <a:close/>
                </a:path>
                <a:path w="410209" h="266700">
                  <a:moveTo>
                    <a:pt x="286512" y="0"/>
                  </a:moveTo>
                  <a:lnTo>
                    <a:pt x="286512" y="97536"/>
                  </a:lnTo>
                  <a:lnTo>
                    <a:pt x="298704" y="85344"/>
                  </a:lnTo>
                  <a:lnTo>
                    <a:pt x="310896" y="85344"/>
                  </a:lnTo>
                  <a:lnTo>
                    <a:pt x="310896" y="72906"/>
                  </a:lnTo>
                  <a:lnTo>
                    <a:pt x="289560" y="45720"/>
                  </a:lnTo>
                  <a:lnTo>
                    <a:pt x="310896" y="36576"/>
                  </a:lnTo>
                  <a:lnTo>
                    <a:pt x="314992" y="36576"/>
                  </a:lnTo>
                  <a:lnTo>
                    <a:pt x="286512" y="0"/>
                  </a:lnTo>
                  <a:close/>
                </a:path>
                <a:path w="410209" h="266700">
                  <a:moveTo>
                    <a:pt x="310896" y="36576"/>
                  </a:moveTo>
                  <a:lnTo>
                    <a:pt x="289560" y="45720"/>
                  </a:lnTo>
                  <a:lnTo>
                    <a:pt x="310896" y="72906"/>
                  </a:lnTo>
                  <a:lnTo>
                    <a:pt x="310896" y="36576"/>
                  </a:lnTo>
                  <a:close/>
                </a:path>
              </a:pathLst>
            </a:custGeom>
            <a:solidFill>
              <a:srgbClr val="375D8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9" name="object 59"/>
          <p:cNvSpPr txBox="1"/>
          <p:nvPr/>
        </p:nvSpPr>
        <p:spPr>
          <a:xfrm>
            <a:off x="5098901" y="3762445"/>
            <a:ext cx="73914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spc="-5" dirty="0">
                <a:latin typeface="Liberation Sans Narrow"/>
                <a:cs typeface="Liberation Sans Narrow"/>
              </a:rPr>
              <a:t>LSMW</a:t>
            </a:r>
            <a:r>
              <a:rPr sz="1000" spc="-65" dirty="0">
                <a:latin typeface="Liberation Sans Narrow"/>
                <a:cs typeface="Liberation Sans Narrow"/>
              </a:rPr>
              <a:t> </a:t>
            </a:r>
            <a:r>
              <a:rPr sz="1000" spc="-5" dirty="0">
                <a:latin typeface="Liberation Sans Narrow"/>
                <a:cs typeface="Liberation Sans Narrow"/>
              </a:rPr>
              <a:t>/BDC/PI</a:t>
            </a:r>
            <a:endParaRPr sz="1000">
              <a:latin typeface="Liberation Sans Narrow"/>
              <a:cs typeface="Liberation Sans Narrow"/>
            </a:endParaRPr>
          </a:p>
        </p:txBody>
      </p:sp>
      <p:grpSp>
        <p:nvGrpSpPr>
          <p:cNvPr id="60" name="object 60"/>
          <p:cNvGrpSpPr/>
          <p:nvPr/>
        </p:nvGrpSpPr>
        <p:grpSpPr>
          <a:xfrm>
            <a:off x="463771" y="3356092"/>
            <a:ext cx="8985029" cy="3612380"/>
            <a:chOff x="463771" y="3356091"/>
            <a:chExt cx="9143365" cy="3965387"/>
          </a:xfrm>
        </p:grpSpPr>
        <p:sp>
          <p:nvSpPr>
            <p:cNvPr id="61" name="object 61"/>
            <p:cNvSpPr/>
            <p:nvPr/>
          </p:nvSpPr>
          <p:spPr>
            <a:xfrm>
              <a:off x="2613958" y="3395715"/>
              <a:ext cx="533400" cy="381000"/>
            </a:xfrm>
            <a:custGeom>
              <a:avLst/>
              <a:gdLst/>
              <a:ahLst/>
              <a:cxnLst/>
              <a:rect l="l" t="t" r="r" b="b"/>
              <a:pathLst>
                <a:path w="533400" h="381000">
                  <a:moveTo>
                    <a:pt x="399251" y="0"/>
                  </a:moveTo>
                  <a:lnTo>
                    <a:pt x="399251" y="95981"/>
                  </a:lnTo>
                  <a:lnTo>
                    <a:pt x="0" y="95981"/>
                  </a:lnTo>
                  <a:lnTo>
                    <a:pt x="0" y="286481"/>
                  </a:lnTo>
                  <a:lnTo>
                    <a:pt x="399251" y="286481"/>
                  </a:lnTo>
                  <a:lnTo>
                    <a:pt x="399251" y="380969"/>
                  </a:lnTo>
                  <a:lnTo>
                    <a:pt x="533345" y="190469"/>
                  </a:lnTo>
                  <a:lnTo>
                    <a:pt x="399251" y="0"/>
                  </a:lnTo>
                  <a:close/>
                </a:path>
              </a:pathLst>
            </a:custGeom>
            <a:solidFill>
              <a:srgbClr val="3232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" name="object 62"/>
            <p:cNvSpPr/>
            <p:nvPr/>
          </p:nvSpPr>
          <p:spPr>
            <a:xfrm>
              <a:off x="2601766" y="3356091"/>
              <a:ext cx="561340" cy="462280"/>
            </a:xfrm>
            <a:custGeom>
              <a:avLst/>
              <a:gdLst/>
              <a:ahLst/>
              <a:cxnLst/>
              <a:rect l="l" t="t" r="r" b="b"/>
              <a:pathLst>
                <a:path w="561339" h="462279">
                  <a:moveTo>
                    <a:pt x="399251" y="326105"/>
                  </a:moveTo>
                  <a:lnTo>
                    <a:pt x="399251" y="461741"/>
                  </a:lnTo>
                  <a:lnTo>
                    <a:pt x="427943" y="420593"/>
                  </a:lnTo>
                  <a:lnTo>
                    <a:pt x="425159" y="420593"/>
                  </a:lnTo>
                  <a:lnTo>
                    <a:pt x="402299" y="414497"/>
                  </a:lnTo>
                  <a:lnTo>
                    <a:pt x="425159" y="381648"/>
                  </a:lnTo>
                  <a:lnTo>
                    <a:pt x="425159" y="338297"/>
                  </a:lnTo>
                  <a:lnTo>
                    <a:pt x="411443" y="338297"/>
                  </a:lnTo>
                  <a:lnTo>
                    <a:pt x="399251" y="326105"/>
                  </a:lnTo>
                  <a:close/>
                </a:path>
                <a:path w="561339" h="462279">
                  <a:moveTo>
                    <a:pt x="425159" y="381648"/>
                  </a:moveTo>
                  <a:lnTo>
                    <a:pt x="402299" y="414497"/>
                  </a:lnTo>
                  <a:lnTo>
                    <a:pt x="425159" y="420593"/>
                  </a:lnTo>
                  <a:lnTo>
                    <a:pt x="425159" y="381648"/>
                  </a:lnTo>
                  <a:close/>
                </a:path>
                <a:path w="561339" h="462279">
                  <a:moveTo>
                    <a:pt x="530096" y="230856"/>
                  </a:moveTo>
                  <a:lnTo>
                    <a:pt x="425159" y="381648"/>
                  </a:lnTo>
                  <a:lnTo>
                    <a:pt x="425159" y="420593"/>
                  </a:lnTo>
                  <a:lnTo>
                    <a:pt x="427943" y="420593"/>
                  </a:lnTo>
                  <a:lnTo>
                    <a:pt x="555463" y="237713"/>
                  </a:lnTo>
                  <a:lnTo>
                    <a:pt x="534869" y="237713"/>
                  </a:lnTo>
                  <a:lnTo>
                    <a:pt x="530096" y="230856"/>
                  </a:lnTo>
                  <a:close/>
                </a:path>
                <a:path w="561339" h="462279">
                  <a:moveTo>
                    <a:pt x="399251" y="123413"/>
                  </a:moveTo>
                  <a:lnTo>
                    <a:pt x="0" y="123413"/>
                  </a:lnTo>
                  <a:lnTo>
                    <a:pt x="0" y="338297"/>
                  </a:lnTo>
                  <a:lnTo>
                    <a:pt x="399251" y="338297"/>
                  </a:lnTo>
                  <a:lnTo>
                    <a:pt x="399251" y="326105"/>
                  </a:lnTo>
                  <a:lnTo>
                    <a:pt x="24384" y="326105"/>
                  </a:lnTo>
                  <a:lnTo>
                    <a:pt x="12192" y="313913"/>
                  </a:lnTo>
                  <a:lnTo>
                    <a:pt x="24384" y="313913"/>
                  </a:lnTo>
                  <a:lnTo>
                    <a:pt x="24384" y="147797"/>
                  </a:lnTo>
                  <a:lnTo>
                    <a:pt x="12192" y="147797"/>
                  </a:lnTo>
                  <a:lnTo>
                    <a:pt x="24384" y="135605"/>
                  </a:lnTo>
                  <a:lnTo>
                    <a:pt x="399251" y="135605"/>
                  </a:lnTo>
                  <a:lnTo>
                    <a:pt x="399251" y="123413"/>
                  </a:lnTo>
                  <a:close/>
                </a:path>
                <a:path w="561339" h="462279">
                  <a:moveTo>
                    <a:pt x="425159" y="313913"/>
                  </a:moveTo>
                  <a:lnTo>
                    <a:pt x="24384" y="313913"/>
                  </a:lnTo>
                  <a:lnTo>
                    <a:pt x="24384" y="326105"/>
                  </a:lnTo>
                  <a:lnTo>
                    <a:pt x="399251" y="326105"/>
                  </a:lnTo>
                  <a:lnTo>
                    <a:pt x="411443" y="338297"/>
                  </a:lnTo>
                  <a:lnTo>
                    <a:pt x="425159" y="338297"/>
                  </a:lnTo>
                  <a:lnTo>
                    <a:pt x="425159" y="313913"/>
                  </a:lnTo>
                  <a:close/>
                </a:path>
                <a:path w="561339" h="462279">
                  <a:moveTo>
                    <a:pt x="24384" y="313913"/>
                  </a:moveTo>
                  <a:lnTo>
                    <a:pt x="12192" y="313913"/>
                  </a:lnTo>
                  <a:lnTo>
                    <a:pt x="24384" y="326105"/>
                  </a:lnTo>
                  <a:lnTo>
                    <a:pt x="24384" y="313913"/>
                  </a:lnTo>
                  <a:close/>
                </a:path>
                <a:path w="561339" h="462279">
                  <a:moveTo>
                    <a:pt x="534869" y="223997"/>
                  </a:moveTo>
                  <a:lnTo>
                    <a:pt x="530096" y="230856"/>
                  </a:lnTo>
                  <a:lnTo>
                    <a:pt x="534869" y="237713"/>
                  </a:lnTo>
                  <a:lnTo>
                    <a:pt x="534869" y="223997"/>
                  </a:lnTo>
                  <a:close/>
                </a:path>
                <a:path w="561339" h="462279">
                  <a:moveTo>
                    <a:pt x="556497" y="223997"/>
                  </a:moveTo>
                  <a:lnTo>
                    <a:pt x="534869" y="223997"/>
                  </a:lnTo>
                  <a:lnTo>
                    <a:pt x="534869" y="237713"/>
                  </a:lnTo>
                  <a:lnTo>
                    <a:pt x="555463" y="237713"/>
                  </a:lnTo>
                  <a:lnTo>
                    <a:pt x="560777" y="230093"/>
                  </a:lnTo>
                  <a:lnTo>
                    <a:pt x="556497" y="223997"/>
                  </a:lnTo>
                  <a:close/>
                </a:path>
                <a:path w="561339" h="462279">
                  <a:moveTo>
                    <a:pt x="427067" y="39624"/>
                  </a:moveTo>
                  <a:lnTo>
                    <a:pt x="425159" y="39624"/>
                  </a:lnTo>
                  <a:lnTo>
                    <a:pt x="425159" y="80088"/>
                  </a:lnTo>
                  <a:lnTo>
                    <a:pt x="530096" y="230856"/>
                  </a:lnTo>
                  <a:lnTo>
                    <a:pt x="534869" y="223997"/>
                  </a:lnTo>
                  <a:lnTo>
                    <a:pt x="556497" y="223997"/>
                  </a:lnTo>
                  <a:lnTo>
                    <a:pt x="427067" y="39624"/>
                  </a:lnTo>
                  <a:close/>
                </a:path>
                <a:path w="561339" h="462279">
                  <a:moveTo>
                    <a:pt x="24384" y="135605"/>
                  </a:moveTo>
                  <a:lnTo>
                    <a:pt x="12192" y="147797"/>
                  </a:lnTo>
                  <a:lnTo>
                    <a:pt x="24384" y="147797"/>
                  </a:lnTo>
                  <a:lnTo>
                    <a:pt x="24384" y="135605"/>
                  </a:lnTo>
                  <a:close/>
                </a:path>
                <a:path w="561339" h="462279">
                  <a:moveTo>
                    <a:pt x="425159" y="123413"/>
                  </a:moveTo>
                  <a:lnTo>
                    <a:pt x="411443" y="123413"/>
                  </a:lnTo>
                  <a:lnTo>
                    <a:pt x="399251" y="135605"/>
                  </a:lnTo>
                  <a:lnTo>
                    <a:pt x="24384" y="135605"/>
                  </a:lnTo>
                  <a:lnTo>
                    <a:pt x="24384" y="147797"/>
                  </a:lnTo>
                  <a:lnTo>
                    <a:pt x="425159" y="147797"/>
                  </a:lnTo>
                  <a:lnTo>
                    <a:pt x="425159" y="123413"/>
                  </a:lnTo>
                  <a:close/>
                </a:path>
                <a:path w="561339" h="462279">
                  <a:moveTo>
                    <a:pt x="399251" y="0"/>
                  </a:moveTo>
                  <a:lnTo>
                    <a:pt x="399251" y="135605"/>
                  </a:lnTo>
                  <a:lnTo>
                    <a:pt x="411443" y="123413"/>
                  </a:lnTo>
                  <a:lnTo>
                    <a:pt x="425159" y="123413"/>
                  </a:lnTo>
                  <a:lnTo>
                    <a:pt x="425159" y="80088"/>
                  </a:lnTo>
                  <a:lnTo>
                    <a:pt x="402299" y="47244"/>
                  </a:lnTo>
                  <a:lnTo>
                    <a:pt x="425159" y="39624"/>
                  </a:lnTo>
                  <a:lnTo>
                    <a:pt x="427067" y="39624"/>
                  </a:lnTo>
                  <a:lnTo>
                    <a:pt x="399251" y="0"/>
                  </a:lnTo>
                  <a:close/>
                </a:path>
                <a:path w="561339" h="462279">
                  <a:moveTo>
                    <a:pt x="425159" y="39624"/>
                  </a:moveTo>
                  <a:lnTo>
                    <a:pt x="402299" y="47244"/>
                  </a:lnTo>
                  <a:lnTo>
                    <a:pt x="425159" y="80088"/>
                  </a:lnTo>
                  <a:lnTo>
                    <a:pt x="425159" y="39624"/>
                  </a:lnTo>
                  <a:close/>
                </a:path>
              </a:pathLst>
            </a:custGeom>
            <a:solidFill>
              <a:srgbClr val="375D8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" name="object 63"/>
            <p:cNvSpPr/>
            <p:nvPr/>
          </p:nvSpPr>
          <p:spPr>
            <a:xfrm>
              <a:off x="463771" y="3892478"/>
              <a:ext cx="9143365" cy="3429000"/>
            </a:xfrm>
            <a:custGeom>
              <a:avLst/>
              <a:gdLst/>
              <a:ahLst/>
              <a:cxnLst/>
              <a:rect l="l" t="t" r="r" b="b"/>
              <a:pathLst>
                <a:path w="9143365" h="3429000">
                  <a:moveTo>
                    <a:pt x="0" y="3428722"/>
                  </a:moveTo>
                  <a:lnTo>
                    <a:pt x="9143238" y="3428722"/>
                  </a:lnTo>
                  <a:lnTo>
                    <a:pt x="9143238" y="0"/>
                  </a:lnTo>
                  <a:lnTo>
                    <a:pt x="0" y="0"/>
                  </a:lnTo>
                  <a:lnTo>
                    <a:pt x="0" y="342872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" name="object 65"/>
            <p:cNvSpPr/>
            <p:nvPr/>
          </p:nvSpPr>
          <p:spPr>
            <a:xfrm>
              <a:off x="1859635" y="3892486"/>
              <a:ext cx="2905125" cy="334645"/>
            </a:xfrm>
            <a:custGeom>
              <a:avLst/>
              <a:gdLst/>
              <a:ahLst/>
              <a:cxnLst/>
              <a:rect l="l" t="t" r="r" b="b"/>
              <a:pathLst>
                <a:path w="2905125" h="334645">
                  <a:moveTo>
                    <a:pt x="9144" y="252945"/>
                  </a:moveTo>
                  <a:lnTo>
                    <a:pt x="0" y="252945"/>
                  </a:lnTo>
                  <a:lnTo>
                    <a:pt x="0" y="262089"/>
                  </a:lnTo>
                  <a:lnTo>
                    <a:pt x="9144" y="262089"/>
                  </a:lnTo>
                  <a:lnTo>
                    <a:pt x="9144" y="252945"/>
                  </a:lnTo>
                  <a:close/>
                </a:path>
                <a:path w="2905125" h="334645">
                  <a:moveTo>
                    <a:pt x="9144" y="185928"/>
                  </a:moveTo>
                  <a:lnTo>
                    <a:pt x="0" y="185928"/>
                  </a:lnTo>
                  <a:lnTo>
                    <a:pt x="0" y="224028"/>
                  </a:lnTo>
                  <a:lnTo>
                    <a:pt x="9144" y="224028"/>
                  </a:lnTo>
                  <a:lnTo>
                    <a:pt x="9144" y="185928"/>
                  </a:lnTo>
                  <a:close/>
                </a:path>
                <a:path w="2905125" h="334645">
                  <a:moveTo>
                    <a:pt x="9144" y="147828"/>
                  </a:moveTo>
                  <a:lnTo>
                    <a:pt x="0" y="147828"/>
                  </a:lnTo>
                  <a:lnTo>
                    <a:pt x="0" y="158496"/>
                  </a:lnTo>
                  <a:lnTo>
                    <a:pt x="9144" y="158496"/>
                  </a:lnTo>
                  <a:lnTo>
                    <a:pt x="9144" y="147828"/>
                  </a:lnTo>
                  <a:close/>
                </a:path>
                <a:path w="2905125" h="334645">
                  <a:moveTo>
                    <a:pt x="9144" y="82296"/>
                  </a:moveTo>
                  <a:lnTo>
                    <a:pt x="0" y="82296"/>
                  </a:lnTo>
                  <a:lnTo>
                    <a:pt x="0" y="120396"/>
                  </a:lnTo>
                  <a:lnTo>
                    <a:pt x="9144" y="120396"/>
                  </a:lnTo>
                  <a:lnTo>
                    <a:pt x="9144" y="82296"/>
                  </a:lnTo>
                  <a:close/>
                </a:path>
                <a:path w="2905125" h="334645">
                  <a:moveTo>
                    <a:pt x="9144" y="44196"/>
                  </a:moveTo>
                  <a:lnTo>
                    <a:pt x="0" y="44196"/>
                  </a:lnTo>
                  <a:lnTo>
                    <a:pt x="0" y="53340"/>
                  </a:lnTo>
                  <a:lnTo>
                    <a:pt x="9144" y="53340"/>
                  </a:lnTo>
                  <a:lnTo>
                    <a:pt x="9144" y="44196"/>
                  </a:lnTo>
                  <a:close/>
                </a:path>
                <a:path w="2905125" h="334645">
                  <a:moveTo>
                    <a:pt x="9144" y="0"/>
                  </a:moveTo>
                  <a:lnTo>
                    <a:pt x="0" y="0"/>
                  </a:lnTo>
                  <a:lnTo>
                    <a:pt x="0" y="15240"/>
                  </a:lnTo>
                  <a:lnTo>
                    <a:pt x="9144" y="15240"/>
                  </a:lnTo>
                  <a:lnTo>
                    <a:pt x="9144" y="0"/>
                  </a:lnTo>
                  <a:close/>
                </a:path>
                <a:path w="2905125" h="334645">
                  <a:moveTo>
                    <a:pt x="24384" y="324573"/>
                  </a:moveTo>
                  <a:lnTo>
                    <a:pt x="9144" y="324573"/>
                  </a:lnTo>
                  <a:lnTo>
                    <a:pt x="9144" y="290893"/>
                  </a:lnTo>
                  <a:lnTo>
                    <a:pt x="0" y="290893"/>
                  </a:lnTo>
                  <a:lnTo>
                    <a:pt x="0" y="325183"/>
                  </a:lnTo>
                  <a:lnTo>
                    <a:pt x="0" y="328993"/>
                  </a:lnTo>
                  <a:lnTo>
                    <a:pt x="4572" y="328993"/>
                  </a:lnTo>
                  <a:lnTo>
                    <a:pt x="4572" y="334073"/>
                  </a:lnTo>
                  <a:lnTo>
                    <a:pt x="24384" y="334073"/>
                  </a:lnTo>
                  <a:lnTo>
                    <a:pt x="24384" y="329145"/>
                  </a:lnTo>
                  <a:lnTo>
                    <a:pt x="24384" y="328993"/>
                  </a:lnTo>
                  <a:lnTo>
                    <a:pt x="24384" y="324573"/>
                  </a:lnTo>
                  <a:close/>
                </a:path>
                <a:path w="2905125" h="334645">
                  <a:moveTo>
                    <a:pt x="62484" y="324573"/>
                  </a:moveTo>
                  <a:lnTo>
                    <a:pt x="51816" y="324573"/>
                  </a:lnTo>
                  <a:lnTo>
                    <a:pt x="51816" y="333717"/>
                  </a:lnTo>
                  <a:lnTo>
                    <a:pt x="62484" y="333717"/>
                  </a:lnTo>
                  <a:lnTo>
                    <a:pt x="62484" y="324573"/>
                  </a:lnTo>
                  <a:close/>
                </a:path>
                <a:path w="2905125" h="334645">
                  <a:moveTo>
                    <a:pt x="128003" y="324573"/>
                  </a:moveTo>
                  <a:lnTo>
                    <a:pt x="89916" y="324573"/>
                  </a:lnTo>
                  <a:lnTo>
                    <a:pt x="89916" y="333717"/>
                  </a:lnTo>
                  <a:lnTo>
                    <a:pt x="128003" y="333717"/>
                  </a:lnTo>
                  <a:lnTo>
                    <a:pt x="128003" y="324573"/>
                  </a:lnTo>
                  <a:close/>
                </a:path>
                <a:path w="2905125" h="334645">
                  <a:moveTo>
                    <a:pt x="166103" y="324573"/>
                  </a:moveTo>
                  <a:lnTo>
                    <a:pt x="156959" y="324573"/>
                  </a:lnTo>
                  <a:lnTo>
                    <a:pt x="156959" y="333717"/>
                  </a:lnTo>
                  <a:lnTo>
                    <a:pt x="166103" y="333717"/>
                  </a:lnTo>
                  <a:lnTo>
                    <a:pt x="166103" y="324573"/>
                  </a:lnTo>
                  <a:close/>
                </a:path>
                <a:path w="2905125" h="334645">
                  <a:moveTo>
                    <a:pt x="233159" y="324573"/>
                  </a:moveTo>
                  <a:lnTo>
                    <a:pt x="195059" y="324573"/>
                  </a:lnTo>
                  <a:lnTo>
                    <a:pt x="195059" y="333717"/>
                  </a:lnTo>
                  <a:lnTo>
                    <a:pt x="233159" y="333717"/>
                  </a:lnTo>
                  <a:lnTo>
                    <a:pt x="233159" y="324573"/>
                  </a:lnTo>
                  <a:close/>
                </a:path>
                <a:path w="2905125" h="334645">
                  <a:moveTo>
                    <a:pt x="271246" y="324573"/>
                  </a:moveTo>
                  <a:lnTo>
                    <a:pt x="262115" y="324573"/>
                  </a:lnTo>
                  <a:lnTo>
                    <a:pt x="262115" y="333717"/>
                  </a:lnTo>
                  <a:lnTo>
                    <a:pt x="271246" y="333717"/>
                  </a:lnTo>
                  <a:lnTo>
                    <a:pt x="271246" y="324573"/>
                  </a:lnTo>
                  <a:close/>
                </a:path>
                <a:path w="2905125" h="334645">
                  <a:moveTo>
                    <a:pt x="338302" y="324573"/>
                  </a:moveTo>
                  <a:lnTo>
                    <a:pt x="300202" y="324573"/>
                  </a:lnTo>
                  <a:lnTo>
                    <a:pt x="300202" y="333717"/>
                  </a:lnTo>
                  <a:lnTo>
                    <a:pt x="338302" y="333717"/>
                  </a:lnTo>
                  <a:lnTo>
                    <a:pt x="338302" y="324573"/>
                  </a:lnTo>
                  <a:close/>
                </a:path>
                <a:path w="2905125" h="334645">
                  <a:moveTo>
                    <a:pt x="376402" y="324573"/>
                  </a:moveTo>
                  <a:lnTo>
                    <a:pt x="367258" y="324573"/>
                  </a:lnTo>
                  <a:lnTo>
                    <a:pt x="367258" y="333717"/>
                  </a:lnTo>
                  <a:lnTo>
                    <a:pt x="376402" y="333717"/>
                  </a:lnTo>
                  <a:lnTo>
                    <a:pt x="376402" y="324573"/>
                  </a:lnTo>
                  <a:close/>
                </a:path>
                <a:path w="2905125" h="334645">
                  <a:moveTo>
                    <a:pt x="443445" y="324573"/>
                  </a:moveTo>
                  <a:lnTo>
                    <a:pt x="405358" y="324573"/>
                  </a:lnTo>
                  <a:lnTo>
                    <a:pt x="405358" y="333717"/>
                  </a:lnTo>
                  <a:lnTo>
                    <a:pt x="443445" y="333717"/>
                  </a:lnTo>
                  <a:lnTo>
                    <a:pt x="443445" y="324573"/>
                  </a:lnTo>
                  <a:close/>
                </a:path>
                <a:path w="2905125" h="334645">
                  <a:moveTo>
                    <a:pt x="481545" y="324573"/>
                  </a:moveTo>
                  <a:lnTo>
                    <a:pt x="470877" y="324573"/>
                  </a:lnTo>
                  <a:lnTo>
                    <a:pt x="470877" y="333717"/>
                  </a:lnTo>
                  <a:lnTo>
                    <a:pt x="481545" y="333717"/>
                  </a:lnTo>
                  <a:lnTo>
                    <a:pt x="481545" y="324573"/>
                  </a:lnTo>
                  <a:close/>
                </a:path>
                <a:path w="2905125" h="334645">
                  <a:moveTo>
                    <a:pt x="547077" y="324573"/>
                  </a:moveTo>
                  <a:lnTo>
                    <a:pt x="508977" y="324573"/>
                  </a:lnTo>
                  <a:lnTo>
                    <a:pt x="508977" y="333717"/>
                  </a:lnTo>
                  <a:lnTo>
                    <a:pt x="547077" y="333717"/>
                  </a:lnTo>
                  <a:lnTo>
                    <a:pt x="547077" y="324573"/>
                  </a:lnTo>
                  <a:close/>
                </a:path>
                <a:path w="2905125" h="334645">
                  <a:moveTo>
                    <a:pt x="585165" y="324573"/>
                  </a:moveTo>
                  <a:lnTo>
                    <a:pt x="576021" y="324573"/>
                  </a:lnTo>
                  <a:lnTo>
                    <a:pt x="576021" y="333717"/>
                  </a:lnTo>
                  <a:lnTo>
                    <a:pt x="585165" y="333717"/>
                  </a:lnTo>
                  <a:lnTo>
                    <a:pt x="585165" y="324573"/>
                  </a:lnTo>
                  <a:close/>
                </a:path>
                <a:path w="2905125" h="334645">
                  <a:moveTo>
                    <a:pt x="652221" y="324573"/>
                  </a:moveTo>
                  <a:lnTo>
                    <a:pt x="614121" y="324573"/>
                  </a:lnTo>
                  <a:lnTo>
                    <a:pt x="614121" y="333717"/>
                  </a:lnTo>
                  <a:lnTo>
                    <a:pt x="652221" y="333717"/>
                  </a:lnTo>
                  <a:lnTo>
                    <a:pt x="652221" y="324573"/>
                  </a:lnTo>
                  <a:close/>
                </a:path>
                <a:path w="2905125" h="334645">
                  <a:moveTo>
                    <a:pt x="690321" y="324573"/>
                  </a:moveTo>
                  <a:lnTo>
                    <a:pt x="681177" y="324573"/>
                  </a:lnTo>
                  <a:lnTo>
                    <a:pt x="681177" y="333717"/>
                  </a:lnTo>
                  <a:lnTo>
                    <a:pt x="690321" y="333717"/>
                  </a:lnTo>
                  <a:lnTo>
                    <a:pt x="690321" y="324573"/>
                  </a:lnTo>
                  <a:close/>
                </a:path>
                <a:path w="2905125" h="334645">
                  <a:moveTo>
                    <a:pt x="757364" y="324573"/>
                  </a:moveTo>
                  <a:lnTo>
                    <a:pt x="719264" y="324573"/>
                  </a:lnTo>
                  <a:lnTo>
                    <a:pt x="719264" y="333717"/>
                  </a:lnTo>
                  <a:lnTo>
                    <a:pt x="757364" y="333717"/>
                  </a:lnTo>
                  <a:lnTo>
                    <a:pt x="757364" y="324573"/>
                  </a:lnTo>
                  <a:close/>
                </a:path>
                <a:path w="2905125" h="334645">
                  <a:moveTo>
                    <a:pt x="795464" y="324573"/>
                  </a:moveTo>
                  <a:lnTo>
                    <a:pt x="786320" y="324573"/>
                  </a:lnTo>
                  <a:lnTo>
                    <a:pt x="786320" y="333717"/>
                  </a:lnTo>
                  <a:lnTo>
                    <a:pt x="795464" y="333717"/>
                  </a:lnTo>
                  <a:lnTo>
                    <a:pt x="795464" y="324573"/>
                  </a:lnTo>
                  <a:close/>
                </a:path>
                <a:path w="2905125" h="334645">
                  <a:moveTo>
                    <a:pt x="862507" y="324573"/>
                  </a:moveTo>
                  <a:lnTo>
                    <a:pt x="824420" y="324573"/>
                  </a:lnTo>
                  <a:lnTo>
                    <a:pt x="824420" y="333717"/>
                  </a:lnTo>
                  <a:lnTo>
                    <a:pt x="862507" y="333717"/>
                  </a:lnTo>
                  <a:lnTo>
                    <a:pt x="862507" y="324573"/>
                  </a:lnTo>
                  <a:close/>
                </a:path>
                <a:path w="2905125" h="334645">
                  <a:moveTo>
                    <a:pt x="900607" y="324573"/>
                  </a:moveTo>
                  <a:lnTo>
                    <a:pt x="889939" y="324573"/>
                  </a:lnTo>
                  <a:lnTo>
                    <a:pt x="889939" y="333717"/>
                  </a:lnTo>
                  <a:lnTo>
                    <a:pt x="900607" y="333717"/>
                  </a:lnTo>
                  <a:lnTo>
                    <a:pt x="900607" y="324573"/>
                  </a:lnTo>
                  <a:close/>
                </a:path>
                <a:path w="2905125" h="334645">
                  <a:moveTo>
                    <a:pt x="966139" y="324573"/>
                  </a:moveTo>
                  <a:lnTo>
                    <a:pt x="928039" y="324573"/>
                  </a:lnTo>
                  <a:lnTo>
                    <a:pt x="928039" y="333717"/>
                  </a:lnTo>
                  <a:lnTo>
                    <a:pt x="966139" y="333717"/>
                  </a:lnTo>
                  <a:lnTo>
                    <a:pt x="966139" y="324573"/>
                  </a:lnTo>
                  <a:close/>
                </a:path>
                <a:path w="2905125" h="334645">
                  <a:moveTo>
                    <a:pt x="1004227" y="324573"/>
                  </a:moveTo>
                  <a:lnTo>
                    <a:pt x="995083" y="324573"/>
                  </a:lnTo>
                  <a:lnTo>
                    <a:pt x="995083" y="333717"/>
                  </a:lnTo>
                  <a:lnTo>
                    <a:pt x="1004227" y="333717"/>
                  </a:lnTo>
                  <a:lnTo>
                    <a:pt x="1004227" y="324573"/>
                  </a:lnTo>
                  <a:close/>
                </a:path>
                <a:path w="2905125" h="334645">
                  <a:moveTo>
                    <a:pt x="1071283" y="324573"/>
                  </a:moveTo>
                  <a:lnTo>
                    <a:pt x="1033183" y="324573"/>
                  </a:lnTo>
                  <a:lnTo>
                    <a:pt x="1033183" y="333717"/>
                  </a:lnTo>
                  <a:lnTo>
                    <a:pt x="1071283" y="333717"/>
                  </a:lnTo>
                  <a:lnTo>
                    <a:pt x="1071283" y="324573"/>
                  </a:lnTo>
                  <a:close/>
                </a:path>
                <a:path w="2905125" h="334645">
                  <a:moveTo>
                    <a:pt x="1109383" y="324573"/>
                  </a:moveTo>
                  <a:lnTo>
                    <a:pt x="1100239" y="324573"/>
                  </a:lnTo>
                  <a:lnTo>
                    <a:pt x="1100239" y="333717"/>
                  </a:lnTo>
                  <a:lnTo>
                    <a:pt x="1109383" y="333717"/>
                  </a:lnTo>
                  <a:lnTo>
                    <a:pt x="1109383" y="324573"/>
                  </a:lnTo>
                  <a:close/>
                </a:path>
                <a:path w="2905125" h="334645">
                  <a:moveTo>
                    <a:pt x="1176426" y="324573"/>
                  </a:moveTo>
                  <a:lnTo>
                    <a:pt x="1138326" y="324573"/>
                  </a:lnTo>
                  <a:lnTo>
                    <a:pt x="1138326" y="333717"/>
                  </a:lnTo>
                  <a:lnTo>
                    <a:pt x="1176426" y="333717"/>
                  </a:lnTo>
                  <a:lnTo>
                    <a:pt x="1176426" y="324573"/>
                  </a:lnTo>
                  <a:close/>
                </a:path>
                <a:path w="2905125" h="334645">
                  <a:moveTo>
                    <a:pt x="1214539" y="324573"/>
                  </a:moveTo>
                  <a:lnTo>
                    <a:pt x="1205395" y="324573"/>
                  </a:lnTo>
                  <a:lnTo>
                    <a:pt x="1205395" y="333717"/>
                  </a:lnTo>
                  <a:lnTo>
                    <a:pt x="1214539" y="333717"/>
                  </a:lnTo>
                  <a:lnTo>
                    <a:pt x="1214539" y="324573"/>
                  </a:lnTo>
                  <a:close/>
                </a:path>
                <a:path w="2905125" h="334645">
                  <a:moveTo>
                    <a:pt x="1281569" y="324573"/>
                  </a:moveTo>
                  <a:lnTo>
                    <a:pt x="1243495" y="324573"/>
                  </a:lnTo>
                  <a:lnTo>
                    <a:pt x="1243495" y="333717"/>
                  </a:lnTo>
                  <a:lnTo>
                    <a:pt x="1281569" y="333717"/>
                  </a:lnTo>
                  <a:lnTo>
                    <a:pt x="1281569" y="324573"/>
                  </a:lnTo>
                  <a:close/>
                </a:path>
                <a:path w="2905125" h="334645">
                  <a:moveTo>
                    <a:pt x="1319669" y="324573"/>
                  </a:moveTo>
                  <a:lnTo>
                    <a:pt x="1309001" y="324573"/>
                  </a:lnTo>
                  <a:lnTo>
                    <a:pt x="1309001" y="333717"/>
                  </a:lnTo>
                  <a:lnTo>
                    <a:pt x="1319669" y="333717"/>
                  </a:lnTo>
                  <a:lnTo>
                    <a:pt x="1319669" y="324573"/>
                  </a:lnTo>
                  <a:close/>
                </a:path>
                <a:path w="2905125" h="334645">
                  <a:moveTo>
                    <a:pt x="1385201" y="324573"/>
                  </a:moveTo>
                  <a:lnTo>
                    <a:pt x="1347101" y="324573"/>
                  </a:lnTo>
                  <a:lnTo>
                    <a:pt x="1347101" y="333717"/>
                  </a:lnTo>
                  <a:lnTo>
                    <a:pt x="1385201" y="333717"/>
                  </a:lnTo>
                  <a:lnTo>
                    <a:pt x="1385201" y="324573"/>
                  </a:lnTo>
                  <a:close/>
                </a:path>
                <a:path w="2905125" h="334645">
                  <a:moveTo>
                    <a:pt x="1423301" y="324573"/>
                  </a:moveTo>
                  <a:lnTo>
                    <a:pt x="1414157" y="324573"/>
                  </a:lnTo>
                  <a:lnTo>
                    <a:pt x="1414157" y="333717"/>
                  </a:lnTo>
                  <a:lnTo>
                    <a:pt x="1423301" y="333717"/>
                  </a:lnTo>
                  <a:lnTo>
                    <a:pt x="1423301" y="324573"/>
                  </a:lnTo>
                  <a:close/>
                </a:path>
                <a:path w="2905125" h="334645">
                  <a:moveTo>
                    <a:pt x="1490357" y="324573"/>
                  </a:moveTo>
                  <a:lnTo>
                    <a:pt x="1452257" y="324573"/>
                  </a:lnTo>
                  <a:lnTo>
                    <a:pt x="1452257" y="333717"/>
                  </a:lnTo>
                  <a:lnTo>
                    <a:pt x="1490357" y="333717"/>
                  </a:lnTo>
                  <a:lnTo>
                    <a:pt x="1490357" y="324573"/>
                  </a:lnTo>
                  <a:close/>
                </a:path>
                <a:path w="2905125" h="334645">
                  <a:moveTo>
                    <a:pt x="1528457" y="324573"/>
                  </a:moveTo>
                  <a:lnTo>
                    <a:pt x="1519313" y="324573"/>
                  </a:lnTo>
                  <a:lnTo>
                    <a:pt x="1519313" y="333717"/>
                  </a:lnTo>
                  <a:lnTo>
                    <a:pt x="1528457" y="333717"/>
                  </a:lnTo>
                  <a:lnTo>
                    <a:pt x="1528457" y="324573"/>
                  </a:lnTo>
                  <a:close/>
                </a:path>
                <a:path w="2905125" h="334645">
                  <a:moveTo>
                    <a:pt x="1595475" y="324573"/>
                  </a:moveTo>
                  <a:lnTo>
                    <a:pt x="1557375" y="324573"/>
                  </a:lnTo>
                  <a:lnTo>
                    <a:pt x="1557375" y="333717"/>
                  </a:lnTo>
                  <a:lnTo>
                    <a:pt x="1595475" y="333717"/>
                  </a:lnTo>
                  <a:lnTo>
                    <a:pt x="1595475" y="324573"/>
                  </a:lnTo>
                  <a:close/>
                </a:path>
                <a:path w="2905125" h="334645">
                  <a:moveTo>
                    <a:pt x="1633575" y="324573"/>
                  </a:moveTo>
                  <a:lnTo>
                    <a:pt x="1624431" y="324573"/>
                  </a:lnTo>
                  <a:lnTo>
                    <a:pt x="1624431" y="333717"/>
                  </a:lnTo>
                  <a:lnTo>
                    <a:pt x="1633575" y="333717"/>
                  </a:lnTo>
                  <a:lnTo>
                    <a:pt x="1633575" y="324573"/>
                  </a:lnTo>
                  <a:close/>
                </a:path>
                <a:path w="2905125" h="334645">
                  <a:moveTo>
                    <a:pt x="1700631" y="324573"/>
                  </a:moveTo>
                  <a:lnTo>
                    <a:pt x="1662531" y="324573"/>
                  </a:lnTo>
                  <a:lnTo>
                    <a:pt x="1662531" y="333717"/>
                  </a:lnTo>
                  <a:lnTo>
                    <a:pt x="1700631" y="333717"/>
                  </a:lnTo>
                  <a:lnTo>
                    <a:pt x="1700631" y="324573"/>
                  </a:lnTo>
                  <a:close/>
                </a:path>
                <a:path w="2905125" h="334645">
                  <a:moveTo>
                    <a:pt x="1738731" y="324573"/>
                  </a:moveTo>
                  <a:lnTo>
                    <a:pt x="1728063" y="324573"/>
                  </a:lnTo>
                  <a:lnTo>
                    <a:pt x="1728063" y="333717"/>
                  </a:lnTo>
                  <a:lnTo>
                    <a:pt x="1738731" y="333717"/>
                  </a:lnTo>
                  <a:lnTo>
                    <a:pt x="1738731" y="324573"/>
                  </a:lnTo>
                  <a:close/>
                </a:path>
                <a:path w="2905125" h="334645">
                  <a:moveTo>
                    <a:pt x="1804263" y="324573"/>
                  </a:moveTo>
                  <a:lnTo>
                    <a:pt x="1766163" y="324573"/>
                  </a:lnTo>
                  <a:lnTo>
                    <a:pt x="1766163" y="333717"/>
                  </a:lnTo>
                  <a:lnTo>
                    <a:pt x="1804263" y="333717"/>
                  </a:lnTo>
                  <a:lnTo>
                    <a:pt x="1804263" y="324573"/>
                  </a:lnTo>
                  <a:close/>
                </a:path>
                <a:path w="2905125" h="334645">
                  <a:moveTo>
                    <a:pt x="1842363" y="324573"/>
                  </a:moveTo>
                  <a:lnTo>
                    <a:pt x="1833219" y="324573"/>
                  </a:lnTo>
                  <a:lnTo>
                    <a:pt x="1833219" y="333717"/>
                  </a:lnTo>
                  <a:lnTo>
                    <a:pt x="1842363" y="333717"/>
                  </a:lnTo>
                  <a:lnTo>
                    <a:pt x="1842363" y="324573"/>
                  </a:lnTo>
                  <a:close/>
                </a:path>
                <a:path w="2905125" h="334645">
                  <a:moveTo>
                    <a:pt x="1909419" y="324573"/>
                  </a:moveTo>
                  <a:lnTo>
                    <a:pt x="1871319" y="324573"/>
                  </a:lnTo>
                  <a:lnTo>
                    <a:pt x="1871319" y="333717"/>
                  </a:lnTo>
                  <a:lnTo>
                    <a:pt x="1909419" y="333717"/>
                  </a:lnTo>
                  <a:lnTo>
                    <a:pt x="1909419" y="324573"/>
                  </a:lnTo>
                  <a:close/>
                </a:path>
                <a:path w="2905125" h="334645">
                  <a:moveTo>
                    <a:pt x="1947519" y="324573"/>
                  </a:moveTo>
                  <a:lnTo>
                    <a:pt x="1938375" y="324573"/>
                  </a:lnTo>
                  <a:lnTo>
                    <a:pt x="1938375" y="333717"/>
                  </a:lnTo>
                  <a:lnTo>
                    <a:pt x="1947519" y="333717"/>
                  </a:lnTo>
                  <a:lnTo>
                    <a:pt x="1947519" y="324573"/>
                  </a:lnTo>
                  <a:close/>
                </a:path>
                <a:path w="2905125" h="334645">
                  <a:moveTo>
                    <a:pt x="2014550" y="324573"/>
                  </a:moveTo>
                  <a:lnTo>
                    <a:pt x="1976475" y="324573"/>
                  </a:lnTo>
                  <a:lnTo>
                    <a:pt x="1976475" y="333717"/>
                  </a:lnTo>
                  <a:lnTo>
                    <a:pt x="2014550" y="333717"/>
                  </a:lnTo>
                  <a:lnTo>
                    <a:pt x="2014550" y="324573"/>
                  </a:lnTo>
                  <a:close/>
                </a:path>
                <a:path w="2905125" h="334645">
                  <a:moveTo>
                    <a:pt x="2052650" y="324573"/>
                  </a:moveTo>
                  <a:lnTo>
                    <a:pt x="2043506" y="324573"/>
                  </a:lnTo>
                  <a:lnTo>
                    <a:pt x="2043506" y="333717"/>
                  </a:lnTo>
                  <a:lnTo>
                    <a:pt x="2052650" y="333717"/>
                  </a:lnTo>
                  <a:lnTo>
                    <a:pt x="2052650" y="324573"/>
                  </a:lnTo>
                  <a:close/>
                </a:path>
                <a:path w="2905125" h="334645">
                  <a:moveTo>
                    <a:pt x="2119706" y="324573"/>
                  </a:moveTo>
                  <a:lnTo>
                    <a:pt x="2081606" y="324573"/>
                  </a:lnTo>
                  <a:lnTo>
                    <a:pt x="2081606" y="333717"/>
                  </a:lnTo>
                  <a:lnTo>
                    <a:pt x="2119706" y="333717"/>
                  </a:lnTo>
                  <a:lnTo>
                    <a:pt x="2119706" y="324573"/>
                  </a:lnTo>
                  <a:close/>
                </a:path>
                <a:path w="2905125" h="334645">
                  <a:moveTo>
                    <a:pt x="2157806" y="324573"/>
                  </a:moveTo>
                  <a:lnTo>
                    <a:pt x="2147138" y="324573"/>
                  </a:lnTo>
                  <a:lnTo>
                    <a:pt x="2147138" y="333717"/>
                  </a:lnTo>
                  <a:lnTo>
                    <a:pt x="2157806" y="333717"/>
                  </a:lnTo>
                  <a:lnTo>
                    <a:pt x="2157806" y="324573"/>
                  </a:lnTo>
                  <a:close/>
                </a:path>
                <a:path w="2905125" h="334645">
                  <a:moveTo>
                    <a:pt x="2223338" y="324573"/>
                  </a:moveTo>
                  <a:lnTo>
                    <a:pt x="2185238" y="324573"/>
                  </a:lnTo>
                  <a:lnTo>
                    <a:pt x="2185238" y="333717"/>
                  </a:lnTo>
                  <a:lnTo>
                    <a:pt x="2223338" y="333717"/>
                  </a:lnTo>
                  <a:lnTo>
                    <a:pt x="2223338" y="324573"/>
                  </a:lnTo>
                  <a:close/>
                </a:path>
                <a:path w="2905125" h="334645">
                  <a:moveTo>
                    <a:pt x="2261438" y="324573"/>
                  </a:moveTo>
                  <a:lnTo>
                    <a:pt x="2252294" y="324573"/>
                  </a:lnTo>
                  <a:lnTo>
                    <a:pt x="2252294" y="333717"/>
                  </a:lnTo>
                  <a:lnTo>
                    <a:pt x="2261438" y="333717"/>
                  </a:lnTo>
                  <a:lnTo>
                    <a:pt x="2261438" y="324573"/>
                  </a:lnTo>
                  <a:close/>
                </a:path>
                <a:path w="2905125" h="334645">
                  <a:moveTo>
                    <a:pt x="2328468" y="324573"/>
                  </a:moveTo>
                  <a:lnTo>
                    <a:pt x="2290368" y="324573"/>
                  </a:lnTo>
                  <a:lnTo>
                    <a:pt x="2290368" y="333717"/>
                  </a:lnTo>
                  <a:lnTo>
                    <a:pt x="2328468" y="333717"/>
                  </a:lnTo>
                  <a:lnTo>
                    <a:pt x="2328468" y="324573"/>
                  </a:lnTo>
                  <a:close/>
                </a:path>
                <a:path w="2905125" h="334645">
                  <a:moveTo>
                    <a:pt x="2366568" y="324573"/>
                  </a:moveTo>
                  <a:lnTo>
                    <a:pt x="2357424" y="324573"/>
                  </a:lnTo>
                  <a:lnTo>
                    <a:pt x="2357424" y="333717"/>
                  </a:lnTo>
                  <a:lnTo>
                    <a:pt x="2366568" y="333717"/>
                  </a:lnTo>
                  <a:lnTo>
                    <a:pt x="2366568" y="324573"/>
                  </a:lnTo>
                  <a:close/>
                </a:path>
                <a:path w="2905125" h="334645">
                  <a:moveTo>
                    <a:pt x="2433624" y="324573"/>
                  </a:moveTo>
                  <a:lnTo>
                    <a:pt x="2395524" y="324573"/>
                  </a:lnTo>
                  <a:lnTo>
                    <a:pt x="2395524" y="333717"/>
                  </a:lnTo>
                  <a:lnTo>
                    <a:pt x="2433624" y="333717"/>
                  </a:lnTo>
                  <a:lnTo>
                    <a:pt x="2433624" y="324573"/>
                  </a:lnTo>
                  <a:close/>
                </a:path>
                <a:path w="2905125" h="334645">
                  <a:moveTo>
                    <a:pt x="2471724" y="324573"/>
                  </a:moveTo>
                  <a:lnTo>
                    <a:pt x="2462580" y="324573"/>
                  </a:lnTo>
                  <a:lnTo>
                    <a:pt x="2462580" y="333717"/>
                  </a:lnTo>
                  <a:lnTo>
                    <a:pt x="2471724" y="333717"/>
                  </a:lnTo>
                  <a:lnTo>
                    <a:pt x="2471724" y="324573"/>
                  </a:lnTo>
                  <a:close/>
                </a:path>
                <a:path w="2905125" h="334645">
                  <a:moveTo>
                    <a:pt x="2538780" y="324573"/>
                  </a:moveTo>
                  <a:lnTo>
                    <a:pt x="2500680" y="324573"/>
                  </a:lnTo>
                  <a:lnTo>
                    <a:pt x="2500680" y="333717"/>
                  </a:lnTo>
                  <a:lnTo>
                    <a:pt x="2538780" y="333717"/>
                  </a:lnTo>
                  <a:lnTo>
                    <a:pt x="2538780" y="324573"/>
                  </a:lnTo>
                  <a:close/>
                </a:path>
                <a:path w="2905125" h="334645">
                  <a:moveTo>
                    <a:pt x="2561640" y="310857"/>
                  </a:moveTo>
                  <a:lnTo>
                    <a:pt x="2552496" y="310857"/>
                  </a:lnTo>
                  <a:lnTo>
                    <a:pt x="2552496" y="320001"/>
                  </a:lnTo>
                  <a:lnTo>
                    <a:pt x="2561640" y="320001"/>
                  </a:lnTo>
                  <a:lnTo>
                    <a:pt x="2561640" y="310857"/>
                  </a:lnTo>
                  <a:close/>
                </a:path>
                <a:path w="2905125" h="334645">
                  <a:moveTo>
                    <a:pt x="2561640" y="243801"/>
                  </a:moveTo>
                  <a:lnTo>
                    <a:pt x="2552496" y="243801"/>
                  </a:lnTo>
                  <a:lnTo>
                    <a:pt x="2552496" y="281901"/>
                  </a:lnTo>
                  <a:lnTo>
                    <a:pt x="2561640" y="281901"/>
                  </a:lnTo>
                  <a:lnTo>
                    <a:pt x="2561640" y="243801"/>
                  </a:lnTo>
                  <a:close/>
                </a:path>
                <a:path w="2905125" h="334645">
                  <a:moveTo>
                    <a:pt x="2561640" y="205740"/>
                  </a:moveTo>
                  <a:lnTo>
                    <a:pt x="2552496" y="205740"/>
                  </a:lnTo>
                  <a:lnTo>
                    <a:pt x="2552496" y="214884"/>
                  </a:lnTo>
                  <a:lnTo>
                    <a:pt x="2561640" y="214884"/>
                  </a:lnTo>
                  <a:lnTo>
                    <a:pt x="2561640" y="205740"/>
                  </a:lnTo>
                  <a:close/>
                </a:path>
                <a:path w="2905125" h="334645">
                  <a:moveTo>
                    <a:pt x="2561640" y="138684"/>
                  </a:moveTo>
                  <a:lnTo>
                    <a:pt x="2552496" y="138684"/>
                  </a:lnTo>
                  <a:lnTo>
                    <a:pt x="2552496" y="176784"/>
                  </a:lnTo>
                  <a:lnTo>
                    <a:pt x="2561640" y="176784"/>
                  </a:lnTo>
                  <a:lnTo>
                    <a:pt x="2561640" y="138684"/>
                  </a:lnTo>
                  <a:close/>
                </a:path>
                <a:path w="2905125" h="334645">
                  <a:moveTo>
                    <a:pt x="2561640" y="100584"/>
                  </a:moveTo>
                  <a:lnTo>
                    <a:pt x="2552496" y="100584"/>
                  </a:lnTo>
                  <a:lnTo>
                    <a:pt x="2552496" y="109728"/>
                  </a:lnTo>
                  <a:lnTo>
                    <a:pt x="2561640" y="109728"/>
                  </a:lnTo>
                  <a:lnTo>
                    <a:pt x="2561640" y="100584"/>
                  </a:lnTo>
                  <a:close/>
                </a:path>
                <a:path w="2905125" h="334645">
                  <a:moveTo>
                    <a:pt x="2561640" y="33528"/>
                  </a:moveTo>
                  <a:lnTo>
                    <a:pt x="2552496" y="33528"/>
                  </a:lnTo>
                  <a:lnTo>
                    <a:pt x="2552496" y="71628"/>
                  </a:lnTo>
                  <a:lnTo>
                    <a:pt x="2561640" y="71628"/>
                  </a:lnTo>
                  <a:lnTo>
                    <a:pt x="2561640" y="33528"/>
                  </a:lnTo>
                  <a:close/>
                </a:path>
                <a:path w="2905125" h="334645">
                  <a:moveTo>
                    <a:pt x="2561640" y="0"/>
                  </a:moveTo>
                  <a:lnTo>
                    <a:pt x="2552496" y="0"/>
                  </a:lnTo>
                  <a:lnTo>
                    <a:pt x="2552496" y="6096"/>
                  </a:lnTo>
                  <a:lnTo>
                    <a:pt x="2561640" y="6096"/>
                  </a:lnTo>
                  <a:lnTo>
                    <a:pt x="2561640" y="0"/>
                  </a:lnTo>
                  <a:close/>
                </a:path>
                <a:path w="2905125" h="334645">
                  <a:moveTo>
                    <a:pt x="2904502" y="291045"/>
                  </a:moveTo>
                  <a:lnTo>
                    <a:pt x="2895358" y="291045"/>
                  </a:lnTo>
                  <a:lnTo>
                    <a:pt x="2895358" y="329145"/>
                  </a:lnTo>
                  <a:lnTo>
                    <a:pt x="2904502" y="329145"/>
                  </a:lnTo>
                  <a:lnTo>
                    <a:pt x="2904502" y="291045"/>
                  </a:lnTo>
                  <a:close/>
                </a:path>
                <a:path w="2905125" h="334645">
                  <a:moveTo>
                    <a:pt x="2904502" y="252945"/>
                  </a:moveTo>
                  <a:lnTo>
                    <a:pt x="2895358" y="252945"/>
                  </a:lnTo>
                  <a:lnTo>
                    <a:pt x="2895358" y="262089"/>
                  </a:lnTo>
                  <a:lnTo>
                    <a:pt x="2904502" y="262089"/>
                  </a:lnTo>
                  <a:lnTo>
                    <a:pt x="2904502" y="252945"/>
                  </a:lnTo>
                  <a:close/>
                </a:path>
                <a:path w="2905125" h="334645">
                  <a:moveTo>
                    <a:pt x="2904502" y="185928"/>
                  </a:moveTo>
                  <a:lnTo>
                    <a:pt x="2895358" y="185928"/>
                  </a:lnTo>
                  <a:lnTo>
                    <a:pt x="2895358" y="224028"/>
                  </a:lnTo>
                  <a:lnTo>
                    <a:pt x="2904502" y="224028"/>
                  </a:lnTo>
                  <a:lnTo>
                    <a:pt x="2904502" y="185928"/>
                  </a:lnTo>
                  <a:close/>
                </a:path>
                <a:path w="2905125" h="334645">
                  <a:moveTo>
                    <a:pt x="2904502" y="147828"/>
                  </a:moveTo>
                  <a:lnTo>
                    <a:pt x="2895358" y="147828"/>
                  </a:lnTo>
                  <a:lnTo>
                    <a:pt x="2895358" y="158496"/>
                  </a:lnTo>
                  <a:lnTo>
                    <a:pt x="2904502" y="158496"/>
                  </a:lnTo>
                  <a:lnTo>
                    <a:pt x="2904502" y="147828"/>
                  </a:lnTo>
                  <a:close/>
                </a:path>
                <a:path w="2905125" h="334645">
                  <a:moveTo>
                    <a:pt x="2904502" y="82296"/>
                  </a:moveTo>
                  <a:lnTo>
                    <a:pt x="2895358" y="82296"/>
                  </a:lnTo>
                  <a:lnTo>
                    <a:pt x="2895358" y="120396"/>
                  </a:lnTo>
                  <a:lnTo>
                    <a:pt x="2904502" y="120396"/>
                  </a:lnTo>
                  <a:lnTo>
                    <a:pt x="2904502" y="82296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" name="object 66"/>
            <p:cNvSpPr/>
            <p:nvPr/>
          </p:nvSpPr>
          <p:spPr>
            <a:xfrm>
              <a:off x="4754994" y="3892486"/>
              <a:ext cx="3475990" cy="334010"/>
            </a:xfrm>
            <a:custGeom>
              <a:avLst/>
              <a:gdLst/>
              <a:ahLst/>
              <a:cxnLst/>
              <a:rect l="l" t="t" r="r" b="b"/>
              <a:pathLst>
                <a:path w="3475990" h="334010">
                  <a:moveTo>
                    <a:pt x="9144" y="82296"/>
                  </a:moveTo>
                  <a:lnTo>
                    <a:pt x="0" y="82296"/>
                  </a:lnTo>
                  <a:lnTo>
                    <a:pt x="0" y="120396"/>
                  </a:lnTo>
                  <a:lnTo>
                    <a:pt x="9144" y="120396"/>
                  </a:lnTo>
                  <a:lnTo>
                    <a:pt x="9144" y="82296"/>
                  </a:lnTo>
                  <a:close/>
                </a:path>
                <a:path w="3475990" h="334010">
                  <a:moveTo>
                    <a:pt x="9144" y="44196"/>
                  </a:moveTo>
                  <a:lnTo>
                    <a:pt x="0" y="44196"/>
                  </a:lnTo>
                  <a:lnTo>
                    <a:pt x="0" y="53340"/>
                  </a:lnTo>
                  <a:lnTo>
                    <a:pt x="9144" y="53340"/>
                  </a:lnTo>
                  <a:lnTo>
                    <a:pt x="9144" y="44196"/>
                  </a:lnTo>
                  <a:close/>
                </a:path>
                <a:path w="3475990" h="334010">
                  <a:moveTo>
                    <a:pt x="9144" y="0"/>
                  </a:moveTo>
                  <a:lnTo>
                    <a:pt x="0" y="0"/>
                  </a:lnTo>
                  <a:lnTo>
                    <a:pt x="0" y="15240"/>
                  </a:lnTo>
                  <a:lnTo>
                    <a:pt x="9144" y="15240"/>
                  </a:lnTo>
                  <a:lnTo>
                    <a:pt x="9144" y="0"/>
                  </a:lnTo>
                  <a:close/>
                </a:path>
                <a:path w="3475990" h="334010">
                  <a:moveTo>
                    <a:pt x="280390" y="324573"/>
                  </a:moveTo>
                  <a:lnTo>
                    <a:pt x="242290" y="324573"/>
                  </a:lnTo>
                  <a:lnTo>
                    <a:pt x="242290" y="333717"/>
                  </a:lnTo>
                  <a:lnTo>
                    <a:pt x="280390" y="333717"/>
                  </a:lnTo>
                  <a:lnTo>
                    <a:pt x="280390" y="324573"/>
                  </a:lnTo>
                  <a:close/>
                </a:path>
                <a:path w="3475990" h="334010">
                  <a:moveTo>
                    <a:pt x="318490" y="324573"/>
                  </a:moveTo>
                  <a:lnTo>
                    <a:pt x="309346" y="324573"/>
                  </a:lnTo>
                  <a:lnTo>
                    <a:pt x="309346" y="333717"/>
                  </a:lnTo>
                  <a:lnTo>
                    <a:pt x="318490" y="333717"/>
                  </a:lnTo>
                  <a:lnTo>
                    <a:pt x="318490" y="324573"/>
                  </a:lnTo>
                  <a:close/>
                </a:path>
                <a:path w="3475990" h="334010">
                  <a:moveTo>
                    <a:pt x="385546" y="324573"/>
                  </a:moveTo>
                  <a:lnTo>
                    <a:pt x="347446" y="324573"/>
                  </a:lnTo>
                  <a:lnTo>
                    <a:pt x="347446" y="333717"/>
                  </a:lnTo>
                  <a:lnTo>
                    <a:pt x="385546" y="333717"/>
                  </a:lnTo>
                  <a:lnTo>
                    <a:pt x="385546" y="324573"/>
                  </a:lnTo>
                  <a:close/>
                </a:path>
                <a:path w="3475990" h="334010">
                  <a:moveTo>
                    <a:pt x="423646" y="324573"/>
                  </a:moveTo>
                  <a:lnTo>
                    <a:pt x="414502" y="324573"/>
                  </a:lnTo>
                  <a:lnTo>
                    <a:pt x="414502" y="333717"/>
                  </a:lnTo>
                  <a:lnTo>
                    <a:pt x="423646" y="333717"/>
                  </a:lnTo>
                  <a:lnTo>
                    <a:pt x="423646" y="324573"/>
                  </a:lnTo>
                  <a:close/>
                </a:path>
                <a:path w="3475990" h="334010">
                  <a:moveTo>
                    <a:pt x="490702" y="324573"/>
                  </a:moveTo>
                  <a:lnTo>
                    <a:pt x="452602" y="324573"/>
                  </a:lnTo>
                  <a:lnTo>
                    <a:pt x="452602" y="333717"/>
                  </a:lnTo>
                  <a:lnTo>
                    <a:pt x="490702" y="333717"/>
                  </a:lnTo>
                  <a:lnTo>
                    <a:pt x="490702" y="324573"/>
                  </a:lnTo>
                  <a:close/>
                </a:path>
                <a:path w="3475990" h="334010">
                  <a:moveTo>
                    <a:pt x="528764" y="324573"/>
                  </a:moveTo>
                  <a:lnTo>
                    <a:pt x="519620" y="324573"/>
                  </a:lnTo>
                  <a:lnTo>
                    <a:pt x="519620" y="333717"/>
                  </a:lnTo>
                  <a:lnTo>
                    <a:pt x="528764" y="333717"/>
                  </a:lnTo>
                  <a:lnTo>
                    <a:pt x="528764" y="324573"/>
                  </a:lnTo>
                  <a:close/>
                </a:path>
                <a:path w="3475990" h="334010">
                  <a:moveTo>
                    <a:pt x="595820" y="324573"/>
                  </a:moveTo>
                  <a:lnTo>
                    <a:pt x="557720" y="324573"/>
                  </a:lnTo>
                  <a:lnTo>
                    <a:pt x="557720" y="333717"/>
                  </a:lnTo>
                  <a:lnTo>
                    <a:pt x="595820" y="333717"/>
                  </a:lnTo>
                  <a:lnTo>
                    <a:pt x="595820" y="324573"/>
                  </a:lnTo>
                  <a:close/>
                </a:path>
                <a:path w="3475990" h="334010">
                  <a:moveTo>
                    <a:pt x="633920" y="324573"/>
                  </a:moveTo>
                  <a:lnTo>
                    <a:pt x="623252" y="324573"/>
                  </a:lnTo>
                  <a:lnTo>
                    <a:pt x="623252" y="333717"/>
                  </a:lnTo>
                  <a:lnTo>
                    <a:pt x="633920" y="333717"/>
                  </a:lnTo>
                  <a:lnTo>
                    <a:pt x="633920" y="324573"/>
                  </a:lnTo>
                  <a:close/>
                </a:path>
                <a:path w="3475990" h="334010">
                  <a:moveTo>
                    <a:pt x="699452" y="324573"/>
                  </a:moveTo>
                  <a:lnTo>
                    <a:pt x="661352" y="324573"/>
                  </a:lnTo>
                  <a:lnTo>
                    <a:pt x="661352" y="333717"/>
                  </a:lnTo>
                  <a:lnTo>
                    <a:pt x="699452" y="333717"/>
                  </a:lnTo>
                  <a:lnTo>
                    <a:pt x="699452" y="324573"/>
                  </a:lnTo>
                  <a:close/>
                </a:path>
                <a:path w="3475990" h="334010">
                  <a:moveTo>
                    <a:pt x="737552" y="324573"/>
                  </a:moveTo>
                  <a:lnTo>
                    <a:pt x="728408" y="324573"/>
                  </a:lnTo>
                  <a:lnTo>
                    <a:pt x="728408" y="333717"/>
                  </a:lnTo>
                  <a:lnTo>
                    <a:pt x="737552" y="333717"/>
                  </a:lnTo>
                  <a:lnTo>
                    <a:pt x="737552" y="324573"/>
                  </a:lnTo>
                  <a:close/>
                </a:path>
                <a:path w="3475990" h="334010">
                  <a:moveTo>
                    <a:pt x="804608" y="324573"/>
                  </a:moveTo>
                  <a:lnTo>
                    <a:pt x="766508" y="324573"/>
                  </a:lnTo>
                  <a:lnTo>
                    <a:pt x="766508" y="333717"/>
                  </a:lnTo>
                  <a:lnTo>
                    <a:pt x="804608" y="333717"/>
                  </a:lnTo>
                  <a:lnTo>
                    <a:pt x="804608" y="324573"/>
                  </a:lnTo>
                  <a:close/>
                </a:path>
                <a:path w="3475990" h="334010">
                  <a:moveTo>
                    <a:pt x="842708" y="324573"/>
                  </a:moveTo>
                  <a:lnTo>
                    <a:pt x="833564" y="324573"/>
                  </a:lnTo>
                  <a:lnTo>
                    <a:pt x="833564" y="333717"/>
                  </a:lnTo>
                  <a:lnTo>
                    <a:pt x="842708" y="333717"/>
                  </a:lnTo>
                  <a:lnTo>
                    <a:pt x="842708" y="324573"/>
                  </a:lnTo>
                  <a:close/>
                </a:path>
                <a:path w="3475990" h="334010">
                  <a:moveTo>
                    <a:pt x="909764" y="324573"/>
                  </a:moveTo>
                  <a:lnTo>
                    <a:pt x="871664" y="324573"/>
                  </a:lnTo>
                  <a:lnTo>
                    <a:pt x="871664" y="333717"/>
                  </a:lnTo>
                  <a:lnTo>
                    <a:pt x="909764" y="333717"/>
                  </a:lnTo>
                  <a:lnTo>
                    <a:pt x="909764" y="324573"/>
                  </a:lnTo>
                  <a:close/>
                </a:path>
                <a:path w="3475990" h="334010">
                  <a:moveTo>
                    <a:pt x="947839" y="324573"/>
                  </a:moveTo>
                  <a:lnTo>
                    <a:pt x="938720" y="324573"/>
                  </a:lnTo>
                  <a:lnTo>
                    <a:pt x="938720" y="333717"/>
                  </a:lnTo>
                  <a:lnTo>
                    <a:pt x="947839" y="333717"/>
                  </a:lnTo>
                  <a:lnTo>
                    <a:pt x="947839" y="324573"/>
                  </a:lnTo>
                  <a:close/>
                </a:path>
                <a:path w="3475990" h="334010">
                  <a:moveTo>
                    <a:pt x="1014895" y="324573"/>
                  </a:moveTo>
                  <a:lnTo>
                    <a:pt x="976795" y="324573"/>
                  </a:lnTo>
                  <a:lnTo>
                    <a:pt x="976795" y="333717"/>
                  </a:lnTo>
                  <a:lnTo>
                    <a:pt x="1014895" y="333717"/>
                  </a:lnTo>
                  <a:lnTo>
                    <a:pt x="1014895" y="324573"/>
                  </a:lnTo>
                  <a:close/>
                </a:path>
                <a:path w="3475990" h="334010">
                  <a:moveTo>
                    <a:pt x="1052995" y="324573"/>
                  </a:moveTo>
                  <a:lnTo>
                    <a:pt x="1042327" y="324573"/>
                  </a:lnTo>
                  <a:lnTo>
                    <a:pt x="1042327" y="333717"/>
                  </a:lnTo>
                  <a:lnTo>
                    <a:pt x="1052995" y="333717"/>
                  </a:lnTo>
                  <a:lnTo>
                    <a:pt x="1052995" y="324573"/>
                  </a:lnTo>
                  <a:close/>
                </a:path>
                <a:path w="3475990" h="334010">
                  <a:moveTo>
                    <a:pt x="1118527" y="324573"/>
                  </a:moveTo>
                  <a:lnTo>
                    <a:pt x="1080427" y="324573"/>
                  </a:lnTo>
                  <a:lnTo>
                    <a:pt x="1080427" y="333717"/>
                  </a:lnTo>
                  <a:lnTo>
                    <a:pt x="1118527" y="333717"/>
                  </a:lnTo>
                  <a:lnTo>
                    <a:pt x="1118527" y="324573"/>
                  </a:lnTo>
                  <a:close/>
                </a:path>
                <a:path w="3475990" h="334010">
                  <a:moveTo>
                    <a:pt x="1156627" y="324573"/>
                  </a:moveTo>
                  <a:lnTo>
                    <a:pt x="1147483" y="324573"/>
                  </a:lnTo>
                  <a:lnTo>
                    <a:pt x="1147483" y="333717"/>
                  </a:lnTo>
                  <a:lnTo>
                    <a:pt x="1156627" y="333717"/>
                  </a:lnTo>
                  <a:lnTo>
                    <a:pt x="1156627" y="324573"/>
                  </a:lnTo>
                  <a:close/>
                </a:path>
                <a:path w="3475990" h="334010">
                  <a:moveTo>
                    <a:pt x="1223683" y="324573"/>
                  </a:moveTo>
                  <a:lnTo>
                    <a:pt x="1185583" y="324573"/>
                  </a:lnTo>
                  <a:lnTo>
                    <a:pt x="1185583" y="333717"/>
                  </a:lnTo>
                  <a:lnTo>
                    <a:pt x="1223683" y="333717"/>
                  </a:lnTo>
                  <a:lnTo>
                    <a:pt x="1223683" y="324573"/>
                  </a:lnTo>
                  <a:close/>
                </a:path>
                <a:path w="3475990" h="334010">
                  <a:moveTo>
                    <a:pt x="1261757" y="324573"/>
                  </a:moveTo>
                  <a:lnTo>
                    <a:pt x="1252613" y="324573"/>
                  </a:lnTo>
                  <a:lnTo>
                    <a:pt x="1252613" y="333717"/>
                  </a:lnTo>
                  <a:lnTo>
                    <a:pt x="1261757" y="333717"/>
                  </a:lnTo>
                  <a:lnTo>
                    <a:pt x="1261757" y="324573"/>
                  </a:lnTo>
                  <a:close/>
                </a:path>
                <a:path w="3475990" h="334010">
                  <a:moveTo>
                    <a:pt x="1328813" y="324573"/>
                  </a:moveTo>
                  <a:lnTo>
                    <a:pt x="1290713" y="324573"/>
                  </a:lnTo>
                  <a:lnTo>
                    <a:pt x="1290713" y="333717"/>
                  </a:lnTo>
                  <a:lnTo>
                    <a:pt x="1328813" y="333717"/>
                  </a:lnTo>
                  <a:lnTo>
                    <a:pt x="1328813" y="324573"/>
                  </a:lnTo>
                  <a:close/>
                </a:path>
                <a:path w="3475990" h="334010">
                  <a:moveTo>
                    <a:pt x="1366913" y="324573"/>
                  </a:moveTo>
                  <a:lnTo>
                    <a:pt x="1357769" y="324573"/>
                  </a:lnTo>
                  <a:lnTo>
                    <a:pt x="1357769" y="333717"/>
                  </a:lnTo>
                  <a:lnTo>
                    <a:pt x="1366913" y="333717"/>
                  </a:lnTo>
                  <a:lnTo>
                    <a:pt x="1366913" y="324573"/>
                  </a:lnTo>
                  <a:close/>
                </a:path>
                <a:path w="3475990" h="334010">
                  <a:moveTo>
                    <a:pt x="1433969" y="324573"/>
                  </a:moveTo>
                  <a:lnTo>
                    <a:pt x="1395869" y="324573"/>
                  </a:lnTo>
                  <a:lnTo>
                    <a:pt x="1395869" y="333717"/>
                  </a:lnTo>
                  <a:lnTo>
                    <a:pt x="1433969" y="333717"/>
                  </a:lnTo>
                  <a:lnTo>
                    <a:pt x="1433969" y="324573"/>
                  </a:lnTo>
                  <a:close/>
                </a:path>
                <a:path w="3475990" h="334010">
                  <a:moveTo>
                    <a:pt x="1472069" y="324573"/>
                  </a:moveTo>
                  <a:lnTo>
                    <a:pt x="1461401" y="324573"/>
                  </a:lnTo>
                  <a:lnTo>
                    <a:pt x="1461401" y="333717"/>
                  </a:lnTo>
                  <a:lnTo>
                    <a:pt x="1472069" y="333717"/>
                  </a:lnTo>
                  <a:lnTo>
                    <a:pt x="1472069" y="324573"/>
                  </a:lnTo>
                  <a:close/>
                </a:path>
                <a:path w="3475990" h="334010">
                  <a:moveTo>
                    <a:pt x="1537601" y="324573"/>
                  </a:moveTo>
                  <a:lnTo>
                    <a:pt x="1499501" y="324573"/>
                  </a:lnTo>
                  <a:lnTo>
                    <a:pt x="1499501" y="333717"/>
                  </a:lnTo>
                  <a:lnTo>
                    <a:pt x="1537601" y="333717"/>
                  </a:lnTo>
                  <a:lnTo>
                    <a:pt x="1537601" y="324573"/>
                  </a:lnTo>
                  <a:close/>
                </a:path>
                <a:path w="3475990" h="334010">
                  <a:moveTo>
                    <a:pt x="1575701" y="324573"/>
                  </a:moveTo>
                  <a:lnTo>
                    <a:pt x="1566557" y="324573"/>
                  </a:lnTo>
                  <a:lnTo>
                    <a:pt x="1566557" y="333717"/>
                  </a:lnTo>
                  <a:lnTo>
                    <a:pt x="1575701" y="333717"/>
                  </a:lnTo>
                  <a:lnTo>
                    <a:pt x="1575701" y="324573"/>
                  </a:lnTo>
                  <a:close/>
                </a:path>
                <a:path w="3475990" h="334010">
                  <a:moveTo>
                    <a:pt x="1642757" y="324573"/>
                  </a:moveTo>
                  <a:lnTo>
                    <a:pt x="1604657" y="324573"/>
                  </a:lnTo>
                  <a:lnTo>
                    <a:pt x="1604657" y="333717"/>
                  </a:lnTo>
                  <a:lnTo>
                    <a:pt x="1642757" y="333717"/>
                  </a:lnTo>
                  <a:lnTo>
                    <a:pt x="1642757" y="324573"/>
                  </a:lnTo>
                  <a:close/>
                </a:path>
                <a:path w="3475990" h="334010">
                  <a:moveTo>
                    <a:pt x="1680819" y="324573"/>
                  </a:moveTo>
                  <a:lnTo>
                    <a:pt x="1671675" y="324573"/>
                  </a:lnTo>
                  <a:lnTo>
                    <a:pt x="1671675" y="333717"/>
                  </a:lnTo>
                  <a:lnTo>
                    <a:pt x="1680819" y="333717"/>
                  </a:lnTo>
                  <a:lnTo>
                    <a:pt x="1680819" y="324573"/>
                  </a:lnTo>
                  <a:close/>
                </a:path>
                <a:path w="3475990" h="334010">
                  <a:moveTo>
                    <a:pt x="1747875" y="324573"/>
                  </a:moveTo>
                  <a:lnTo>
                    <a:pt x="1709775" y="324573"/>
                  </a:lnTo>
                  <a:lnTo>
                    <a:pt x="1709775" y="333717"/>
                  </a:lnTo>
                  <a:lnTo>
                    <a:pt x="1747875" y="333717"/>
                  </a:lnTo>
                  <a:lnTo>
                    <a:pt x="1747875" y="324573"/>
                  </a:lnTo>
                  <a:close/>
                </a:path>
                <a:path w="3475990" h="334010">
                  <a:moveTo>
                    <a:pt x="1785975" y="324573"/>
                  </a:moveTo>
                  <a:lnTo>
                    <a:pt x="1776831" y="324573"/>
                  </a:lnTo>
                  <a:lnTo>
                    <a:pt x="1776831" y="333717"/>
                  </a:lnTo>
                  <a:lnTo>
                    <a:pt x="1785975" y="333717"/>
                  </a:lnTo>
                  <a:lnTo>
                    <a:pt x="1785975" y="324573"/>
                  </a:lnTo>
                  <a:close/>
                </a:path>
                <a:path w="3475990" h="334010">
                  <a:moveTo>
                    <a:pt x="1853031" y="324573"/>
                  </a:moveTo>
                  <a:lnTo>
                    <a:pt x="1814931" y="324573"/>
                  </a:lnTo>
                  <a:lnTo>
                    <a:pt x="1814931" y="333717"/>
                  </a:lnTo>
                  <a:lnTo>
                    <a:pt x="1853031" y="333717"/>
                  </a:lnTo>
                  <a:lnTo>
                    <a:pt x="1853031" y="324573"/>
                  </a:lnTo>
                  <a:close/>
                </a:path>
                <a:path w="3475990" h="334010">
                  <a:moveTo>
                    <a:pt x="1891131" y="324573"/>
                  </a:moveTo>
                  <a:lnTo>
                    <a:pt x="1880463" y="324573"/>
                  </a:lnTo>
                  <a:lnTo>
                    <a:pt x="1880463" y="333717"/>
                  </a:lnTo>
                  <a:lnTo>
                    <a:pt x="1891131" y="333717"/>
                  </a:lnTo>
                  <a:lnTo>
                    <a:pt x="1891131" y="324573"/>
                  </a:lnTo>
                  <a:close/>
                </a:path>
                <a:path w="3475990" h="334010">
                  <a:moveTo>
                    <a:pt x="1956638" y="324573"/>
                  </a:moveTo>
                  <a:lnTo>
                    <a:pt x="1918563" y="324573"/>
                  </a:lnTo>
                  <a:lnTo>
                    <a:pt x="1918563" y="333717"/>
                  </a:lnTo>
                  <a:lnTo>
                    <a:pt x="1956638" y="333717"/>
                  </a:lnTo>
                  <a:lnTo>
                    <a:pt x="1956638" y="324573"/>
                  </a:lnTo>
                  <a:close/>
                </a:path>
                <a:path w="3475990" h="334010">
                  <a:moveTo>
                    <a:pt x="1994738" y="324573"/>
                  </a:moveTo>
                  <a:lnTo>
                    <a:pt x="1985594" y="324573"/>
                  </a:lnTo>
                  <a:lnTo>
                    <a:pt x="1985594" y="333717"/>
                  </a:lnTo>
                  <a:lnTo>
                    <a:pt x="1994738" y="333717"/>
                  </a:lnTo>
                  <a:lnTo>
                    <a:pt x="1994738" y="324573"/>
                  </a:lnTo>
                  <a:close/>
                </a:path>
                <a:path w="3475990" h="334010">
                  <a:moveTo>
                    <a:pt x="2061794" y="324573"/>
                  </a:moveTo>
                  <a:lnTo>
                    <a:pt x="2023694" y="324573"/>
                  </a:lnTo>
                  <a:lnTo>
                    <a:pt x="2023694" y="333717"/>
                  </a:lnTo>
                  <a:lnTo>
                    <a:pt x="2061794" y="333717"/>
                  </a:lnTo>
                  <a:lnTo>
                    <a:pt x="2061794" y="324573"/>
                  </a:lnTo>
                  <a:close/>
                </a:path>
                <a:path w="3475990" h="334010">
                  <a:moveTo>
                    <a:pt x="2099894" y="324573"/>
                  </a:moveTo>
                  <a:lnTo>
                    <a:pt x="2090750" y="324573"/>
                  </a:lnTo>
                  <a:lnTo>
                    <a:pt x="2090750" y="333717"/>
                  </a:lnTo>
                  <a:lnTo>
                    <a:pt x="2099894" y="333717"/>
                  </a:lnTo>
                  <a:lnTo>
                    <a:pt x="2099894" y="324573"/>
                  </a:lnTo>
                  <a:close/>
                </a:path>
                <a:path w="3475990" h="334010">
                  <a:moveTo>
                    <a:pt x="2166950" y="324573"/>
                  </a:moveTo>
                  <a:lnTo>
                    <a:pt x="2128850" y="324573"/>
                  </a:lnTo>
                  <a:lnTo>
                    <a:pt x="2128850" y="333717"/>
                  </a:lnTo>
                  <a:lnTo>
                    <a:pt x="2166950" y="333717"/>
                  </a:lnTo>
                  <a:lnTo>
                    <a:pt x="2166950" y="324573"/>
                  </a:lnTo>
                  <a:close/>
                </a:path>
                <a:path w="3475990" h="334010">
                  <a:moveTo>
                    <a:pt x="2205050" y="324573"/>
                  </a:moveTo>
                  <a:lnTo>
                    <a:pt x="2195906" y="324573"/>
                  </a:lnTo>
                  <a:lnTo>
                    <a:pt x="2195906" y="333717"/>
                  </a:lnTo>
                  <a:lnTo>
                    <a:pt x="2205050" y="333717"/>
                  </a:lnTo>
                  <a:lnTo>
                    <a:pt x="2205050" y="324573"/>
                  </a:lnTo>
                  <a:close/>
                </a:path>
                <a:path w="3475990" h="334010">
                  <a:moveTo>
                    <a:pt x="2272106" y="324573"/>
                  </a:moveTo>
                  <a:lnTo>
                    <a:pt x="2234006" y="324573"/>
                  </a:lnTo>
                  <a:lnTo>
                    <a:pt x="2234006" y="333717"/>
                  </a:lnTo>
                  <a:lnTo>
                    <a:pt x="2272106" y="333717"/>
                  </a:lnTo>
                  <a:lnTo>
                    <a:pt x="2272106" y="324573"/>
                  </a:lnTo>
                  <a:close/>
                </a:path>
                <a:path w="3475990" h="334010">
                  <a:moveTo>
                    <a:pt x="2310206" y="324573"/>
                  </a:moveTo>
                  <a:lnTo>
                    <a:pt x="2299538" y="324573"/>
                  </a:lnTo>
                  <a:lnTo>
                    <a:pt x="2299538" y="333717"/>
                  </a:lnTo>
                  <a:lnTo>
                    <a:pt x="2310206" y="333717"/>
                  </a:lnTo>
                  <a:lnTo>
                    <a:pt x="2310206" y="324573"/>
                  </a:lnTo>
                  <a:close/>
                </a:path>
                <a:path w="3475990" h="334010">
                  <a:moveTo>
                    <a:pt x="2375700" y="324573"/>
                  </a:moveTo>
                  <a:lnTo>
                    <a:pt x="2337638" y="324573"/>
                  </a:lnTo>
                  <a:lnTo>
                    <a:pt x="2337638" y="333717"/>
                  </a:lnTo>
                  <a:lnTo>
                    <a:pt x="2375700" y="333717"/>
                  </a:lnTo>
                  <a:lnTo>
                    <a:pt x="2375700" y="324573"/>
                  </a:lnTo>
                  <a:close/>
                </a:path>
                <a:path w="3475990" h="334010">
                  <a:moveTo>
                    <a:pt x="2413800" y="324573"/>
                  </a:moveTo>
                  <a:lnTo>
                    <a:pt x="2404656" y="324573"/>
                  </a:lnTo>
                  <a:lnTo>
                    <a:pt x="2404656" y="333717"/>
                  </a:lnTo>
                  <a:lnTo>
                    <a:pt x="2413800" y="333717"/>
                  </a:lnTo>
                  <a:lnTo>
                    <a:pt x="2413800" y="324573"/>
                  </a:lnTo>
                  <a:close/>
                </a:path>
                <a:path w="3475990" h="334010">
                  <a:moveTo>
                    <a:pt x="2480856" y="324573"/>
                  </a:moveTo>
                  <a:lnTo>
                    <a:pt x="2442756" y="324573"/>
                  </a:lnTo>
                  <a:lnTo>
                    <a:pt x="2442756" y="333717"/>
                  </a:lnTo>
                  <a:lnTo>
                    <a:pt x="2480856" y="333717"/>
                  </a:lnTo>
                  <a:lnTo>
                    <a:pt x="2480856" y="324573"/>
                  </a:lnTo>
                  <a:close/>
                </a:path>
                <a:path w="3475990" h="334010">
                  <a:moveTo>
                    <a:pt x="2518956" y="324573"/>
                  </a:moveTo>
                  <a:lnTo>
                    <a:pt x="2509812" y="324573"/>
                  </a:lnTo>
                  <a:lnTo>
                    <a:pt x="2509812" y="333717"/>
                  </a:lnTo>
                  <a:lnTo>
                    <a:pt x="2518956" y="333717"/>
                  </a:lnTo>
                  <a:lnTo>
                    <a:pt x="2518956" y="324573"/>
                  </a:lnTo>
                  <a:close/>
                </a:path>
                <a:path w="3475990" h="334010">
                  <a:moveTo>
                    <a:pt x="2586012" y="324573"/>
                  </a:moveTo>
                  <a:lnTo>
                    <a:pt x="2547912" y="324573"/>
                  </a:lnTo>
                  <a:lnTo>
                    <a:pt x="2547912" y="333717"/>
                  </a:lnTo>
                  <a:lnTo>
                    <a:pt x="2586012" y="333717"/>
                  </a:lnTo>
                  <a:lnTo>
                    <a:pt x="2586012" y="324573"/>
                  </a:lnTo>
                  <a:close/>
                </a:path>
                <a:path w="3475990" h="334010">
                  <a:moveTo>
                    <a:pt x="2624112" y="324573"/>
                  </a:moveTo>
                  <a:lnTo>
                    <a:pt x="2614968" y="324573"/>
                  </a:lnTo>
                  <a:lnTo>
                    <a:pt x="2614968" y="333717"/>
                  </a:lnTo>
                  <a:lnTo>
                    <a:pt x="2624112" y="333717"/>
                  </a:lnTo>
                  <a:lnTo>
                    <a:pt x="2624112" y="324573"/>
                  </a:lnTo>
                  <a:close/>
                </a:path>
                <a:path w="3475990" h="334010">
                  <a:moveTo>
                    <a:pt x="2691142" y="324573"/>
                  </a:moveTo>
                  <a:lnTo>
                    <a:pt x="2653068" y="324573"/>
                  </a:lnTo>
                  <a:lnTo>
                    <a:pt x="2653068" y="333717"/>
                  </a:lnTo>
                  <a:lnTo>
                    <a:pt x="2691142" y="333717"/>
                  </a:lnTo>
                  <a:lnTo>
                    <a:pt x="2691142" y="324573"/>
                  </a:lnTo>
                  <a:close/>
                </a:path>
                <a:path w="3475990" h="334010">
                  <a:moveTo>
                    <a:pt x="2729242" y="324573"/>
                  </a:moveTo>
                  <a:lnTo>
                    <a:pt x="2718574" y="324573"/>
                  </a:lnTo>
                  <a:lnTo>
                    <a:pt x="2718574" y="333717"/>
                  </a:lnTo>
                  <a:lnTo>
                    <a:pt x="2729242" y="333717"/>
                  </a:lnTo>
                  <a:lnTo>
                    <a:pt x="2729242" y="324573"/>
                  </a:lnTo>
                  <a:close/>
                </a:path>
                <a:path w="3475990" h="334010">
                  <a:moveTo>
                    <a:pt x="2794774" y="324573"/>
                  </a:moveTo>
                  <a:lnTo>
                    <a:pt x="2756674" y="324573"/>
                  </a:lnTo>
                  <a:lnTo>
                    <a:pt x="2756674" y="333717"/>
                  </a:lnTo>
                  <a:lnTo>
                    <a:pt x="2794774" y="333717"/>
                  </a:lnTo>
                  <a:lnTo>
                    <a:pt x="2794774" y="324573"/>
                  </a:lnTo>
                  <a:close/>
                </a:path>
                <a:path w="3475990" h="334010">
                  <a:moveTo>
                    <a:pt x="2832874" y="324573"/>
                  </a:moveTo>
                  <a:lnTo>
                    <a:pt x="2823730" y="324573"/>
                  </a:lnTo>
                  <a:lnTo>
                    <a:pt x="2823730" y="333717"/>
                  </a:lnTo>
                  <a:lnTo>
                    <a:pt x="2832874" y="333717"/>
                  </a:lnTo>
                  <a:lnTo>
                    <a:pt x="2832874" y="324573"/>
                  </a:lnTo>
                  <a:close/>
                </a:path>
                <a:path w="3475990" h="334010">
                  <a:moveTo>
                    <a:pt x="2899930" y="324573"/>
                  </a:moveTo>
                  <a:lnTo>
                    <a:pt x="2861830" y="324573"/>
                  </a:lnTo>
                  <a:lnTo>
                    <a:pt x="2861830" y="333717"/>
                  </a:lnTo>
                  <a:lnTo>
                    <a:pt x="2899930" y="333717"/>
                  </a:lnTo>
                  <a:lnTo>
                    <a:pt x="2899930" y="324573"/>
                  </a:lnTo>
                  <a:close/>
                </a:path>
                <a:path w="3475990" h="334010">
                  <a:moveTo>
                    <a:pt x="2938030" y="324573"/>
                  </a:moveTo>
                  <a:lnTo>
                    <a:pt x="2928886" y="324573"/>
                  </a:lnTo>
                  <a:lnTo>
                    <a:pt x="2928886" y="333717"/>
                  </a:lnTo>
                  <a:lnTo>
                    <a:pt x="2938030" y="333717"/>
                  </a:lnTo>
                  <a:lnTo>
                    <a:pt x="2938030" y="324573"/>
                  </a:lnTo>
                  <a:close/>
                </a:path>
                <a:path w="3475990" h="334010">
                  <a:moveTo>
                    <a:pt x="3005086" y="324573"/>
                  </a:moveTo>
                  <a:lnTo>
                    <a:pt x="2966986" y="324573"/>
                  </a:lnTo>
                  <a:lnTo>
                    <a:pt x="2966986" y="333717"/>
                  </a:lnTo>
                  <a:lnTo>
                    <a:pt x="3005086" y="333717"/>
                  </a:lnTo>
                  <a:lnTo>
                    <a:pt x="3005086" y="324573"/>
                  </a:lnTo>
                  <a:close/>
                </a:path>
                <a:path w="3475990" h="334010">
                  <a:moveTo>
                    <a:pt x="3043186" y="324573"/>
                  </a:moveTo>
                  <a:lnTo>
                    <a:pt x="3034042" y="324573"/>
                  </a:lnTo>
                  <a:lnTo>
                    <a:pt x="3034042" y="333717"/>
                  </a:lnTo>
                  <a:lnTo>
                    <a:pt x="3043186" y="333717"/>
                  </a:lnTo>
                  <a:lnTo>
                    <a:pt x="3043186" y="324573"/>
                  </a:lnTo>
                  <a:close/>
                </a:path>
                <a:path w="3475990" h="334010">
                  <a:moveTo>
                    <a:pt x="3110217" y="324573"/>
                  </a:moveTo>
                  <a:lnTo>
                    <a:pt x="3072142" y="324573"/>
                  </a:lnTo>
                  <a:lnTo>
                    <a:pt x="3072142" y="333717"/>
                  </a:lnTo>
                  <a:lnTo>
                    <a:pt x="3110217" y="333717"/>
                  </a:lnTo>
                  <a:lnTo>
                    <a:pt x="3110217" y="324573"/>
                  </a:lnTo>
                  <a:close/>
                </a:path>
                <a:path w="3475990" h="334010">
                  <a:moveTo>
                    <a:pt x="3148317" y="324573"/>
                  </a:moveTo>
                  <a:lnTo>
                    <a:pt x="3137649" y="324573"/>
                  </a:lnTo>
                  <a:lnTo>
                    <a:pt x="3137649" y="333717"/>
                  </a:lnTo>
                  <a:lnTo>
                    <a:pt x="3148317" y="333717"/>
                  </a:lnTo>
                  <a:lnTo>
                    <a:pt x="3148317" y="324573"/>
                  </a:lnTo>
                  <a:close/>
                </a:path>
                <a:path w="3475990" h="334010">
                  <a:moveTo>
                    <a:pt x="3213849" y="324573"/>
                  </a:moveTo>
                  <a:lnTo>
                    <a:pt x="3175749" y="324573"/>
                  </a:lnTo>
                  <a:lnTo>
                    <a:pt x="3175749" y="333717"/>
                  </a:lnTo>
                  <a:lnTo>
                    <a:pt x="3213849" y="333717"/>
                  </a:lnTo>
                  <a:lnTo>
                    <a:pt x="3213849" y="324573"/>
                  </a:lnTo>
                  <a:close/>
                </a:path>
                <a:path w="3475990" h="334010">
                  <a:moveTo>
                    <a:pt x="3251949" y="324573"/>
                  </a:moveTo>
                  <a:lnTo>
                    <a:pt x="3242805" y="324573"/>
                  </a:lnTo>
                  <a:lnTo>
                    <a:pt x="3242805" y="333717"/>
                  </a:lnTo>
                  <a:lnTo>
                    <a:pt x="3251949" y="333717"/>
                  </a:lnTo>
                  <a:lnTo>
                    <a:pt x="3251949" y="324573"/>
                  </a:lnTo>
                  <a:close/>
                </a:path>
                <a:path w="3475990" h="334010">
                  <a:moveTo>
                    <a:pt x="3319005" y="324573"/>
                  </a:moveTo>
                  <a:lnTo>
                    <a:pt x="3280905" y="324573"/>
                  </a:lnTo>
                  <a:lnTo>
                    <a:pt x="3280905" y="333717"/>
                  </a:lnTo>
                  <a:lnTo>
                    <a:pt x="3319005" y="333717"/>
                  </a:lnTo>
                  <a:lnTo>
                    <a:pt x="3319005" y="324573"/>
                  </a:lnTo>
                  <a:close/>
                </a:path>
                <a:path w="3475990" h="334010">
                  <a:moveTo>
                    <a:pt x="3357105" y="324573"/>
                  </a:moveTo>
                  <a:lnTo>
                    <a:pt x="3347961" y="324573"/>
                  </a:lnTo>
                  <a:lnTo>
                    <a:pt x="3347961" y="333717"/>
                  </a:lnTo>
                  <a:lnTo>
                    <a:pt x="3357105" y="333717"/>
                  </a:lnTo>
                  <a:lnTo>
                    <a:pt x="3357105" y="324573"/>
                  </a:lnTo>
                  <a:close/>
                </a:path>
                <a:path w="3475990" h="334010">
                  <a:moveTo>
                    <a:pt x="3424161" y="324573"/>
                  </a:moveTo>
                  <a:lnTo>
                    <a:pt x="3386061" y="324573"/>
                  </a:lnTo>
                  <a:lnTo>
                    <a:pt x="3386061" y="333717"/>
                  </a:lnTo>
                  <a:lnTo>
                    <a:pt x="3424161" y="333717"/>
                  </a:lnTo>
                  <a:lnTo>
                    <a:pt x="3424161" y="324573"/>
                  </a:lnTo>
                  <a:close/>
                </a:path>
                <a:path w="3475990" h="334010">
                  <a:moveTo>
                    <a:pt x="3462261" y="324573"/>
                  </a:moveTo>
                  <a:lnTo>
                    <a:pt x="3453117" y="324573"/>
                  </a:lnTo>
                  <a:lnTo>
                    <a:pt x="3453117" y="333717"/>
                  </a:lnTo>
                  <a:lnTo>
                    <a:pt x="3462261" y="333717"/>
                  </a:lnTo>
                  <a:lnTo>
                    <a:pt x="3462261" y="324573"/>
                  </a:lnTo>
                  <a:close/>
                </a:path>
                <a:path w="3475990" h="334010">
                  <a:moveTo>
                    <a:pt x="3475977" y="272757"/>
                  </a:moveTo>
                  <a:lnTo>
                    <a:pt x="3466833" y="272757"/>
                  </a:lnTo>
                  <a:lnTo>
                    <a:pt x="3466833" y="310857"/>
                  </a:lnTo>
                  <a:lnTo>
                    <a:pt x="3475977" y="310857"/>
                  </a:lnTo>
                  <a:lnTo>
                    <a:pt x="3475977" y="272757"/>
                  </a:lnTo>
                  <a:close/>
                </a:path>
                <a:path w="3475990" h="334010">
                  <a:moveTo>
                    <a:pt x="3475977" y="234657"/>
                  </a:moveTo>
                  <a:lnTo>
                    <a:pt x="3466833" y="234657"/>
                  </a:lnTo>
                  <a:lnTo>
                    <a:pt x="3466833" y="243801"/>
                  </a:lnTo>
                  <a:lnTo>
                    <a:pt x="3475977" y="243801"/>
                  </a:lnTo>
                  <a:lnTo>
                    <a:pt x="3475977" y="234657"/>
                  </a:lnTo>
                  <a:close/>
                </a:path>
                <a:path w="3475990" h="334010">
                  <a:moveTo>
                    <a:pt x="3475977" y="167640"/>
                  </a:moveTo>
                  <a:lnTo>
                    <a:pt x="3466833" y="167640"/>
                  </a:lnTo>
                  <a:lnTo>
                    <a:pt x="3466833" y="205740"/>
                  </a:lnTo>
                  <a:lnTo>
                    <a:pt x="3475977" y="205740"/>
                  </a:lnTo>
                  <a:lnTo>
                    <a:pt x="3475977" y="167640"/>
                  </a:lnTo>
                  <a:close/>
                </a:path>
                <a:path w="3475990" h="334010">
                  <a:moveTo>
                    <a:pt x="3475977" y="129540"/>
                  </a:moveTo>
                  <a:lnTo>
                    <a:pt x="3466833" y="129540"/>
                  </a:lnTo>
                  <a:lnTo>
                    <a:pt x="3466833" y="138684"/>
                  </a:lnTo>
                  <a:lnTo>
                    <a:pt x="3475977" y="138684"/>
                  </a:lnTo>
                  <a:lnTo>
                    <a:pt x="3475977" y="129540"/>
                  </a:lnTo>
                  <a:close/>
                </a:path>
                <a:path w="3475990" h="334010">
                  <a:moveTo>
                    <a:pt x="3475977" y="62484"/>
                  </a:moveTo>
                  <a:lnTo>
                    <a:pt x="3466833" y="62484"/>
                  </a:lnTo>
                  <a:lnTo>
                    <a:pt x="3466833" y="100584"/>
                  </a:lnTo>
                  <a:lnTo>
                    <a:pt x="3475977" y="100584"/>
                  </a:lnTo>
                  <a:lnTo>
                    <a:pt x="3475977" y="62484"/>
                  </a:lnTo>
                  <a:close/>
                </a:path>
                <a:path w="3475990" h="334010">
                  <a:moveTo>
                    <a:pt x="3475977" y="24384"/>
                  </a:moveTo>
                  <a:lnTo>
                    <a:pt x="3466833" y="24384"/>
                  </a:lnTo>
                  <a:lnTo>
                    <a:pt x="3466833" y="33528"/>
                  </a:lnTo>
                  <a:lnTo>
                    <a:pt x="3475977" y="33528"/>
                  </a:lnTo>
                  <a:lnTo>
                    <a:pt x="3475977" y="24384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7" name="object 67"/>
            <p:cNvSpPr/>
            <p:nvPr/>
          </p:nvSpPr>
          <p:spPr>
            <a:xfrm>
              <a:off x="4788522" y="4217060"/>
              <a:ext cx="247015" cy="9525"/>
            </a:xfrm>
            <a:custGeom>
              <a:avLst/>
              <a:gdLst/>
              <a:ahLst/>
              <a:cxnLst/>
              <a:rect l="l" t="t" r="r" b="b"/>
              <a:pathLst>
                <a:path w="247014" h="9525">
                  <a:moveTo>
                    <a:pt x="38100" y="0"/>
                  </a:moveTo>
                  <a:lnTo>
                    <a:pt x="0" y="0"/>
                  </a:lnTo>
                  <a:lnTo>
                    <a:pt x="0" y="9144"/>
                  </a:lnTo>
                  <a:lnTo>
                    <a:pt x="38100" y="9144"/>
                  </a:lnTo>
                  <a:lnTo>
                    <a:pt x="38100" y="0"/>
                  </a:lnTo>
                  <a:close/>
                </a:path>
                <a:path w="247014" h="9525">
                  <a:moveTo>
                    <a:pt x="76200" y="0"/>
                  </a:moveTo>
                  <a:lnTo>
                    <a:pt x="67056" y="0"/>
                  </a:lnTo>
                  <a:lnTo>
                    <a:pt x="67056" y="9144"/>
                  </a:lnTo>
                  <a:lnTo>
                    <a:pt x="76200" y="9144"/>
                  </a:lnTo>
                  <a:lnTo>
                    <a:pt x="76200" y="0"/>
                  </a:lnTo>
                  <a:close/>
                </a:path>
                <a:path w="247014" h="9525">
                  <a:moveTo>
                    <a:pt x="143256" y="0"/>
                  </a:moveTo>
                  <a:lnTo>
                    <a:pt x="105156" y="0"/>
                  </a:lnTo>
                  <a:lnTo>
                    <a:pt x="105156" y="9144"/>
                  </a:lnTo>
                  <a:lnTo>
                    <a:pt x="143256" y="9144"/>
                  </a:lnTo>
                  <a:lnTo>
                    <a:pt x="143256" y="0"/>
                  </a:lnTo>
                  <a:close/>
                </a:path>
                <a:path w="247014" h="9525">
                  <a:moveTo>
                    <a:pt x="181356" y="0"/>
                  </a:moveTo>
                  <a:lnTo>
                    <a:pt x="170688" y="0"/>
                  </a:lnTo>
                  <a:lnTo>
                    <a:pt x="170688" y="9144"/>
                  </a:lnTo>
                  <a:lnTo>
                    <a:pt x="181356" y="9144"/>
                  </a:lnTo>
                  <a:lnTo>
                    <a:pt x="181356" y="0"/>
                  </a:lnTo>
                  <a:close/>
                </a:path>
                <a:path w="247014" h="9525">
                  <a:moveTo>
                    <a:pt x="246862" y="0"/>
                  </a:moveTo>
                  <a:lnTo>
                    <a:pt x="208762" y="0"/>
                  </a:lnTo>
                  <a:lnTo>
                    <a:pt x="208762" y="9144"/>
                  </a:lnTo>
                  <a:lnTo>
                    <a:pt x="246862" y="9144"/>
                  </a:lnTo>
                  <a:lnTo>
                    <a:pt x="246862" y="0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8" name="object 68"/>
            <p:cNvSpPr/>
            <p:nvPr/>
          </p:nvSpPr>
          <p:spPr>
            <a:xfrm>
              <a:off x="6144767" y="3892479"/>
              <a:ext cx="1600200" cy="139065"/>
            </a:xfrm>
            <a:custGeom>
              <a:avLst/>
              <a:gdLst/>
              <a:ahLst/>
              <a:cxnLst/>
              <a:rect l="l" t="t" r="r" b="b"/>
              <a:pathLst>
                <a:path w="1600200" h="139064">
                  <a:moveTo>
                    <a:pt x="1600078" y="0"/>
                  </a:moveTo>
                  <a:lnTo>
                    <a:pt x="0" y="0"/>
                  </a:lnTo>
                  <a:lnTo>
                    <a:pt x="0" y="67055"/>
                  </a:lnTo>
                  <a:lnTo>
                    <a:pt x="55905" y="93442"/>
                  </a:lnTo>
                  <a:lnTo>
                    <a:pt x="121767" y="105090"/>
                  </a:lnTo>
                  <a:lnTo>
                    <a:pt x="163003" y="110424"/>
                  </a:lnTo>
                  <a:lnTo>
                    <a:pt x="209328" y="115391"/>
                  </a:lnTo>
                  <a:lnTo>
                    <a:pt x="260409" y="119962"/>
                  </a:lnTo>
                  <a:lnTo>
                    <a:pt x="315910" y="124107"/>
                  </a:lnTo>
                  <a:lnTo>
                    <a:pt x="375496" y="127795"/>
                  </a:lnTo>
                  <a:lnTo>
                    <a:pt x="438832" y="130998"/>
                  </a:lnTo>
                  <a:lnTo>
                    <a:pt x="505583" y="133685"/>
                  </a:lnTo>
                  <a:lnTo>
                    <a:pt x="575414" y="135827"/>
                  </a:lnTo>
                  <a:lnTo>
                    <a:pt x="647990" y="137394"/>
                  </a:lnTo>
                  <a:lnTo>
                    <a:pt x="722977" y="138356"/>
                  </a:lnTo>
                  <a:lnTo>
                    <a:pt x="800039" y="138683"/>
                  </a:lnTo>
                  <a:lnTo>
                    <a:pt x="877100" y="138356"/>
                  </a:lnTo>
                  <a:lnTo>
                    <a:pt x="952087" y="137394"/>
                  </a:lnTo>
                  <a:lnTo>
                    <a:pt x="1024663" y="135827"/>
                  </a:lnTo>
                  <a:lnTo>
                    <a:pt x="1094494" y="133685"/>
                  </a:lnTo>
                  <a:lnTo>
                    <a:pt x="1161245" y="130998"/>
                  </a:lnTo>
                  <a:lnTo>
                    <a:pt x="1224581" y="127795"/>
                  </a:lnTo>
                  <a:lnTo>
                    <a:pt x="1284167" y="124107"/>
                  </a:lnTo>
                  <a:lnTo>
                    <a:pt x="1339668" y="119962"/>
                  </a:lnTo>
                  <a:lnTo>
                    <a:pt x="1390749" y="115391"/>
                  </a:lnTo>
                  <a:lnTo>
                    <a:pt x="1437074" y="110424"/>
                  </a:lnTo>
                  <a:lnTo>
                    <a:pt x="1478310" y="105090"/>
                  </a:lnTo>
                  <a:lnTo>
                    <a:pt x="1544172" y="93442"/>
                  </a:lnTo>
                  <a:lnTo>
                    <a:pt x="1585655" y="80684"/>
                  </a:lnTo>
                  <a:lnTo>
                    <a:pt x="1600078" y="67055"/>
                  </a:lnTo>
                  <a:lnTo>
                    <a:pt x="1600078" y="0"/>
                  </a:lnTo>
                  <a:close/>
                </a:path>
              </a:pathLst>
            </a:custGeom>
            <a:solidFill>
              <a:srgbClr val="BFBFB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" name="object 69"/>
            <p:cNvSpPr/>
            <p:nvPr/>
          </p:nvSpPr>
          <p:spPr>
            <a:xfrm>
              <a:off x="6138672" y="3892478"/>
              <a:ext cx="1610995" cy="143510"/>
            </a:xfrm>
            <a:custGeom>
              <a:avLst/>
              <a:gdLst/>
              <a:ahLst/>
              <a:cxnLst/>
              <a:rect l="l" t="t" r="r" b="b"/>
              <a:pathLst>
                <a:path w="1610995" h="143510">
                  <a:moveTo>
                    <a:pt x="966155" y="141731"/>
                  </a:moveTo>
                  <a:lnTo>
                    <a:pt x="644591" y="141731"/>
                  </a:lnTo>
                  <a:lnTo>
                    <a:pt x="684215" y="143255"/>
                  </a:lnTo>
                  <a:lnTo>
                    <a:pt x="928055" y="143255"/>
                  </a:lnTo>
                  <a:lnTo>
                    <a:pt x="966155" y="141731"/>
                  </a:lnTo>
                  <a:close/>
                </a:path>
                <a:path w="1610995" h="143510">
                  <a:moveTo>
                    <a:pt x="1080424" y="138683"/>
                  </a:moveTo>
                  <a:lnTo>
                    <a:pt x="530321" y="138683"/>
                  </a:lnTo>
                  <a:lnTo>
                    <a:pt x="604967" y="141731"/>
                  </a:lnTo>
                  <a:lnTo>
                    <a:pt x="1005748" y="141731"/>
                  </a:lnTo>
                  <a:lnTo>
                    <a:pt x="1080424" y="138683"/>
                  </a:lnTo>
                  <a:close/>
                </a:path>
                <a:path w="1610995" h="143510">
                  <a:moveTo>
                    <a:pt x="10668" y="0"/>
                  </a:moveTo>
                  <a:lnTo>
                    <a:pt x="0" y="0"/>
                  </a:lnTo>
                  <a:lnTo>
                    <a:pt x="0" y="67055"/>
                  </a:lnTo>
                  <a:lnTo>
                    <a:pt x="1524" y="68579"/>
                  </a:lnTo>
                  <a:lnTo>
                    <a:pt x="1524" y="73151"/>
                  </a:lnTo>
                  <a:lnTo>
                    <a:pt x="39624" y="92963"/>
                  </a:lnTo>
                  <a:lnTo>
                    <a:pt x="53340" y="96011"/>
                  </a:lnTo>
                  <a:lnTo>
                    <a:pt x="67056" y="100583"/>
                  </a:lnTo>
                  <a:lnTo>
                    <a:pt x="83820" y="103631"/>
                  </a:lnTo>
                  <a:lnTo>
                    <a:pt x="120396" y="109727"/>
                  </a:lnTo>
                  <a:lnTo>
                    <a:pt x="141732" y="112775"/>
                  </a:lnTo>
                  <a:lnTo>
                    <a:pt x="164592" y="114299"/>
                  </a:lnTo>
                  <a:lnTo>
                    <a:pt x="187452" y="117347"/>
                  </a:lnTo>
                  <a:lnTo>
                    <a:pt x="239268" y="123443"/>
                  </a:lnTo>
                  <a:lnTo>
                    <a:pt x="266700" y="124967"/>
                  </a:lnTo>
                  <a:lnTo>
                    <a:pt x="295625" y="128015"/>
                  </a:lnTo>
                  <a:lnTo>
                    <a:pt x="390113" y="132587"/>
                  </a:lnTo>
                  <a:lnTo>
                    <a:pt x="423641" y="135635"/>
                  </a:lnTo>
                  <a:lnTo>
                    <a:pt x="493745" y="138683"/>
                  </a:lnTo>
                  <a:lnTo>
                    <a:pt x="1117000" y="138683"/>
                  </a:lnTo>
                  <a:lnTo>
                    <a:pt x="1187104" y="135635"/>
                  </a:lnTo>
                  <a:lnTo>
                    <a:pt x="1203868" y="134111"/>
                  </a:lnTo>
                  <a:lnTo>
                    <a:pt x="723839" y="134111"/>
                  </a:lnTo>
                  <a:lnTo>
                    <a:pt x="684215" y="132587"/>
                  </a:lnTo>
                  <a:lnTo>
                    <a:pt x="644591" y="132587"/>
                  </a:lnTo>
                  <a:lnTo>
                    <a:pt x="604967" y="131063"/>
                  </a:lnTo>
                  <a:lnTo>
                    <a:pt x="568391" y="131063"/>
                  </a:lnTo>
                  <a:lnTo>
                    <a:pt x="327629" y="120395"/>
                  </a:lnTo>
                  <a:lnTo>
                    <a:pt x="297149" y="117347"/>
                  </a:lnTo>
                  <a:lnTo>
                    <a:pt x="268224" y="115823"/>
                  </a:lnTo>
                  <a:lnTo>
                    <a:pt x="240792" y="112775"/>
                  </a:lnTo>
                  <a:lnTo>
                    <a:pt x="213360" y="111251"/>
                  </a:lnTo>
                  <a:lnTo>
                    <a:pt x="164592" y="105155"/>
                  </a:lnTo>
                  <a:lnTo>
                    <a:pt x="143256" y="102107"/>
                  </a:lnTo>
                  <a:lnTo>
                    <a:pt x="121920" y="100583"/>
                  </a:lnTo>
                  <a:lnTo>
                    <a:pt x="102108" y="97535"/>
                  </a:lnTo>
                  <a:lnTo>
                    <a:pt x="85344" y="94487"/>
                  </a:lnTo>
                  <a:lnTo>
                    <a:pt x="68580" y="89915"/>
                  </a:lnTo>
                  <a:lnTo>
                    <a:pt x="54864" y="86867"/>
                  </a:lnTo>
                  <a:lnTo>
                    <a:pt x="16764" y="74675"/>
                  </a:lnTo>
                  <a:lnTo>
                    <a:pt x="12192" y="71627"/>
                  </a:lnTo>
                  <a:lnTo>
                    <a:pt x="13716" y="71627"/>
                  </a:lnTo>
                  <a:lnTo>
                    <a:pt x="12192" y="70103"/>
                  </a:lnTo>
                  <a:lnTo>
                    <a:pt x="10668" y="70103"/>
                  </a:lnTo>
                  <a:lnTo>
                    <a:pt x="10668" y="0"/>
                  </a:lnTo>
                  <a:close/>
                </a:path>
                <a:path w="1610995" h="143510">
                  <a:moveTo>
                    <a:pt x="1610746" y="68579"/>
                  </a:moveTo>
                  <a:lnTo>
                    <a:pt x="1601602" y="68579"/>
                  </a:lnTo>
                  <a:lnTo>
                    <a:pt x="1598554" y="71627"/>
                  </a:lnTo>
                  <a:lnTo>
                    <a:pt x="1593982" y="74675"/>
                  </a:lnTo>
                  <a:lnTo>
                    <a:pt x="1587886" y="77723"/>
                  </a:lnTo>
                  <a:lnTo>
                    <a:pt x="1578742" y="80771"/>
                  </a:lnTo>
                  <a:lnTo>
                    <a:pt x="1568074" y="83819"/>
                  </a:lnTo>
                  <a:lnTo>
                    <a:pt x="1555882" y="86867"/>
                  </a:lnTo>
                  <a:lnTo>
                    <a:pt x="1542166" y="91439"/>
                  </a:lnTo>
                  <a:lnTo>
                    <a:pt x="1508638" y="97535"/>
                  </a:lnTo>
                  <a:lnTo>
                    <a:pt x="1488826" y="100583"/>
                  </a:lnTo>
                  <a:lnTo>
                    <a:pt x="1469014" y="102107"/>
                  </a:lnTo>
                  <a:lnTo>
                    <a:pt x="1397386" y="111251"/>
                  </a:lnTo>
                  <a:lnTo>
                    <a:pt x="1371478" y="112775"/>
                  </a:lnTo>
                  <a:lnTo>
                    <a:pt x="1342522" y="115823"/>
                  </a:lnTo>
                  <a:lnTo>
                    <a:pt x="1313566" y="117347"/>
                  </a:lnTo>
                  <a:lnTo>
                    <a:pt x="1284610" y="120395"/>
                  </a:lnTo>
                  <a:lnTo>
                    <a:pt x="1043848" y="131063"/>
                  </a:lnTo>
                  <a:lnTo>
                    <a:pt x="1005748" y="131063"/>
                  </a:lnTo>
                  <a:lnTo>
                    <a:pt x="966155" y="132587"/>
                  </a:lnTo>
                  <a:lnTo>
                    <a:pt x="928055" y="132587"/>
                  </a:lnTo>
                  <a:lnTo>
                    <a:pt x="886907" y="134111"/>
                  </a:lnTo>
                  <a:lnTo>
                    <a:pt x="1203868" y="134111"/>
                  </a:lnTo>
                  <a:lnTo>
                    <a:pt x="1220632" y="132587"/>
                  </a:lnTo>
                  <a:lnTo>
                    <a:pt x="1315090" y="128015"/>
                  </a:lnTo>
                  <a:lnTo>
                    <a:pt x="1344046" y="124967"/>
                  </a:lnTo>
                  <a:lnTo>
                    <a:pt x="1371478" y="123443"/>
                  </a:lnTo>
                  <a:lnTo>
                    <a:pt x="1398910" y="120395"/>
                  </a:lnTo>
                  <a:lnTo>
                    <a:pt x="1447678" y="114299"/>
                  </a:lnTo>
                  <a:lnTo>
                    <a:pt x="1469014" y="112775"/>
                  </a:lnTo>
                  <a:lnTo>
                    <a:pt x="1490350" y="109727"/>
                  </a:lnTo>
                  <a:lnTo>
                    <a:pt x="1510162" y="106679"/>
                  </a:lnTo>
                  <a:lnTo>
                    <a:pt x="1543690" y="100583"/>
                  </a:lnTo>
                  <a:lnTo>
                    <a:pt x="1558930" y="96011"/>
                  </a:lnTo>
                  <a:lnTo>
                    <a:pt x="1571122" y="92963"/>
                  </a:lnTo>
                  <a:lnTo>
                    <a:pt x="1581790" y="89915"/>
                  </a:lnTo>
                  <a:lnTo>
                    <a:pt x="1590934" y="86867"/>
                  </a:lnTo>
                  <a:lnTo>
                    <a:pt x="1598554" y="82295"/>
                  </a:lnTo>
                  <a:lnTo>
                    <a:pt x="1604650" y="79247"/>
                  </a:lnTo>
                  <a:lnTo>
                    <a:pt x="1604650" y="77723"/>
                  </a:lnTo>
                  <a:lnTo>
                    <a:pt x="1609222" y="73151"/>
                  </a:lnTo>
                  <a:lnTo>
                    <a:pt x="1610746" y="68579"/>
                  </a:lnTo>
                  <a:close/>
                </a:path>
                <a:path w="1610995" h="143510">
                  <a:moveTo>
                    <a:pt x="10668" y="68579"/>
                  </a:moveTo>
                  <a:lnTo>
                    <a:pt x="10668" y="70103"/>
                  </a:lnTo>
                  <a:lnTo>
                    <a:pt x="12192" y="70103"/>
                  </a:lnTo>
                  <a:lnTo>
                    <a:pt x="10668" y="68579"/>
                  </a:lnTo>
                  <a:close/>
                </a:path>
                <a:path w="1610995" h="143510">
                  <a:moveTo>
                    <a:pt x="1610746" y="65531"/>
                  </a:moveTo>
                  <a:lnTo>
                    <a:pt x="1601602" y="65531"/>
                  </a:lnTo>
                  <a:lnTo>
                    <a:pt x="1600078" y="70103"/>
                  </a:lnTo>
                  <a:lnTo>
                    <a:pt x="1601602" y="68579"/>
                  </a:lnTo>
                  <a:lnTo>
                    <a:pt x="1610746" y="68579"/>
                  </a:lnTo>
                  <a:lnTo>
                    <a:pt x="1610746" y="65531"/>
                  </a:lnTo>
                  <a:close/>
                </a:path>
                <a:path w="1610995" h="143510">
                  <a:moveTo>
                    <a:pt x="1610746" y="0"/>
                  </a:moveTo>
                  <a:lnTo>
                    <a:pt x="1600078" y="0"/>
                  </a:lnTo>
                  <a:lnTo>
                    <a:pt x="1600078" y="67055"/>
                  </a:lnTo>
                  <a:lnTo>
                    <a:pt x="1601602" y="65531"/>
                  </a:lnTo>
                  <a:lnTo>
                    <a:pt x="1610746" y="65531"/>
                  </a:lnTo>
                  <a:lnTo>
                    <a:pt x="1610746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0" name="object 70"/>
            <p:cNvSpPr/>
            <p:nvPr/>
          </p:nvSpPr>
          <p:spPr>
            <a:xfrm>
              <a:off x="4226204" y="3892486"/>
              <a:ext cx="762000" cy="24765"/>
            </a:xfrm>
            <a:custGeom>
              <a:avLst/>
              <a:gdLst/>
              <a:ahLst/>
              <a:cxnLst/>
              <a:rect l="l" t="t" r="r" b="b"/>
              <a:pathLst>
                <a:path w="762000" h="24764">
                  <a:moveTo>
                    <a:pt x="761923" y="0"/>
                  </a:moveTo>
                  <a:lnTo>
                    <a:pt x="0" y="0"/>
                  </a:lnTo>
                  <a:lnTo>
                    <a:pt x="0" y="24384"/>
                  </a:lnTo>
                  <a:lnTo>
                    <a:pt x="761923" y="24384"/>
                  </a:lnTo>
                  <a:lnTo>
                    <a:pt x="761923" y="0"/>
                  </a:lnTo>
                  <a:close/>
                </a:path>
              </a:pathLst>
            </a:custGeom>
            <a:solidFill>
              <a:srgbClr val="FFCC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" name="object 71"/>
            <p:cNvSpPr/>
            <p:nvPr/>
          </p:nvSpPr>
          <p:spPr>
            <a:xfrm>
              <a:off x="3173211" y="3892478"/>
              <a:ext cx="303530" cy="23495"/>
            </a:xfrm>
            <a:custGeom>
              <a:avLst/>
              <a:gdLst/>
              <a:ahLst/>
              <a:cxnLst/>
              <a:rect l="l" t="t" r="r" b="b"/>
              <a:pathLst>
                <a:path w="303529" h="23495">
                  <a:moveTo>
                    <a:pt x="0" y="0"/>
                  </a:moveTo>
                  <a:lnTo>
                    <a:pt x="1" y="1523"/>
                  </a:lnTo>
                  <a:lnTo>
                    <a:pt x="57751" y="13459"/>
                  </a:lnTo>
                  <a:lnTo>
                    <a:pt x="108783" y="20500"/>
                  </a:lnTo>
                  <a:lnTo>
                    <a:pt x="128015" y="21654"/>
                  </a:lnTo>
                  <a:lnTo>
                    <a:pt x="128015" y="21335"/>
                  </a:lnTo>
                  <a:lnTo>
                    <a:pt x="108203" y="19811"/>
                  </a:lnTo>
                  <a:lnTo>
                    <a:pt x="96011" y="18287"/>
                  </a:lnTo>
                  <a:lnTo>
                    <a:pt x="82295" y="16763"/>
                  </a:lnTo>
                  <a:lnTo>
                    <a:pt x="45719" y="10667"/>
                  </a:lnTo>
                  <a:lnTo>
                    <a:pt x="22859" y="6095"/>
                  </a:lnTo>
                  <a:lnTo>
                    <a:pt x="16763" y="4571"/>
                  </a:lnTo>
                  <a:lnTo>
                    <a:pt x="9143" y="3047"/>
                  </a:lnTo>
                  <a:lnTo>
                    <a:pt x="3047" y="1523"/>
                  </a:lnTo>
                  <a:lnTo>
                    <a:pt x="0" y="0"/>
                  </a:lnTo>
                  <a:close/>
                </a:path>
                <a:path w="303529" h="23495">
                  <a:moveTo>
                    <a:pt x="303303" y="0"/>
                  </a:moveTo>
                  <a:lnTo>
                    <a:pt x="300197" y="0"/>
                  </a:lnTo>
                  <a:lnTo>
                    <a:pt x="291053" y="3047"/>
                  </a:lnTo>
                  <a:lnTo>
                    <a:pt x="284957" y="4571"/>
                  </a:lnTo>
                  <a:lnTo>
                    <a:pt x="280385" y="6095"/>
                  </a:lnTo>
                  <a:lnTo>
                    <a:pt x="274289" y="7619"/>
                  </a:lnTo>
                  <a:lnTo>
                    <a:pt x="269717" y="9143"/>
                  </a:lnTo>
                  <a:lnTo>
                    <a:pt x="263621" y="10667"/>
                  </a:lnTo>
                  <a:lnTo>
                    <a:pt x="256001" y="12191"/>
                  </a:lnTo>
                  <a:lnTo>
                    <a:pt x="249905" y="13715"/>
                  </a:lnTo>
                  <a:lnTo>
                    <a:pt x="211835" y="19811"/>
                  </a:lnTo>
                  <a:lnTo>
                    <a:pt x="142598" y="22528"/>
                  </a:lnTo>
                  <a:lnTo>
                    <a:pt x="154056" y="23215"/>
                  </a:lnTo>
                  <a:lnTo>
                    <a:pt x="194530" y="22173"/>
                  </a:lnTo>
                  <a:lnTo>
                    <a:pt x="231165" y="17944"/>
                  </a:lnTo>
                  <a:lnTo>
                    <a:pt x="264920" y="11097"/>
                  </a:lnTo>
                  <a:lnTo>
                    <a:pt x="296756" y="2200"/>
                  </a:lnTo>
                  <a:lnTo>
                    <a:pt x="303303" y="0"/>
                  </a:lnTo>
                  <a:close/>
                </a:path>
              </a:pathLst>
            </a:custGeom>
            <a:solidFill>
              <a:srgbClr val="FFFF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2" name="object 72"/>
            <p:cNvSpPr/>
            <p:nvPr/>
          </p:nvSpPr>
          <p:spPr>
            <a:xfrm>
              <a:off x="3167113" y="3892486"/>
              <a:ext cx="325120" cy="27940"/>
            </a:xfrm>
            <a:custGeom>
              <a:avLst/>
              <a:gdLst/>
              <a:ahLst/>
              <a:cxnLst/>
              <a:rect l="l" t="t" r="r" b="b"/>
              <a:pathLst>
                <a:path w="325120" h="27939">
                  <a:moveTo>
                    <a:pt x="324573" y="0"/>
                  </a:moveTo>
                  <a:lnTo>
                    <a:pt x="306285" y="0"/>
                  </a:lnTo>
                  <a:lnTo>
                    <a:pt x="291045" y="0"/>
                  </a:lnTo>
                  <a:lnTo>
                    <a:pt x="269709" y="6096"/>
                  </a:lnTo>
                  <a:lnTo>
                    <a:pt x="252945" y="10668"/>
                  </a:lnTo>
                  <a:lnTo>
                    <a:pt x="236220" y="13716"/>
                  </a:lnTo>
                  <a:lnTo>
                    <a:pt x="179832" y="18288"/>
                  </a:lnTo>
                  <a:lnTo>
                    <a:pt x="138684" y="18288"/>
                  </a:lnTo>
                  <a:lnTo>
                    <a:pt x="64008" y="9144"/>
                  </a:lnTo>
                  <a:lnTo>
                    <a:pt x="36576" y="3048"/>
                  </a:lnTo>
                  <a:lnTo>
                    <a:pt x="28956" y="1524"/>
                  </a:lnTo>
                  <a:lnTo>
                    <a:pt x="21336" y="0"/>
                  </a:lnTo>
                  <a:lnTo>
                    <a:pt x="10668" y="0"/>
                  </a:lnTo>
                  <a:lnTo>
                    <a:pt x="9144" y="0"/>
                  </a:lnTo>
                  <a:lnTo>
                    <a:pt x="6096" y="0"/>
                  </a:lnTo>
                  <a:lnTo>
                    <a:pt x="0" y="0"/>
                  </a:lnTo>
                  <a:lnTo>
                    <a:pt x="0" y="4572"/>
                  </a:lnTo>
                  <a:lnTo>
                    <a:pt x="62484" y="18288"/>
                  </a:lnTo>
                  <a:lnTo>
                    <a:pt x="88392" y="22860"/>
                  </a:lnTo>
                  <a:lnTo>
                    <a:pt x="114300" y="25908"/>
                  </a:lnTo>
                  <a:lnTo>
                    <a:pt x="137160" y="27432"/>
                  </a:lnTo>
                  <a:lnTo>
                    <a:pt x="201168" y="27432"/>
                  </a:lnTo>
                  <a:lnTo>
                    <a:pt x="219456" y="25908"/>
                  </a:lnTo>
                  <a:lnTo>
                    <a:pt x="237744" y="22860"/>
                  </a:lnTo>
                  <a:lnTo>
                    <a:pt x="254469" y="19812"/>
                  </a:lnTo>
                  <a:lnTo>
                    <a:pt x="260057" y="18288"/>
                  </a:lnTo>
                  <a:lnTo>
                    <a:pt x="271233" y="15240"/>
                  </a:lnTo>
                  <a:lnTo>
                    <a:pt x="324573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3" name="object 73"/>
          <p:cNvSpPr txBox="1"/>
          <p:nvPr/>
        </p:nvSpPr>
        <p:spPr>
          <a:xfrm>
            <a:off x="1304443" y="4396390"/>
            <a:ext cx="7294245" cy="1342390"/>
          </a:xfrm>
          <a:prstGeom prst="rect">
            <a:avLst/>
          </a:prstGeom>
        </p:spPr>
        <p:txBody>
          <a:bodyPr vert="horz" wrap="square" lIns="0" tIns="67310" rIns="0" bIns="0" rtlCol="0">
            <a:spAutoFit/>
          </a:bodyPr>
          <a:lstStyle/>
          <a:p>
            <a:pPr marL="126364" indent="-114300">
              <a:lnSpc>
                <a:spcPct val="100000"/>
              </a:lnSpc>
              <a:spcBef>
                <a:spcPts val="530"/>
              </a:spcBef>
              <a:buClr>
                <a:srgbClr val="4D84C4"/>
              </a:buClr>
              <a:buChar char="•"/>
              <a:tabLst>
                <a:tab pos="127000" algn="l"/>
              </a:tabLst>
            </a:pPr>
            <a:r>
              <a:rPr sz="1800" spc="-15" dirty="0">
                <a:latin typeface="Liberation Sans Narrow"/>
                <a:cs typeface="Liberation Sans Narrow"/>
              </a:rPr>
              <a:t>Time </a:t>
            </a:r>
            <a:r>
              <a:rPr sz="1800" spc="-5" dirty="0">
                <a:latin typeface="Liberation Sans Narrow"/>
                <a:cs typeface="Liberation Sans Narrow"/>
              </a:rPr>
              <a:t>recording terminals will capture the time data and record it on </a:t>
            </a:r>
            <a:r>
              <a:rPr sz="1800" dirty="0">
                <a:latin typeface="Liberation Sans Narrow"/>
                <a:cs typeface="Liberation Sans Narrow"/>
              </a:rPr>
              <a:t>clock</a:t>
            </a:r>
            <a:r>
              <a:rPr sz="1800" spc="235" dirty="0">
                <a:latin typeface="Liberation Sans Narrow"/>
                <a:cs typeface="Liberation Sans Narrow"/>
              </a:rPr>
              <a:t> </a:t>
            </a:r>
            <a:r>
              <a:rPr sz="1800" dirty="0">
                <a:latin typeface="Liberation Sans Narrow"/>
                <a:cs typeface="Liberation Sans Narrow"/>
              </a:rPr>
              <a:t>server</a:t>
            </a:r>
          </a:p>
          <a:p>
            <a:pPr marL="126364" indent="-114300">
              <a:lnSpc>
                <a:spcPct val="100000"/>
              </a:lnSpc>
              <a:spcBef>
                <a:spcPts val="430"/>
              </a:spcBef>
              <a:buClr>
                <a:srgbClr val="4D84C4"/>
              </a:buClr>
              <a:buChar char="•"/>
              <a:tabLst>
                <a:tab pos="127000" algn="l"/>
              </a:tabLst>
            </a:pPr>
            <a:r>
              <a:rPr sz="1800" spc="-15" dirty="0">
                <a:latin typeface="Liberation Sans Narrow"/>
                <a:cs typeface="Liberation Sans Narrow"/>
              </a:rPr>
              <a:t>Time </a:t>
            </a:r>
            <a:r>
              <a:rPr sz="1800" spc="-5" dirty="0">
                <a:latin typeface="Liberation Sans Narrow"/>
                <a:cs typeface="Liberation Sans Narrow"/>
              </a:rPr>
              <a:t>data input file will be generated from </a:t>
            </a:r>
            <a:r>
              <a:rPr sz="1800" dirty="0">
                <a:latin typeface="Liberation Sans Narrow"/>
                <a:cs typeface="Liberation Sans Narrow"/>
              </a:rPr>
              <a:t>clock servers </a:t>
            </a:r>
            <a:r>
              <a:rPr sz="1800" spc="-5" dirty="0">
                <a:latin typeface="Liberation Sans Narrow"/>
                <a:cs typeface="Liberation Sans Narrow"/>
              </a:rPr>
              <a:t>and placed on the FTP</a:t>
            </a:r>
            <a:r>
              <a:rPr sz="1800" spc="235" dirty="0">
                <a:latin typeface="Liberation Sans Narrow"/>
                <a:cs typeface="Liberation Sans Narrow"/>
              </a:rPr>
              <a:t> </a:t>
            </a:r>
            <a:r>
              <a:rPr sz="1800" dirty="0">
                <a:latin typeface="Liberation Sans Narrow"/>
                <a:cs typeface="Liberation Sans Narrow"/>
              </a:rPr>
              <a:t>server</a:t>
            </a:r>
          </a:p>
          <a:p>
            <a:pPr marL="126364" indent="-114300">
              <a:lnSpc>
                <a:spcPct val="100000"/>
              </a:lnSpc>
              <a:spcBef>
                <a:spcPts val="434"/>
              </a:spcBef>
              <a:buClr>
                <a:srgbClr val="4D84C4"/>
              </a:buClr>
              <a:buChar char="•"/>
              <a:tabLst>
                <a:tab pos="127000" algn="l"/>
              </a:tabLst>
            </a:pPr>
            <a:r>
              <a:rPr sz="1800" spc="-15" dirty="0">
                <a:latin typeface="Liberation Sans Narrow"/>
                <a:cs typeface="Liberation Sans Narrow"/>
              </a:rPr>
              <a:t>Time </a:t>
            </a:r>
            <a:r>
              <a:rPr sz="1800" spc="-5" dirty="0">
                <a:latin typeface="Liberation Sans Narrow"/>
                <a:cs typeface="Liberation Sans Narrow"/>
              </a:rPr>
              <a:t>Data will be loaded to SAP using SAP PI/LSMW/BDC for time</a:t>
            </a:r>
            <a:r>
              <a:rPr sz="1800" spc="150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evaluation</a:t>
            </a:r>
            <a:endParaRPr sz="1800" dirty="0">
              <a:latin typeface="Liberation Sans Narrow"/>
              <a:cs typeface="Liberation Sans Narrow"/>
            </a:endParaRPr>
          </a:p>
          <a:p>
            <a:pPr marL="126364" indent="-114300">
              <a:lnSpc>
                <a:spcPct val="100000"/>
              </a:lnSpc>
              <a:spcBef>
                <a:spcPts val="430"/>
              </a:spcBef>
              <a:buClr>
                <a:srgbClr val="4D84C4"/>
              </a:buClr>
              <a:buChar char="•"/>
              <a:tabLst>
                <a:tab pos="127000" algn="l"/>
              </a:tabLst>
            </a:pPr>
            <a:r>
              <a:rPr sz="1800" spc="-5" dirty="0">
                <a:latin typeface="Liberation Sans Narrow"/>
                <a:cs typeface="Liberation Sans Narrow"/>
              </a:rPr>
              <a:t>SAP payroll engine will </a:t>
            </a:r>
            <a:r>
              <a:rPr sz="1800" dirty="0">
                <a:latin typeface="Liberation Sans Narrow"/>
                <a:cs typeface="Liberation Sans Narrow"/>
              </a:rPr>
              <a:t>use </a:t>
            </a:r>
            <a:r>
              <a:rPr sz="1800" spc="-5" dirty="0">
                <a:latin typeface="Liberation Sans Narrow"/>
                <a:cs typeface="Liberation Sans Narrow"/>
              </a:rPr>
              <a:t>SAP time data to generate pay</a:t>
            </a:r>
            <a:r>
              <a:rPr sz="1800" spc="145" dirty="0">
                <a:latin typeface="Liberation Sans Narrow"/>
                <a:cs typeface="Liberation Sans Narrow"/>
              </a:rPr>
              <a:t> </a:t>
            </a:r>
            <a:r>
              <a:rPr sz="1800" dirty="0">
                <a:latin typeface="Liberation Sans Narrow"/>
                <a:cs typeface="Liberation Sans Narrow"/>
              </a:rPr>
              <a:t>checks</a:t>
            </a:r>
          </a:p>
        </p:txBody>
      </p:sp>
      <p:grpSp>
        <p:nvGrpSpPr>
          <p:cNvPr id="74" name="object 74"/>
          <p:cNvGrpSpPr/>
          <p:nvPr/>
        </p:nvGrpSpPr>
        <p:grpSpPr>
          <a:xfrm>
            <a:off x="6243828" y="3892479"/>
            <a:ext cx="1381125" cy="93345"/>
            <a:chOff x="6243828" y="3892479"/>
            <a:chExt cx="1381125" cy="93345"/>
          </a:xfrm>
        </p:grpSpPr>
        <p:sp>
          <p:nvSpPr>
            <p:cNvPr id="75" name="object 75"/>
            <p:cNvSpPr/>
            <p:nvPr/>
          </p:nvSpPr>
          <p:spPr>
            <a:xfrm>
              <a:off x="6248399" y="3892479"/>
              <a:ext cx="571500" cy="88900"/>
            </a:xfrm>
            <a:custGeom>
              <a:avLst/>
              <a:gdLst/>
              <a:ahLst/>
              <a:cxnLst/>
              <a:rect l="l" t="t" r="r" b="b"/>
              <a:pathLst>
                <a:path w="571500" h="88900">
                  <a:moveTo>
                    <a:pt x="571439" y="0"/>
                  </a:moveTo>
                  <a:lnTo>
                    <a:pt x="0" y="0"/>
                  </a:lnTo>
                  <a:lnTo>
                    <a:pt x="0" y="36575"/>
                  </a:lnTo>
                  <a:lnTo>
                    <a:pt x="39058" y="62878"/>
                  </a:lnTo>
                  <a:lnTo>
                    <a:pt x="83816" y="73342"/>
                  </a:lnTo>
                  <a:lnTo>
                    <a:pt x="141779" y="81392"/>
                  </a:lnTo>
                  <a:lnTo>
                    <a:pt x="210237" y="86564"/>
                  </a:lnTo>
                  <a:lnTo>
                    <a:pt x="286481" y="88391"/>
                  </a:lnTo>
                  <a:lnTo>
                    <a:pt x="362093" y="86564"/>
                  </a:lnTo>
                  <a:lnTo>
                    <a:pt x="430124" y="81392"/>
                  </a:lnTo>
                  <a:lnTo>
                    <a:pt x="487824" y="73342"/>
                  </a:lnTo>
                  <a:lnTo>
                    <a:pt x="532443" y="62878"/>
                  </a:lnTo>
                  <a:lnTo>
                    <a:pt x="571439" y="36575"/>
                  </a:lnTo>
                  <a:lnTo>
                    <a:pt x="571439" y="0"/>
                  </a:lnTo>
                  <a:close/>
                </a:path>
              </a:pathLst>
            </a:custGeom>
            <a:solidFill>
              <a:srgbClr val="BAE0E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" name="object 76"/>
            <p:cNvSpPr/>
            <p:nvPr/>
          </p:nvSpPr>
          <p:spPr>
            <a:xfrm>
              <a:off x="6243828" y="3892479"/>
              <a:ext cx="581025" cy="93345"/>
            </a:xfrm>
            <a:custGeom>
              <a:avLst/>
              <a:gdLst/>
              <a:ahLst/>
              <a:cxnLst/>
              <a:rect l="l" t="t" r="r" b="b"/>
              <a:pathLst>
                <a:path w="581025" h="93345">
                  <a:moveTo>
                    <a:pt x="9144" y="0"/>
                  </a:moveTo>
                  <a:lnTo>
                    <a:pt x="0" y="0"/>
                  </a:lnTo>
                  <a:lnTo>
                    <a:pt x="0" y="38099"/>
                  </a:lnTo>
                  <a:lnTo>
                    <a:pt x="1524" y="41147"/>
                  </a:lnTo>
                  <a:lnTo>
                    <a:pt x="1524" y="44195"/>
                  </a:lnTo>
                  <a:lnTo>
                    <a:pt x="3048" y="45719"/>
                  </a:lnTo>
                  <a:lnTo>
                    <a:pt x="4572" y="48767"/>
                  </a:lnTo>
                  <a:lnTo>
                    <a:pt x="7620" y="51815"/>
                  </a:lnTo>
                  <a:lnTo>
                    <a:pt x="12192" y="53339"/>
                  </a:lnTo>
                  <a:lnTo>
                    <a:pt x="15240" y="56387"/>
                  </a:lnTo>
                  <a:lnTo>
                    <a:pt x="19812" y="59435"/>
                  </a:lnTo>
                  <a:lnTo>
                    <a:pt x="25908" y="60959"/>
                  </a:lnTo>
                  <a:lnTo>
                    <a:pt x="32004" y="64007"/>
                  </a:lnTo>
                  <a:lnTo>
                    <a:pt x="38100" y="65531"/>
                  </a:lnTo>
                  <a:lnTo>
                    <a:pt x="88392" y="77723"/>
                  </a:lnTo>
                  <a:lnTo>
                    <a:pt x="153924" y="86867"/>
                  </a:lnTo>
                  <a:lnTo>
                    <a:pt x="262097" y="92963"/>
                  </a:lnTo>
                  <a:lnTo>
                    <a:pt x="320009" y="92963"/>
                  </a:lnTo>
                  <a:lnTo>
                    <a:pt x="428213" y="86867"/>
                  </a:lnTo>
                  <a:lnTo>
                    <a:pt x="451058" y="83819"/>
                  </a:lnTo>
                  <a:lnTo>
                    <a:pt x="291053" y="83819"/>
                  </a:lnTo>
                  <a:lnTo>
                    <a:pt x="262097" y="82295"/>
                  </a:lnTo>
                  <a:lnTo>
                    <a:pt x="233141" y="82295"/>
                  </a:lnTo>
                  <a:lnTo>
                    <a:pt x="155448" y="77723"/>
                  </a:lnTo>
                  <a:lnTo>
                    <a:pt x="109728" y="71627"/>
                  </a:lnTo>
                  <a:lnTo>
                    <a:pt x="71628" y="65531"/>
                  </a:lnTo>
                  <a:lnTo>
                    <a:pt x="41148" y="56387"/>
                  </a:lnTo>
                  <a:lnTo>
                    <a:pt x="35052" y="54863"/>
                  </a:lnTo>
                  <a:lnTo>
                    <a:pt x="28956" y="51815"/>
                  </a:lnTo>
                  <a:lnTo>
                    <a:pt x="19812" y="48767"/>
                  </a:lnTo>
                  <a:lnTo>
                    <a:pt x="16764" y="45719"/>
                  </a:lnTo>
                  <a:lnTo>
                    <a:pt x="13716" y="44195"/>
                  </a:lnTo>
                  <a:lnTo>
                    <a:pt x="12192" y="41147"/>
                  </a:lnTo>
                  <a:lnTo>
                    <a:pt x="10668" y="41147"/>
                  </a:lnTo>
                  <a:lnTo>
                    <a:pt x="10668" y="39623"/>
                  </a:lnTo>
                  <a:lnTo>
                    <a:pt x="9144" y="36575"/>
                  </a:lnTo>
                  <a:lnTo>
                    <a:pt x="9144" y="0"/>
                  </a:lnTo>
                  <a:close/>
                </a:path>
                <a:path w="581025" h="93345">
                  <a:moveTo>
                    <a:pt x="571439" y="39623"/>
                  </a:moveTo>
                  <a:lnTo>
                    <a:pt x="569915" y="42671"/>
                  </a:lnTo>
                  <a:lnTo>
                    <a:pt x="566867" y="44195"/>
                  </a:lnTo>
                  <a:lnTo>
                    <a:pt x="565343" y="45719"/>
                  </a:lnTo>
                  <a:lnTo>
                    <a:pt x="560771" y="48767"/>
                  </a:lnTo>
                  <a:lnTo>
                    <a:pt x="551627" y="53339"/>
                  </a:lnTo>
                  <a:lnTo>
                    <a:pt x="547055" y="54863"/>
                  </a:lnTo>
                  <a:lnTo>
                    <a:pt x="540959" y="56387"/>
                  </a:lnTo>
                  <a:lnTo>
                    <a:pt x="510479" y="65531"/>
                  </a:lnTo>
                  <a:lnTo>
                    <a:pt x="492191" y="68579"/>
                  </a:lnTo>
                  <a:lnTo>
                    <a:pt x="472379" y="71627"/>
                  </a:lnTo>
                  <a:lnTo>
                    <a:pt x="426689" y="77723"/>
                  </a:lnTo>
                  <a:lnTo>
                    <a:pt x="347441" y="82295"/>
                  </a:lnTo>
                  <a:lnTo>
                    <a:pt x="320009" y="82295"/>
                  </a:lnTo>
                  <a:lnTo>
                    <a:pt x="291053" y="83819"/>
                  </a:lnTo>
                  <a:lnTo>
                    <a:pt x="451058" y="83819"/>
                  </a:lnTo>
                  <a:lnTo>
                    <a:pt x="473903" y="80771"/>
                  </a:lnTo>
                  <a:lnTo>
                    <a:pt x="493715" y="77723"/>
                  </a:lnTo>
                  <a:lnTo>
                    <a:pt x="512003" y="74675"/>
                  </a:lnTo>
                  <a:lnTo>
                    <a:pt x="528767" y="70103"/>
                  </a:lnTo>
                  <a:lnTo>
                    <a:pt x="544007" y="65531"/>
                  </a:lnTo>
                  <a:lnTo>
                    <a:pt x="550103" y="64007"/>
                  </a:lnTo>
                  <a:lnTo>
                    <a:pt x="556199" y="60959"/>
                  </a:lnTo>
                  <a:lnTo>
                    <a:pt x="560771" y="59435"/>
                  </a:lnTo>
                  <a:lnTo>
                    <a:pt x="566867" y="56387"/>
                  </a:lnTo>
                  <a:lnTo>
                    <a:pt x="569915" y="53339"/>
                  </a:lnTo>
                  <a:lnTo>
                    <a:pt x="574487" y="50291"/>
                  </a:lnTo>
                  <a:lnTo>
                    <a:pt x="579059" y="45719"/>
                  </a:lnTo>
                  <a:lnTo>
                    <a:pt x="579059" y="44195"/>
                  </a:lnTo>
                  <a:lnTo>
                    <a:pt x="580583" y="41147"/>
                  </a:lnTo>
                  <a:lnTo>
                    <a:pt x="571439" y="41147"/>
                  </a:lnTo>
                  <a:lnTo>
                    <a:pt x="571439" y="39623"/>
                  </a:lnTo>
                  <a:close/>
                </a:path>
                <a:path w="581025" h="93345">
                  <a:moveTo>
                    <a:pt x="10668" y="39623"/>
                  </a:moveTo>
                  <a:lnTo>
                    <a:pt x="10668" y="41147"/>
                  </a:lnTo>
                  <a:lnTo>
                    <a:pt x="12192" y="41147"/>
                  </a:lnTo>
                  <a:lnTo>
                    <a:pt x="10668" y="39623"/>
                  </a:lnTo>
                  <a:close/>
                </a:path>
                <a:path w="581025" h="93345">
                  <a:moveTo>
                    <a:pt x="580583" y="0"/>
                  </a:moveTo>
                  <a:lnTo>
                    <a:pt x="571439" y="0"/>
                  </a:lnTo>
                  <a:lnTo>
                    <a:pt x="571439" y="41147"/>
                  </a:lnTo>
                  <a:lnTo>
                    <a:pt x="580583" y="41147"/>
                  </a:lnTo>
                  <a:lnTo>
                    <a:pt x="580583" y="0"/>
                  </a:lnTo>
                  <a:close/>
                </a:path>
              </a:pathLst>
            </a:custGeom>
            <a:solidFill>
              <a:srgbClr val="CCFFC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" name="object 77"/>
            <p:cNvSpPr/>
            <p:nvPr/>
          </p:nvSpPr>
          <p:spPr>
            <a:xfrm>
              <a:off x="7048438" y="3892479"/>
              <a:ext cx="571500" cy="74930"/>
            </a:xfrm>
            <a:custGeom>
              <a:avLst/>
              <a:gdLst/>
              <a:ahLst/>
              <a:cxnLst/>
              <a:rect l="l" t="t" r="r" b="b"/>
              <a:pathLst>
                <a:path w="571500" h="74929">
                  <a:moveTo>
                    <a:pt x="571439" y="0"/>
                  </a:moveTo>
                  <a:lnTo>
                    <a:pt x="0" y="0"/>
                  </a:lnTo>
                  <a:lnTo>
                    <a:pt x="0" y="24383"/>
                  </a:lnTo>
                  <a:lnTo>
                    <a:pt x="39051" y="49614"/>
                  </a:lnTo>
                  <a:lnTo>
                    <a:pt x="83804" y="59816"/>
                  </a:lnTo>
                  <a:lnTo>
                    <a:pt x="141765" y="67733"/>
                  </a:lnTo>
                  <a:lnTo>
                    <a:pt x="210227" y="72855"/>
                  </a:lnTo>
                  <a:lnTo>
                    <a:pt x="286481" y="74675"/>
                  </a:lnTo>
                  <a:lnTo>
                    <a:pt x="362083" y="72855"/>
                  </a:lnTo>
                  <a:lnTo>
                    <a:pt x="430111" y="67733"/>
                  </a:lnTo>
                  <a:lnTo>
                    <a:pt x="487813" y="59816"/>
                  </a:lnTo>
                  <a:lnTo>
                    <a:pt x="532437" y="49614"/>
                  </a:lnTo>
                  <a:lnTo>
                    <a:pt x="571439" y="24383"/>
                  </a:lnTo>
                  <a:lnTo>
                    <a:pt x="571439" y="0"/>
                  </a:lnTo>
                  <a:close/>
                </a:path>
              </a:pathLst>
            </a:custGeom>
            <a:solidFill>
              <a:srgbClr val="98CC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" name="object 78"/>
            <p:cNvSpPr/>
            <p:nvPr/>
          </p:nvSpPr>
          <p:spPr>
            <a:xfrm>
              <a:off x="7043867" y="3892479"/>
              <a:ext cx="581025" cy="81280"/>
            </a:xfrm>
            <a:custGeom>
              <a:avLst/>
              <a:gdLst/>
              <a:ahLst/>
              <a:cxnLst/>
              <a:rect l="l" t="t" r="r" b="b"/>
              <a:pathLst>
                <a:path w="581025" h="81279">
                  <a:moveTo>
                    <a:pt x="320009" y="79247"/>
                  </a:moveTo>
                  <a:lnTo>
                    <a:pt x="262097" y="79247"/>
                  </a:lnTo>
                  <a:lnTo>
                    <a:pt x="291053" y="80771"/>
                  </a:lnTo>
                  <a:lnTo>
                    <a:pt x="320009" y="79247"/>
                  </a:lnTo>
                  <a:close/>
                </a:path>
                <a:path w="581025" h="81279">
                  <a:moveTo>
                    <a:pt x="9144" y="0"/>
                  </a:moveTo>
                  <a:lnTo>
                    <a:pt x="0" y="0"/>
                  </a:lnTo>
                  <a:lnTo>
                    <a:pt x="0" y="24383"/>
                  </a:lnTo>
                  <a:lnTo>
                    <a:pt x="1524" y="27431"/>
                  </a:lnTo>
                  <a:lnTo>
                    <a:pt x="1524" y="32003"/>
                  </a:lnTo>
                  <a:lnTo>
                    <a:pt x="3048" y="32003"/>
                  </a:lnTo>
                  <a:lnTo>
                    <a:pt x="4572" y="35051"/>
                  </a:lnTo>
                  <a:lnTo>
                    <a:pt x="7620" y="38099"/>
                  </a:lnTo>
                  <a:lnTo>
                    <a:pt x="12192" y="41147"/>
                  </a:lnTo>
                  <a:lnTo>
                    <a:pt x="15240" y="44195"/>
                  </a:lnTo>
                  <a:lnTo>
                    <a:pt x="19812" y="45719"/>
                  </a:lnTo>
                  <a:lnTo>
                    <a:pt x="25908" y="48767"/>
                  </a:lnTo>
                  <a:lnTo>
                    <a:pt x="32004" y="50291"/>
                  </a:lnTo>
                  <a:lnTo>
                    <a:pt x="38100" y="53339"/>
                  </a:lnTo>
                  <a:lnTo>
                    <a:pt x="53340" y="57911"/>
                  </a:lnTo>
                  <a:lnTo>
                    <a:pt x="70104" y="60959"/>
                  </a:lnTo>
                  <a:lnTo>
                    <a:pt x="88361" y="65531"/>
                  </a:lnTo>
                  <a:lnTo>
                    <a:pt x="108173" y="68579"/>
                  </a:lnTo>
                  <a:lnTo>
                    <a:pt x="153893" y="74675"/>
                  </a:lnTo>
                  <a:lnTo>
                    <a:pt x="233141" y="79247"/>
                  </a:lnTo>
                  <a:lnTo>
                    <a:pt x="348965" y="79247"/>
                  </a:lnTo>
                  <a:lnTo>
                    <a:pt x="428183" y="74675"/>
                  </a:lnTo>
                  <a:lnTo>
                    <a:pt x="462473" y="70103"/>
                  </a:lnTo>
                  <a:lnTo>
                    <a:pt x="233141" y="70103"/>
                  </a:lnTo>
                  <a:lnTo>
                    <a:pt x="179801" y="67055"/>
                  </a:lnTo>
                  <a:lnTo>
                    <a:pt x="155417" y="64007"/>
                  </a:lnTo>
                  <a:lnTo>
                    <a:pt x="131033" y="62483"/>
                  </a:lnTo>
                  <a:lnTo>
                    <a:pt x="109697" y="59435"/>
                  </a:lnTo>
                  <a:lnTo>
                    <a:pt x="89885" y="56387"/>
                  </a:lnTo>
                  <a:lnTo>
                    <a:pt x="71628" y="51815"/>
                  </a:lnTo>
                  <a:lnTo>
                    <a:pt x="54864" y="48767"/>
                  </a:lnTo>
                  <a:lnTo>
                    <a:pt x="41148" y="44195"/>
                  </a:lnTo>
                  <a:lnTo>
                    <a:pt x="35052" y="42671"/>
                  </a:lnTo>
                  <a:lnTo>
                    <a:pt x="28956" y="39623"/>
                  </a:lnTo>
                  <a:lnTo>
                    <a:pt x="24384" y="38099"/>
                  </a:lnTo>
                  <a:lnTo>
                    <a:pt x="19812" y="35051"/>
                  </a:lnTo>
                  <a:lnTo>
                    <a:pt x="16764" y="33527"/>
                  </a:lnTo>
                  <a:lnTo>
                    <a:pt x="10668" y="27431"/>
                  </a:lnTo>
                  <a:lnTo>
                    <a:pt x="10668" y="25907"/>
                  </a:lnTo>
                  <a:lnTo>
                    <a:pt x="9144" y="24383"/>
                  </a:lnTo>
                  <a:lnTo>
                    <a:pt x="9144" y="0"/>
                  </a:lnTo>
                  <a:close/>
                </a:path>
                <a:path w="581025" h="81279">
                  <a:moveTo>
                    <a:pt x="580583" y="0"/>
                  </a:moveTo>
                  <a:lnTo>
                    <a:pt x="571439" y="0"/>
                  </a:lnTo>
                  <a:lnTo>
                    <a:pt x="571439" y="27431"/>
                  </a:lnTo>
                  <a:lnTo>
                    <a:pt x="565343" y="33527"/>
                  </a:lnTo>
                  <a:lnTo>
                    <a:pt x="560771" y="35051"/>
                  </a:lnTo>
                  <a:lnTo>
                    <a:pt x="557723" y="38099"/>
                  </a:lnTo>
                  <a:lnTo>
                    <a:pt x="551627" y="39623"/>
                  </a:lnTo>
                  <a:lnTo>
                    <a:pt x="547055" y="42671"/>
                  </a:lnTo>
                  <a:lnTo>
                    <a:pt x="540959" y="44195"/>
                  </a:lnTo>
                  <a:lnTo>
                    <a:pt x="525719" y="48767"/>
                  </a:lnTo>
                  <a:lnTo>
                    <a:pt x="510479" y="51815"/>
                  </a:lnTo>
                  <a:lnTo>
                    <a:pt x="492191" y="56387"/>
                  </a:lnTo>
                  <a:lnTo>
                    <a:pt x="472379" y="59435"/>
                  </a:lnTo>
                  <a:lnTo>
                    <a:pt x="449519" y="62483"/>
                  </a:lnTo>
                  <a:lnTo>
                    <a:pt x="426659" y="64007"/>
                  </a:lnTo>
                  <a:lnTo>
                    <a:pt x="402275" y="67055"/>
                  </a:lnTo>
                  <a:lnTo>
                    <a:pt x="347441" y="70103"/>
                  </a:lnTo>
                  <a:lnTo>
                    <a:pt x="462473" y="70103"/>
                  </a:lnTo>
                  <a:lnTo>
                    <a:pt x="473903" y="68579"/>
                  </a:lnTo>
                  <a:lnTo>
                    <a:pt x="493715" y="65531"/>
                  </a:lnTo>
                  <a:lnTo>
                    <a:pt x="512003" y="60959"/>
                  </a:lnTo>
                  <a:lnTo>
                    <a:pt x="528767" y="57911"/>
                  </a:lnTo>
                  <a:lnTo>
                    <a:pt x="544007" y="53339"/>
                  </a:lnTo>
                  <a:lnTo>
                    <a:pt x="550103" y="50291"/>
                  </a:lnTo>
                  <a:lnTo>
                    <a:pt x="556199" y="48767"/>
                  </a:lnTo>
                  <a:lnTo>
                    <a:pt x="560771" y="45719"/>
                  </a:lnTo>
                  <a:lnTo>
                    <a:pt x="566867" y="44195"/>
                  </a:lnTo>
                  <a:lnTo>
                    <a:pt x="569915" y="41147"/>
                  </a:lnTo>
                  <a:lnTo>
                    <a:pt x="574487" y="38099"/>
                  </a:lnTo>
                  <a:lnTo>
                    <a:pt x="576011" y="35051"/>
                  </a:lnTo>
                  <a:lnTo>
                    <a:pt x="577535" y="35051"/>
                  </a:lnTo>
                  <a:lnTo>
                    <a:pt x="580583" y="28955"/>
                  </a:lnTo>
                  <a:lnTo>
                    <a:pt x="580583" y="0"/>
                  </a:lnTo>
                  <a:close/>
                </a:path>
              </a:pathLst>
            </a:custGeom>
            <a:solidFill>
              <a:srgbClr val="3298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9" name="object 79"/>
            <p:cNvSpPr/>
            <p:nvPr/>
          </p:nvSpPr>
          <p:spPr>
            <a:xfrm>
              <a:off x="7039294" y="3892479"/>
              <a:ext cx="10160" cy="12700"/>
            </a:xfrm>
            <a:custGeom>
              <a:avLst/>
              <a:gdLst/>
              <a:ahLst/>
              <a:cxnLst/>
              <a:rect l="l" t="t" r="r" b="b"/>
              <a:pathLst>
                <a:path w="10159" h="12700">
                  <a:moveTo>
                    <a:pt x="9721" y="0"/>
                  </a:moveTo>
                  <a:lnTo>
                    <a:pt x="0" y="0"/>
                  </a:lnTo>
                  <a:lnTo>
                    <a:pt x="0" y="12191"/>
                  </a:lnTo>
                  <a:lnTo>
                    <a:pt x="9721" y="0"/>
                  </a:lnTo>
                  <a:close/>
                </a:path>
              </a:pathLst>
            </a:custGeom>
            <a:solidFill>
              <a:srgbClr val="3232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" name="object 80"/>
            <p:cNvSpPr/>
            <p:nvPr/>
          </p:nvSpPr>
          <p:spPr>
            <a:xfrm>
              <a:off x="7027103" y="3892479"/>
              <a:ext cx="38735" cy="48895"/>
            </a:xfrm>
            <a:custGeom>
              <a:avLst/>
              <a:gdLst/>
              <a:ahLst/>
              <a:cxnLst/>
              <a:rect l="l" t="t" r="r" b="b"/>
              <a:pathLst>
                <a:path w="38734" h="48895">
                  <a:moveTo>
                    <a:pt x="6592" y="0"/>
                  </a:moveTo>
                  <a:lnTo>
                    <a:pt x="0" y="0"/>
                  </a:lnTo>
                  <a:lnTo>
                    <a:pt x="0" y="48767"/>
                  </a:lnTo>
                  <a:lnTo>
                    <a:pt x="28762" y="12191"/>
                  </a:lnTo>
                  <a:lnTo>
                    <a:pt x="24384" y="12191"/>
                  </a:lnTo>
                  <a:lnTo>
                    <a:pt x="3048" y="4571"/>
                  </a:lnTo>
                  <a:lnTo>
                    <a:pt x="6592" y="0"/>
                  </a:lnTo>
                  <a:close/>
                </a:path>
                <a:path w="38734" h="48895">
                  <a:moveTo>
                    <a:pt x="24384" y="0"/>
                  </a:moveTo>
                  <a:lnTo>
                    <a:pt x="6592" y="0"/>
                  </a:lnTo>
                  <a:lnTo>
                    <a:pt x="3048" y="4571"/>
                  </a:lnTo>
                  <a:lnTo>
                    <a:pt x="24384" y="12191"/>
                  </a:lnTo>
                  <a:lnTo>
                    <a:pt x="24384" y="0"/>
                  </a:lnTo>
                  <a:close/>
                </a:path>
                <a:path w="38734" h="48895">
                  <a:moveTo>
                    <a:pt x="38349" y="0"/>
                  </a:moveTo>
                  <a:lnTo>
                    <a:pt x="24384" y="0"/>
                  </a:lnTo>
                  <a:lnTo>
                    <a:pt x="24384" y="12191"/>
                  </a:lnTo>
                  <a:lnTo>
                    <a:pt x="28762" y="12191"/>
                  </a:lnTo>
                  <a:lnTo>
                    <a:pt x="38349" y="0"/>
                  </a:lnTo>
                  <a:close/>
                </a:path>
              </a:pathLst>
            </a:custGeom>
            <a:solidFill>
              <a:srgbClr val="375D8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1314093" y="1626473"/>
            <a:ext cx="3666490" cy="2266315"/>
            <a:chOff x="1314093" y="1626473"/>
            <a:chExt cx="3666490" cy="2266315"/>
          </a:xfrm>
        </p:grpSpPr>
        <p:sp>
          <p:nvSpPr>
            <p:cNvPr id="3" name="object 3"/>
            <p:cNvSpPr/>
            <p:nvPr/>
          </p:nvSpPr>
          <p:spPr>
            <a:xfrm>
              <a:off x="1314081" y="1626476"/>
              <a:ext cx="1329055" cy="2266315"/>
            </a:xfrm>
            <a:custGeom>
              <a:avLst/>
              <a:gdLst/>
              <a:ahLst/>
              <a:cxnLst/>
              <a:rect l="l" t="t" r="r" b="b"/>
              <a:pathLst>
                <a:path w="1329055" h="2266315">
                  <a:moveTo>
                    <a:pt x="9144" y="2243150"/>
                  </a:moveTo>
                  <a:lnTo>
                    <a:pt x="0" y="2243150"/>
                  </a:lnTo>
                  <a:lnTo>
                    <a:pt x="0" y="2266010"/>
                  </a:lnTo>
                  <a:lnTo>
                    <a:pt x="9144" y="2266010"/>
                  </a:lnTo>
                  <a:lnTo>
                    <a:pt x="9144" y="2243150"/>
                  </a:lnTo>
                  <a:close/>
                </a:path>
                <a:path w="1329055" h="2266315">
                  <a:moveTo>
                    <a:pt x="9144" y="2205075"/>
                  </a:moveTo>
                  <a:lnTo>
                    <a:pt x="0" y="2205075"/>
                  </a:lnTo>
                  <a:lnTo>
                    <a:pt x="0" y="2214194"/>
                  </a:lnTo>
                  <a:lnTo>
                    <a:pt x="9144" y="2214194"/>
                  </a:lnTo>
                  <a:lnTo>
                    <a:pt x="9144" y="2205075"/>
                  </a:lnTo>
                  <a:close/>
                </a:path>
                <a:path w="1329055" h="2266315">
                  <a:moveTo>
                    <a:pt x="9144" y="2138019"/>
                  </a:moveTo>
                  <a:lnTo>
                    <a:pt x="0" y="2138019"/>
                  </a:lnTo>
                  <a:lnTo>
                    <a:pt x="0" y="2176119"/>
                  </a:lnTo>
                  <a:lnTo>
                    <a:pt x="9144" y="2176119"/>
                  </a:lnTo>
                  <a:lnTo>
                    <a:pt x="9144" y="2138019"/>
                  </a:lnTo>
                  <a:close/>
                </a:path>
                <a:path w="1329055" h="2266315">
                  <a:moveTo>
                    <a:pt x="9144" y="2099919"/>
                  </a:moveTo>
                  <a:lnTo>
                    <a:pt x="0" y="2099919"/>
                  </a:lnTo>
                  <a:lnTo>
                    <a:pt x="0" y="2109063"/>
                  </a:lnTo>
                  <a:lnTo>
                    <a:pt x="9144" y="2109063"/>
                  </a:lnTo>
                  <a:lnTo>
                    <a:pt x="9144" y="2099919"/>
                  </a:lnTo>
                  <a:close/>
                </a:path>
                <a:path w="1329055" h="2266315">
                  <a:moveTo>
                    <a:pt x="9144" y="2032863"/>
                  </a:moveTo>
                  <a:lnTo>
                    <a:pt x="0" y="2032863"/>
                  </a:lnTo>
                  <a:lnTo>
                    <a:pt x="0" y="2070963"/>
                  </a:lnTo>
                  <a:lnTo>
                    <a:pt x="9144" y="2070963"/>
                  </a:lnTo>
                  <a:lnTo>
                    <a:pt x="9144" y="2032863"/>
                  </a:lnTo>
                  <a:close/>
                </a:path>
                <a:path w="1329055" h="2266315">
                  <a:moveTo>
                    <a:pt x="9144" y="1994763"/>
                  </a:moveTo>
                  <a:lnTo>
                    <a:pt x="0" y="1994763"/>
                  </a:lnTo>
                  <a:lnTo>
                    <a:pt x="0" y="2005431"/>
                  </a:lnTo>
                  <a:lnTo>
                    <a:pt x="9144" y="2005431"/>
                  </a:lnTo>
                  <a:lnTo>
                    <a:pt x="9144" y="1994763"/>
                  </a:lnTo>
                  <a:close/>
                </a:path>
                <a:path w="1329055" h="2266315">
                  <a:moveTo>
                    <a:pt x="9144" y="1929231"/>
                  </a:moveTo>
                  <a:lnTo>
                    <a:pt x="0" y="1929231"/>
                  </a:lnTo>
                  <a:lnTo>
                    <a:pt x="0" y="1967331"/>
                  </a:lnTo>
                  <a:lnTo>
                    <a:pt x="9144" y="1967331"/>
                  </a:lnTo>
                  <a:lnTo>
                    <a:pt x="9144" y="1929231"/>
                  </a:lnTo>
                  <a:close/>
                </a:path>
                <a:path w="1329055" h="2266315">
                  <a:moveTo>
                    <a:pt x="9144" y="1891131"/>
                  </a:moveTo>
                  <a:lnTo>
                    <a:pt x="0" y="1891131"/>
                  </a:lnTo>
                  <a:lnTo>
                    <a:pt x="0" y="1900275"/>
                  </a:lnTo>
                  <a:lnTo>
                    <a:pt x="9144" y="1900275"/>
                  </a:lnTo>
                  <a:lnTo>
                    <a:pt x="9144" y="1891131"/>
                  </a:lnTo>
                  <a:close/>
                </a:path>
                <a:path w="1329055" h="2266315">
                  <a:moveTo>
                    <a:pt x="9144" y="1824075"/>
                  </a:moveTo>
                  <a:lnTo>
                    <a:pt x="0" y="1824075"/>
                  </a:lnTo>
                  <a:lnTo>
                    <a:pt x="0" y="1862175"/>
                  </a:lnTo>
                  <a:lnTo>
                    <a:pt x="9144" y="1862175"/>
                  </a:lnTo>
                  <a:lnTo>
                    <a:pt x="9144" y="1824075"/>
                  </a:lnTo>
                  <a:close/>
                </a:path>
                <a:path w="1329055" h="2266315">
                  <a:moveTo>
                    <a:pt x="9144" y="1785975"/>
                  </a:moveTo>
                  <a:lnTo>
                    <a:pt x="0" y="1785975"/>
                  </a:lnTo>
                  <a:lnTo>
                    <a:pt x="0" y="1795119"/>
                  </a:lnTo>
                  <a:lnTo>
                    <a:pt x="9144" y="1795119"/>
                  </a:lnTo>
                  <a:lnTo>
                    <a:pt x="9144" y="1785975"/>
                  </a:lnTo>
                  <a:close/>
                </a:path>
                <a:path w="1329055" h="2266315">
                  <a:moveTo>
                    <a:pt x="9144" y="1718957"/>
                  </a:moveTo>
                  <a:lnTo>
                    <a:pt x="0" y="1718957"/>
                  </a:lnTo>
                  <a:lnTo>
                    <a:pt x="0" y="1757057"/>
                  </a:lnTo>
                  <a:lnTo>
                    <a:pt x="9144" y="1757057"/>
                  </a:lnTo>
                  <a:lnTo>
                    <a:pt x="9144" y="1718957"/>
                  </a:lnTo>
                  <a:close/>
                </a:path>
                <a:path w="1329055" h="2266315">
                  <a:moveTo>
                    <a:pt x="9144" y="1680857"/>
                  </a:moveTo>
                  <a:lnTo>
                    <a:pt x="0" y="1680857"/>
                  </a:lnTo>
                  <a:lnTo>
                    <a:pt x="0" y="1690001"/>
                  </a:lnTo>
                  <a:lnTo>
                    <a:pt x="9144" y="1690001"/>
                  </a:lnTo>
                  <a:lnTo>
                    <a:pt x="9144" y="1680857"/>
                  </a:lnTo>
                  <a:close/>
                </a:path>
                <a:path w="1329055" h="2266315">
                  <a:moveTo>
                    <a:pt x="9144" y="1613801"/>
                  </a:moveTo>
                  <a:lnTo>
                    <a:pt x="0" y="1613801"/>
                  </a:lnTo>
                  <a:lnTo>
                    <a:pt x="0" y="1651901"/>
                  </a:lnTo>
                  <a:lnTo>
                    <a:pt x="9144" y="1651901"/>
                  </a:lnTo>
                  <a:lnTo>
                    <a:pt x="9144" y="1613801"/>
                  </a:lnTo>
                  <a:close/>
                </a:path>
                <a:path w="1329055" h="2266315">
                  <a:moveTo>
                    <a:pt x="9144" y="1575701"/>
                  </a:moveTo>
                  <a:lnTo>
                    <a:pt x="0" y="1575701"/>
                  </a:lnTo>
                  <a:lnTo>
                    <a:pt x="0" y="1586369"/>
                  </a:lnTo>
                  <a:lnTo>
                    <a:pt x="9144" y="1586369"/>
                  </a:lnTo>
                  <a:lnTo>
                    <a:pt x="9144" y="1575701"/>
                  </a:lnTo>
                  <a:close/>
                </a:path>
                <a:path w="1329055" h="2266315">
                  <a:moveTo>
                    <a:pt x="9144" y="1510169"/>
                  </a:moveTo>
                  <a:lnTo>
                    <a:pt x="0" y="1510169"/>
                  </a:lnTo>
                  <a:lnTo>
                    <a:pt x="0" y="1548269"/>
                  </a:lnTo>
                  <a:lnTo>
                    <a:pt x="9144" y="1548269"/>
                  </a:lnTo>
                  <a:lnTo>
                    <a:pt x="9144" y="1510169"/>
                  </a:lnTo>
                  <a:close/>
                </a:path>
                <a:path w="1329055" h="2266315">
                  <a:moveTo>
                    <a:pt x="9144" y="1472095"/>
                  </a:moveTo>
                  <a:lnTo>
                    <a:pt x="0" y="1472095"/>
                  </a:lnTo>
                  <a:lnTo>
                    <a:pt x="0" y="1481239"/>
                  </a:lnTo>
                  <a:lnTo>
                    <a:pt x="9144" y="1481239"/>
                  </a:lnTo>
                  <a:lnTo>
                    <a:pt x="9144" y="1472095"/>
                  </a:lnTo>
                  <a:close/>
                </a:path>
                <a:path w="1329055" h="2266315">
                  <a:moveTo>
                    <a:pt x="9144" y="1405039"/>
                  </a:moveTo>
                  <a:lnTo>
                    <a:pt x="0" y="1405039"/>
                  </a:lnTo>
                  <a:lnTo>
                    <a:pt x="0" y="1443139"/>
                  </a:lnTo>
                  <a:lnTo>
                    <a:pt x="9144" y="1443139"/>
                  </a:lnTo>
                  <a:lnTo>
                    <a:pt x="9144" y="1405039"/>
                  </a:lnTo>
                  <a:close/>
                </a:path>
                <a:path w="1329055" h="2266315">
                  <a:moveTo>
                    <a:pt x="9144" y="1366939"/>
                  </a:moveTo>
                  <a:lnTo>
                    <a:pt x="0" y="1366939"/>
                  </a:lnTo>
                  <a:lnTo>
                    <a:pt x="0" y="1376083"/>
                  </a:lnTo>
                  <a:lnTo>
                    <a:pt x="9144" y="1376083"/>
                  </a:lnTo>
                  <a:lnTo>
                    <a:pt x="9144" y="1366939"/>
                  </a:lnTo>
                  <a:close/>
                </a:path>
                <a:path w="1329055" h="2266315">
                  <a:moveTo>
                    <a:pt x="9144" y="1299883"/>
                  </a:moveTo>
                  <a:lnTo>
                    <a:pt x="0" y="1299883"/>
                  </a:lnTo>
                  <a:lnTo>
                    <a:pt x="0" y="1337983"/>
                  </a:lnTo>
                  <a:lnTo>
                    <a:pt x="9144" y="1337983"/>
                  </a:lnTo>
                  <a:lnTo>
                    <a:pt x="9144" y="1299883"/>
                  </a:lnTo>
                  <a:close/>
                </a:path>
                <a:path w="1329055" h="2266315">
                  <a:moveTo>
                    <a:pt x="9144" y="1261783"/>
                  </a:moveTo>
                  <a:lnTo>
                    <a:pt x="0" y="1261783"/>
                  </a:lnTo>
                  <a:lnTo>
                    <a:pt x="0" y="1270927"/>
                  </a:lnTo>
                  <a:lnTo>
                    <a:pt x="9144" y="1270927"/>
                  </a:lnTo>
                  <a:lnTo>
                    <a:pt x="9144" y="1261783"/>
                  </a:lnTo>
                  <a:close/>
                </a:path>
                <a:path w="1329055" h="2266315">
                  <a:moveTo>
                    <a:pt x="9144" y="1194727"/>
                  </a:moveTo>
                  <a:lnTo>
                    <a:pt x="0" y="1194727"/>
                  </a:lnTo>
                  <a:lnTo>
                    <a:pt x="0" y="1232827"/>
                  </a:lnTo>
                  <a:lnTo>
                    <a:pt x="9144" y="1232827"/>
                  </a:lnTo>
                  <a:lnTo>
                    <a:pt x="9144" y="1194727"/>
                  </a:lnTo>
                  <a:close/>
                </a:path>
                <a:path w="1329055" h="2266315">
                  <a:moveTo>
                    <a:pt x="9144" y="1156627"/>
                  </a:moveTo>
                  <a:lnTo>
                    <a:pt x="0" y="1156627"/>
                  </a:lnTo>
                  <a:lnTo>
                    <a:pt x="0" y="1167295"/>
                  </a:lnTo>
                  <a:lnTo>
                    <a:pt x="9144" y="1167295"/>
                  </a:lnTo>
                  <a:lnTo>
                    <a:pt x="9144" y="1156627"/>
                  </a:lnTo>
                  <a:close/>
                </a:path>
                <a:path w="1329055" h="2266315">
                  <a:moveTo>
                    <a:pt x="9144" y="1091095"/>
                  </a:moveTo>
                  <a:lnTo>
                    <a:pt x="0" y="1091095"/>
                  </a:lnTo>
                  <a:lnTo>
                    <a:pt x="0" y="1129195"/>
                  </a:lnTo>
                  <a:lnTo>
                    <a:pt x="9144" y="1129195"/>
                  </a:lnTo>
                  <a:lnTo>
                    <a:pt x="9144" y="1091095"/>
                  </a:lnTo>
                  <a:close/>
                </a:path>
                <a:path w="1329055" h="2266315">
                  <a:moveTo>
                    <a:pt x="9144" y="1053020"/>
                  </a:moveTo>
                  <a:lnTo>
                    <a:pt x="0" y="1053020"/>
                  </a:lnTo>
                  <a:lnTo>
                    <a:pt x="0" y="1062164"/>
                  </a:lnTo>
                  <a:lnTo>
                    <a:pt x="9144" y="1062164"/>
                  </a:lnTo>
                  <a:lnTo>
                    <a:pt x="9144" y="1053020"/>
                  </a:lnTo>
                  <a:close/>
                </a:path>
                <a:path w="1329055" h="2266315">
                  <a:moveTo>
                    <a:pt x="9144" y="985964"/>
                  </a:moveTo>
                  <a:lnTo>
                    <a:pt x="0" y="985964"/>
                  </a:lnTo>
                  <a:lnTo>
                    <a:pt x="0" y="1024064"/>
                  </a:lnTo>
                  <a:lnTo>
                    <a:pt x="9144" y="1024064"/>
                  </a:lnTo>
                  <a:lnTo>
                    <a:pt x="9144" y="985964"/>
                  </a:lnTo>
                  <a:close/>
                </a:path>
                <a:path w="1329055" h="2266315">
                  <a:moveTo>
                    <a:pt x="9144" y="947864"/>
                  </a:moveTo>
                  <a:lnTo>
                    <a:pt x="0" y="947864"/>
                  </a:lnTo>
                  <a:lnTo>
                    <a:pt x="0" y="957008"/>
                  </a:lnTo>
                  <a:lnTo>
                    <a:pt x="9144" y="957008"/>
                  </a:lnTo>
                  <a:lnTo>
                    <a:pt x="9144" y="947864"/>
                  </a:lnTo>
                  <a:close/>
                </a:path>
                <a:path w="1329055" h="2266315">
                  <a:moveTo>
                    <a:pt x="9144" y="880808"/>
                  </a:moveTo>
                  <a:lnTo>
                    <a:pt x="0" y="880808"/>
                  </a:lnTo>
                  <a:lnTo>
                    <a:pt x="0" y="918908"/>
                  </a:lnTo>
                  <a:lnTo>
                    <a:pt x="9144" y="918908"/>
                  </a:lnTo>
                  <a:lnTo>
                    <a:pt x="9144" y="880808"/>
                  </a:lnTo>
                  <a:close/>
                </a:path>
                <a:path w="1329055" h="2266315">
                  <a:moveTo>
                    <a:pt x="9144" y="842708"/>
                  </a:moveTo>
                  <a:lnTo>
                    <a:pt x="0" y="842708"/>
                  </a:lnTo>
                  <a:lnTo>
                    <a:pt x="0" y="851852"/>
                  </a:lnTo>
                  <a:lnTo>
                    <a:pt x="9144" y="851852"/>
                  </a:lnTo>
                  <a:lnTo>
                    <a:pt x="9144" y="842708"/>
                  </a:lnTo>
                  <a:close/>
                </a:path>
                <a:path w="1329055" h="2266315">
                  <a:moveTo>
                    <a:pt x="9144" y="775690"/>
                  </a:moveTo>
                  <a:lnTo>
                    <a:pt x="0" y="775690"/>
                  </a:lnTo>
                  <a:lnTo>
                    <a:pt x="0" y="813752"/>
                  </a:lnTo>
                  <a:lnTo>
                    <a:pt x="9144" y="813752"/>
                  </a:lnTo>
                  <a:lnTo>
                    <a:pt x="9144" y="775690"/>
                  </a:lnTo>
                  <a:close/>
                </a:path>
                <a:path w="1329055" h="2266315">
                  <a:moveTo>
                    <a:pt x="9144" y="737590"/>
                  </a:moveTo>
                  <a:lnTo>
                    <a:pt x="0" y="737590"/>
                  </a:lnTo>
                  <a:lnTo>
                    <a:pt x="0" y="748258"/>
                  </a:lnTo>
                  <a:lnTo>
                    <a:pt x="9144" y="748258"/>
                  </a:lnTo>
                  <a:lnTo>
                    <a:pt x="9144" y="737590"/>
                  </a:lnTo>
                  <a:close/>
                </a:path>
                <a:path w="1329055" h="2266315">
                  <a:moveTo>
                    <a:pt x="9144" y="672058"/>
                  </a:moveTo>
                  <a:lnTo>
                    <a:pt x="0" y="672058"/>
                  </a:lnTo>
                  <a:lnTo>
                    <a:pt x="0" y="710158"/>
                  </a:lnTo>
                  <a:lnTo>
                    <a:pt x="9144" y="710158"/>
                  </a:lnTo>
                  <a:lnTo>
                    <a:pt x="9144" y="672058"/>
                  </a:lnTo>
                  <a:close/>
                </a:path>
                <a:path w="1329055" h="2266315">
                  <a:moveTo>
                    <a:pt x="9144" y="633958"/>
                  </a:moveTo>
                  <a:lnTo>
                    <a:pt x="0" y="633958"/>
                  </a:lnTo>
                  <a:lnTo>
                    <a:pt x="0" y="643102"/>
                  </a:lnTo>
                  <a:lnTo>
                    <a:pt x="9144" y="643102"/>
                  </a:lnTo>
                  <a:lnTo>
                    <a:pt x="9144" y="633958"/>
                  </a:lnTo>
                  <a:close/>
                </a:path>
                <a:path w="1329055" h="2266315">
                  <a:moveTo>
                    <a:pt x="9144" y="566902"/>
                  </a:moveTo>
                  <a:lnTo>
                    <a:pt x="0" y="566902"/>
                  </a:lnTo>
                  <a:lnTo>
                    <a:pt x="0" y="605002"/>
                  </a:lnTo>
                  <a:lnTo>
                    <a:pt x="9144" y="605002"/>
                  </a:lnTo>
                  <a:lnTo>
                    <a:pt x="9144" y="566902"/>
                  </a:lnTo>
                  <a:close/>
                </a:path>
                <a:path w="1329055" h="2266315">
                  <a:moveTo>
                    <a:pt x="9144" y="528802"/>
                  </a:moveTo>
                  <a:lnTo>
                    <a:pt x="0" y="528802"/>
                  </a:lnTo>
                  <a:lnTo>
                    <a:pt x="0" y="537946"/>
                  </a:lnTo>
                  <a:lnTo>
                    <a:pt x="9144" y="537946"/>
                  </a:lnTo>
                  <a:lnTo>
                    <a:pt x="9144" y="528802"/>
                  </a:lnTo>
                  <a:close/>
                </a:path>
                <a:path w="1329055" h="2266315">
                  <a:moveTo>
                    <a:pt x="9144" y="461746"/>
                  </a:moveTo>
                  <a:lnTo>
                    <a:pt x="0" y="461746"/>
                  </a:lnTo>
                  <a:lnTo>
                    <a:pt x="0" y="499846"/>
                  </a:lnTo>
                  <a:lnTo>
                    <a:pt x="9144" y="499846"/>
                  </a:lnTo>
                  <a:lnTo>
                    <a:pt x="9144" y="461746"/>
                  </a:lnTo>
                  <a:close/>
                </a:path>
                <a:path w="1329055" h="2266315">
                  <a:moveTo>
                    <a:pt x="9144" y="423646"/>
                  </a:moveTo>
                  <a:lnTo>
                    <a:pt x="0" y="423646"/>
                  </a:lnTo>
                  <a:lnTo>
                    <a:pt x="0" y="432790"/>
                  </a:lnTo>
                  <a:lnTo>
                    <a:pt x="9144" y="432790"/>
                  </a:lnTo>
                  <a:lnTo>
                    <a:pt x="9144" y="423646"/>
                  </a:lnTo>
                  <a:close/>
                </a:path>
                <a:path w="1329055" h="2266315">
                  <a:moveTo>
                    <a:pt x="9144" y="356616"/>
                  </a:moveTo>
                  <a:lnTo>
                    <a:pt x="0" y="356616"/>
                  </a:lnTo>
                  <a:lnTo>
                    <a:pt x="0" y="394690"/>
                  </a:lnTo>
                  <a:lnTo>
                    <a:pt x="9144" y="394690"/>
                  </a:lnTo>
                  <a:lnTo>
                    <a:pt x="9144" y="356616"/>
                  </a:lnTo>
                  <a:close/>
                </a:path>
                <a:path w="1329055" h="2266315">
                  <a:moveTo>
                    <a:pt x="9144" y="318516"/>
                  </a:moveTo>
                  <a:lnTo>
                    <a:pt x="0" y="318516"/>
                  </a:lnTo>
                  <a:lnTo>
                    <a:pt x="0" y="329184"/>
                  </a:lnTo>
                  <a:lnTo>
                    <a:pt x="9144" y="329184"/>
                  </a:lnTo>
                  <a:lnTo>
                    <a:pt x="9144" y="318516"/>
                  </a:lnTo>
                  <a:close/>
                </a:path>
                <a:path w="1329055" h="2266315">
                  <a:moveTo>
                    <a:pt x="9144" y="252984"/>
                  </a:moveTo>
                  <a:lnTo>
                    <a:pt x="0" y="252984"/>
                  </a:lnTo>
                  <a:lnTo>
                    <a:pt x="0" y="291084"/>
                  </a:lnTo>
                  <a:lnTo>
                    <a:pt x="9144" y="291084"/>
                  </a:lnTo>
                  <a:lnTo>
                    <a:pt x="9144" y="252984"/>
                  </a:lnTo>
                  <a:close/>
                </a:path>
                <a:path w="1329055" h="2266315">
                  <a:moveTo>
                    <a:pt x="9144" y="214884"/>
                  </a:moveTo>
                  <a:lnTo>
                    <a:pt x="0" y="214884"/>
                  </a:lnTo>
                  <a:lnTo>
                    <a:pt x="0" y="224028"/>
                  </a:lnTo>
                  <a:lnTo>
                    <a:pt x="9144" y="224028"/>
                  </a:lnTo>
                  <a:lnTo>
                    <a:pt x="9144" y="214884"/>
                  </a:lnTo>
                  <a:close/>
                </a:path>
                <a:path w="1329055" h="2266315">
                  <a:moveTo>
                    <a:pt x="9144" y="147828"/>
                  </a:moveTo>
                  <a:lnTo>
                    <a:pt x="0" y="147828"/>
                  </a:lnTo>
                  <a:lnTo>
                    <a:pt x="0" y="185928"/>
                  </a:lnTo>
                  <a:lnTo>
                    <a:pt x="9144" y="185928"/>
                  </a:lnTo>
                  <a:lnTo>
                    <a:pt x="9144" y="147828"/>
                  </a:lnTo>
                  <a:close/>
                </a:path>
                <a:path w="1329055" h="2266315">
                  <a:moveTo>
                    <a:pt x="9144" y="109728"/>
                  </a:moveTo>
                  <a:lnTo>
                    <a:pt x="0" y="109728"/>
                  </a:lnTo>
                  <a:lnTo>
                    <a:pt x="0" y="118872"/>
                  </a:lnTo>
                  <a:lnTo>
                    <a:pt x="9144" y="118872"/>
                  </a:lnTo>
                  <a:lnTo>
                    <a:pt x="9144" y="109728"/>
                  </a:lnTo>
                  <a:close/>
                </a:path>
                <a:path w="1329055" h="2266315">
                  <a:moveTo>
                    <a:pt x="9144" y="42672"/>
                  </a:moveTo>
                  <a:lnTo>
                    <a:pt x="0" y="42672"/>
                  </a:lnTo>
                  <a:lnTo>
                    <a:pt x="0" y="80772"/>
                  </a:lnTo>
                  <a:lnTo>
                    <a:pt x="9144" y="80772"/>
                  </a:lnTo>
                  <a:lnTo>
                    <a:pt x="9144" y="42672"/>
                  </a:lnTo>
                  <a:close/>
                </a:path>
                <a:path w="1329055" h="2266315">
                  <a:moveTo>
                    <a:pt x="9144" y="9283"/>
                  </a:moveTo>
                  <a:lnTo>
                    <a:pt x="4572" y="9283"/>
                  </a:lnTo>
                  <a:lnTo>
                    <a:pt x="4572" y="9144"/>
                  </a:lnTo>
                  <a:lnTo>
                    <a:pt x="4572" y="393"/>
                  </a:lnTo>
                  <a:lnTo>
                    <a:pt x="0" y="393"/>
                  </a:lnTo>
                  <a:lnTo>
                    <a:pt x="0" y="9283"/>
                  </a:lnTo>
                  <a:lnTo>
                    <a:pt x="0" y="13093"/>
                  </a:lnTo>
                  <a:lnTo>
                    <a:pt x="9144" y="13093"/>
                  </a:lnTo>
                  <a:lnTo>
                    <a:pt x="9144" y="9283"/>
                  </a:lnTo>
                  <a:close/>
                </a:path>
                <a:path w="1329055" h="2266315">
                  <a:moveTo>
                    <a:pt x="9144" y="4572"/>
                  </a:moveTo>
                  <a:lnTo>
                    <a:pt x="4572" y="9144"/>
                  </a:lnTo>
                  <a:lnTo>
                    <a:pt x="9144" y="9144"/>
                  </a:lnTo>
                  <a:lnTo>
                    <a:pt x="9144" y="4572"/>
                  </a:lnTo>
                  <a:close/>
                </a:path>
                <a:path w="1329055" h="2266315">
                  <a:moveTo>
                    <a:pt x="71628" y="0"/>
                  </a:moveTo>
                  <a:lnTo>
                    <a:pt x="33528" y="0"/>
                  </a:lnTo>
                  <a:lnTo>
                    <a:pt x="33528" y="9144"/>
                  </a:lnTo>
                  <a:lnTo>
                    <a:pt x="71628" y="9144"/>
                  </a:lnTo>
                  <a:lnTo>
                    <a:pt x="71628" y="0"/>
                  </a:lnTo>
                  <a:close/>
                </a:path>
                <a:path w="1329055" h="2266315">
                  <a:moveTo>
                    <a:pt x="109715" y="0"/>
                  </a:moveTo>
                  <a:lnTo>
                    <a:pt x="99060" y="0"/>
                  </a:lnTo>
                  <a:lnTo>
                    <a:pt x="99060" y="9144"/>
                  </a:lnTo>
                  <a:lnTo>
                    <a:pt x="109715" y="9144"/>
                  </a:lnTo>
                  <a:lnTo>
                    <a:pt x="109715" y="0"/>
                  </a:lnTo>
                  <a:close/>
                </a:path>
                <a:path w="1329055" h="2266315">
                  <a:moveTo>
                    <a:pt x="175247" y="0"/>
                  </a:moveTo>
                  <a:lnTo>
                    <a:pt x="137147" y="0"/>
                  </a:lnTo>
                  <a:lnTo>
                    <a:pt x="137147" y="9144"/>
                  </a:lnTo>
                  <a:lnTo>
                    <a:pt x="175247" y="9144"/>
                  </a:lnTo>
                  <a:lnTo>
                    <a:pt x="175247" y="0"/>
                  </a:lnTo>
                  <a:close/>
                </a:path>
                <a:path w="1329055" h="2266315">
                  <a:moveTo>
                    <a:pt x="213347" y="0"/>
                  </a:moveTo>
                  <a:lnTo>
                    <a:pt x="204203" y="0"/>
                  </a:lnTo>
                  <a:lnTo>
                    <a:pt x="204203" y="9144"/>
                  </a:lnTo>
                  <a:lnTo>
                    <a:pt x="213347" y="9144"/>
                  </a:lnTo>
                  <a:lnTo>
                    <a:pt x="213347" y="0"/>
                  </a:lnTo>
                  <a:close/>
                </a:path>
                <a:path w="1329055" h="2266315">
                  <a:moveTo>
                    <a:pt x="280403" y="0"/>
                  </a:moveTo>
                  <a:lnTo>
                    <a:pt x="242303" y="0"/>
                  </a:lnTo>
                  <a:lnTo>
                    <a:pt x="242303" y="9144"/>
                  </a:lnTo>
                  <a:lnTo>
                    <a:pt x="280403" y="9144"/>
                  </a:lnTo>
                  <a:lnTo>
                    <a:pt x="280403" y="0"/>
                  </a:lnTo>
                  <a:close/>
                </a:path>
                <a:path w="1329055" h="2266315">
                  <a:moveTo>
                    <a:pt x="318503" y="0"/>
                  </a:moveTo>
                  <a:lnTo>
                    <a:pt x="309359" y="0"/>
                  </a:lnTo>
                  <a:lnTo>
                    <a:pt x="309359" y="9144"/>
                  </a:lnTo>
                  <a:lnTo>
                    <a:pt x="318503" y="9144"/>
                  </a:lnTo>
                  <a:lnTo>
                    <a:pt x="318503" y="0"/>
                  </a:lnTo>
                  <a:close/>
                </a:path>
                <a:path w="1329055" h="2266315">
                  <a:moveTo>
                    <a:pt x="385559" y="0"/>
                  </a:moveTo>
                  <a:lnTo>
                    <a:pt x="347459" y="0"/>
                  </a:lnTo>
                  <a:lnTo>
                    <a:pt x="347459" y="9144"/>
                  </a:lnTo>
                  <a:lnTo>
                    <a:pt x="385559" y="9144"/>
                  </a:lnTo>
                  <a:lnTo>
                    <a:pt x="385559" y="0"/>
                  </a:lnTo>
                  <a:close/>
                </a:path>
                <a:path w="1329055" h="2266315">
                  <a:moveTo>
                    <a:pt x="423646" y="0"/>
                  </a:moveTo>
                  <a:lnTo>
                    <a:pt x="414502" y="0"/>
                  </a:lnTo>
                  <a:lnTo>
                    <a:pt x="414502" y="9144"/>
                  </a:lnTo>
                  <a:lnTo>
                    <a:pt x="423646" y="9144"/>
                  </a:lnTo>
                  <a:lnTo>
                    <a:pt x="423646" y="0"/>
                  </a:lnTo>
                  <a:close/>
                </a:path>
                <a:path w="1329055" h="2266315">
                  <a:moveTo>
                    <a:pt x="490702" y="0"/>
                  </a:moveTo>
                  <a:lnTo>
                    <a:pt x="452602" y="0"/>
                  </a:lnTo>
                  <a:lnTo>
                    <a:pt x="452602" y="9144"/>
                  </a:lnTo>
                  <a:lnTo>
                    <a:pt x="490702" y="9144"/>
                  </a:lnTo>
                  <a:lnTo>
                    <a:pt x="490702" y="0"/>
                  </a:lnTo>
                  <a:close/>
                </a:path>
                <a:path w="1329055" h="2266315">
                  <a:moveTo>
                    <a:pt x="528802" y="0"/>
                  </a:moveTo>
                  <a:lnTo>
                    <a:pt x="518134" y="0"/>
                  </a:lnTo>
                  <a:lnTo>
                    <a:pt x="518134" y="9144"/>
                  </a:lnTo>
                  <a:lnTo>
                    <a:pt x="528802" y="9144"/>
                  </a:lnTo>
                  <a:lnTo>
                    <a:pt x="528802" y="0"/>
                  </a:lnTo>
                  <a:close/>
                </a:path>
                <a:path w="1329055" h="2266315">
                  <a:moveTo>
                    <a:pt x="594321" y="0"/>
                  </a:moveTo>
                  <a:lnTo>
                    <a:pt x="556221" y="0"/>
                  </a:lnTo>
                  <a:lnTo>
                    <a:pt x="556221" y="9144"/>
                  </a:lnTo>
                  <a:lnTo>
                    <a:pt x="594321" y="9144"/>
                  </a:lnTo>
                  <a:lnTo>
                    <a:pt x="594321" y="0"/>
                  </a:lnTo>
                  <a:close/>
                </a:path>
                <a:path w="1329055" h="2266315">
                  <a:moveTo>
                    <a:pt x="632421" y="0"/>
                  </a:moveTo>
                  <a:lnTo>
                    <a:pt x="623277" y="0"/>
                  </a:lnTo>
                  <a:lnTo>
                    <a:pt x="623277" y="9144"/>
                  </a:lnTo>
                  <a:lnTo>
                    <a:pt x="632421" y="9144"/>
                  </a:lnTo>
                  <a:lnTo>
                    <a:pt x="632421" y="0"/>
                  </a:lnTo>
                  <a:close/>
                </a:path>
                <a:path w="1329055" h="2266315">
                  <a:moveTo>
                    <a:pt x="699465" y="0"/>
                  </a:moveTo>
                  <a:lnTo>
                    <a:pt x="661377" y="0"/>
                  </a:lnTo>
                  <a:lnTo>
                    <a:pt x="661377" y="9144"/>
                  </a:lnTo>
                  <a:lnTo>
                    <a:pt x="699465" y="9144"/>
                  </a:lnTo>
                  <a:lnTo>
                    <a:pt x="699465" y="0"/>
                  </a:lnTo>
                  <a:close/>
                </a:path>
                <a:path w="1329055" h="2266315">
                  <a:moveTo>
                    <a:pt x="737565" y="0"/>
                  </a:moveTo>
                  <a:lnTo>
                    <a:pt x="728421" y="0"/>
                  </a:lnTo>
                  <a:lnTo>
                    <a:pt x="728421" y="9144"/>
                  </a:lnTo>
                  <a:lnTo>
                    <a:pt x="737565" y="9144"/>
                  </a:lnTo>
                  <a:lnTo>
                    <a:pt x="737565" y="0"/>
                  </a:lnTo>
                  <a:close/>
                </a:path>
                <a:path w="1329055" h="2266315">
                  <a:moveTo>
                    <a:pt x="804621" y="0"/>
                  </a:moveTo>
                  <a:lnTo>
                    <a:pt x="766521" y="0"/>
                  </a:lnTo>
                  <a:lnTo>
                    <a:pt x="766521" y="9144"/>
                  </a:lnTo>
                  <a:lnTo>
                    <a:pt x="804621" y="9144"/>
                  </a:lnTo>
                  <a:lnTo>
                    <a:pt x="804621" y="0"/>
                  </a:lnTo>
                  <a:close/>
                </a:path>
                <a:path w="1329055" h="2266315">
                  <a:moveTo>
                    <a:pt x="842708" y="0"/>
                  </a:moveTo>
                  <a:lnTo>
                    <a:pt x="833564" y="0"/>
                  </a:lnTo>
                  <a:lnTo>
                    <a:pt x="833564" y="9144"/>
                  </a:lnTo>
                  <a:lnTo>
                    <a:pt x="842708" y="9144"/>
                  </a:lnTo>
                  <a:lnTo>
                    <a:pt x="842708" y="0"/>
                  </a:lnTo>
                  <a:close/>
                </a:path>
                <a:path w="1329055" h="2266315">
                  <a:moveTo>
                    <a:pt x="909764" y="0"/>
                  </a:moveTo>
                  <a:lnTo>
                    <a:pt x="871664" y="0"/>
                  </a:lnTo>
                  <a:lnTo>
                    <a:pt x="871664" y="9144"/>
                  </a:lnTo>
                  <a:lnTo>
                    <a:pt x="909764" y="9144"/>
                  </a:lnTo>
                  <a:lnTo>
                    <a:pt x="909764" y="0"/>
                  </a:lnTo>
                  <a:close/>
                </a:path>
                <a:path w="1329055" h="2266315">
                  <a:moveTo>
                    <a:pt x="947864" y="0"/>
                  </a:moveTo>
                  <a:lnTo>
                    <a:pt x="937196" y="0"/>
                  </a:lnTo>
                  <a:lnTo>
                    <a:pt x="937196" y="9144"/>
                  </a:lnTo>
                  <a:lnTo>
                    <a:pt x="947864" y="9144"/>
                  </a:lnTo>
                  <a:lnTo>
                    <a:pt x="947864" y="0"/>
                  </a:lnTo>
                  <a:close/>
                </a:path>
                <a:path w="1329055" h="2266315">
                  <a:moveTo>
                    <a:pt x="1013383" y="0"/>
                  </a:moveTo>
                  <a:lnTo>
                    <a:pt x="975283" y="0"/>
                  </a:lnTo>
                  <a:lnTo>
                    <a:pt x="975283" y="9144"/>
                  </a:lnTo>
                  <a:lnTo>
                    <a:pt x="1013383" y="9144"/>
                  </a:lnTo>
                  <a:lnTo>
                    <a:pt x="1013383" y="0"/>
                  </a:lnTo>
                  <a:close/>
                </a:path>
                <a:path w="1329055" h="2266315">
                  <a:moveTo>
                    <a:pt x="1051483" y="0"/>
                  </a:moveTo>
                  <a:lnTo>
                    <a:pt x="1042339" y="0"/>
                  </a:lnTo>
                  <a:lnTo>
                    <a:pt x="1042339" y="9144"/>
                  </a:lnTo>
                  <a:lnTo>
                    <a:pt x="1051483" y="9144"/>
                  </a:lnTo>
                  <a:lnTo>
                    <a:pt x="1051483" y="0"/>
                  </a:lnTo>
                  <a:close/>
                </a:path>
                <a:path w="1329055" h="2266315">
                  <a:moveTo>
                    <a:pt x="1118527" y="0"/>
                  </a:moveTo>
                  <a:lnTo>
                    <a:pt x="1080439" y="0"/>
                  </a:lnTo>
                  <a:lnTo>
                    <a:pt x="1080439" y="9144"/>
                  </a:lnTo>
                  <a:lnTo>
                    <a:pt x="1118527" y="9144"/>
                  </a:lnTo>
                  <a:lnTo>
                    <a:pt x="1118527" y="0"/>
                  </a:lnTo>
                  <a:close/>
                </a:path>
                <a:path w="1329055" h="2266315">
                  <a:moveTo>
                    <a:pt x="1156627" y="0"/>
                  </a:moveTo>
                  <a:lnTo>
                    <a:pt x="1147483" y="0"/>
                  </a:lnTo>
                  <a:lnTo>
                    <a:pt x="1147483" y="9144"/>
                  </a:lnTo>
                  <a:lnTo>
                    <a:pt x="1156627" y="9144"/>
                  </a:lnTo>
                  <a:lnTo>
                    <a:pt x="1156627" y="0"/>
                  </a:lnTo>
                  <a:close/>
                </a:path>
                <a:path w="1329055" h="2266315">
                  <a:moveTo>
                    <a:pt x="1223683" y="0"/>
                  </a:moveTo>
                  <a:lnTo>
                    <a:pt x="1185583" y="0"/>
                  </a:lnTo>
                  <a:lnTo>
                    <a:pt x="1185583" y="9144"/>
                  </a:lnTo>
                  <a:lnTo>
                    <a:pt x="1223683" y="9144"/>
                  </a:lnTo>
                  <a:lnTo>
                    <a:pt x="1223683" y="0"/>
                  </a:lnTo>
                  <a:close/>
                </a:path>
                <a:path w="1329055" h="2266315">
                  <a:moveTo>
                    <a:pt x="1261770" y="0"/>
                  </a:moveTo>
                  <a:lnTo>
                    <a:pt x="1252626" y="0"/>
                  </a:lnTo>
                  <a:lnTo>
                    <a:pt x="1252626" y="9144"/>
                  </a:lnTo>
                  <a:lnTo>
                    <a:pt x="1261770" y="9144"/>
                  </a:lnTo>
                  <a:lnTo>
                    <a:pt x="1261770" y="0"/>
                  </a:lnTo>
                  <a:close/>
                </a:path>
                <a:path w="1329055" h="2266315">
                  <a:moveTo>
                    <a:pt x="1328826" y="0"/>
                  </a:moveTo>
                  <a:lnTo>
                    <a:pt x="1290726" y="0"/>
                  </a:lnTo>
                  <a:lnTo>
                    <a:pt x="1290726" y="9144"/>
                  </a:lnTo>
                  <a:lnTo>
                    <a:pt x="1328826" y="9144"/>
                  </a:lnTo>
                  <a:lnTo>
                    <a:pt x="1328826" y="0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2604808" y="1626476"/>
              <a:ext cx="2376170" cy="2266315"/>
            </a:xfrm>
            <a:custGeom>
              <a:avLst/>
              <a:gdLst/>
              <a:ahLst/>
              <a:cxnLst/>
              <a:rect l="l" t="t" r="r" b="b"/>
              <a:pathLst>
                <a:path w="2376170" h="2266315">
                  <a:moveTo>
                    <a:pt x="38100" y="0"/>
                  </a:moveTo>
                  <a:lnTo>
                    <a:pt x="0" y="0"/>
                  </a:lnTo>
                  <a:lnTo>
                    <a:pt x="0" y="9144"/>
                  </a:lnTo>
                  <a:lnTo>
                    <a:pt x="38100" y="9144"/>
                  </a:lnTo>
                  <a:lnTo>
                    <a:pt x="38100" y="0"/>
                  </a:lnTo>
                  <a:close/>
                </a:path>
                <a:path w="2376170" h="2266315">
                  <a:moveTo>
                    <a:pt x="76200" y="0"/>
                  </a:moveTo>
                  <a:lnTo>
                    <a:pt x="65532" y="0"/>
                  </a:lnTo>
                  <a:lnTo>
                    <a:pt x="65532" y="9144"/>
                  </a:lnTo>
                  <a:lnTo>
                    <a:pt x="76200" y="9144"/>
                  </a:lnTo>
                  <a:lnTo>
                    <a:pt x="76200" y="0"/>
                  </a:lnTo>
                  <a:close/>
                </a:path>
                <a:path w="2376170" h="2266315">
                  <a:moveTo>
                    <a:pt x="141719" y="0"/>
                  </a:moveTo>
                  <a:lnTo>
                    <a:pt x="103619" y="0"/>
                  </a:lnTo>
                  <a:lnTo>
                    <a:pt x="103619" y="9144"/>
                  </a:lnTo>
                  <a:lnTo>
                    <a:pt x="141719" y="9144"/>
                  </a:lnTo>
                  <a:lnTo>
                    <a:pt x="141719" y="0"/>
                  </a:lnTo>
                  <a:close/>
                </a:path>
                <a:path w="2376170" h="2266315">
                  <a:moveTo>
                    <a:pt x="179819" y="0"/>
                  </a:moveTo>
                  <a:lnTo>
                    <a:pt x="170675" y="0"/>
                  </a:lnTo>
                  <a:lnTo>
                    <a:pt x="170675" y="9144"/>
                  </a:lnTo>
                  <a:lnTo>
                    <a:pt x="179819" y="9144"/>
                  </a:lnTo>
                  <a:lnTo>
                    <a:pt x="179819" y="0"/>
                  </a:lnTo>
                  <a:close/>
                </a:path>
                <a:path w="2376170" h="2266315">
                  <a:moveTo>
                    <a:pt x="246862" y="0"/>
                  </a:moveTo>
                  <a:lnTo>
                    <a:pt x="208775" y="0"/>
                  </a:lnTo>
                  <a:lnTo>
                    <a:pt x="208775" y="9144"/>
                  </a:lnTo>
                  <a:lnTo>
                    <a:pt x="246862" y="9144"/>
                  </a:lnTo>
                  <a:lnTo>
                    <a:pt x="246862" y="0"/>
                  </a:lnTo>
                  <a:close/>
                </a:path>
                <a:path w="2376170" h="2266315">
                  <a:moveTo>
                    <a:pt x="284962" y="0"/>
                  </a:moveTo>
                  <a:lnTo>
                    <a:pt x="275818" y="0"/>
                  </a:lnTo>
                  <a:lnTo>
                    <a:pt x="275818" y="9144"/>
                  </a:lnTo>
                  <a:lnTo>
                    <a:pt x="284962" y="9144"/>
                  </a:lnTo>
                  <a:lnTo>
                    <a:pt x="284962" y="0"/>
                  </a:lnTo>
                  <a:close/>
                </a:path>
                <a:path w="2376170" h="2266315">
                  <a:moveTo>
                    <a:pt x="352018" y="0"/>
                  </a:moveTo>
                  <a:lnTo>
                    <a:pt x="313918" y="0"/>
                  </a:lnTo>
                  <a:lnTo>
                    <a:pt x="313918" y="9144"/>
                  </a:lnTo>
                  <a:lnTo>
                    <a:pt x="352018" y="9144"/>
                  </a:lnTo>
                  <a:lnTo>
                    <a:pt x="352018" y="0"/>
                  </a:lnTo>
                  <a:close/>
                </a:path>
                <a:path w="2376170" h="2266315">
                  <a:moveTo>
                    <a:pt x="390105" y="0"/>
                  </a:moveTo>
                  <a:lnTo>
                    <a:pt x="380961" y="0"/>
                  </a:lnTo>
                  <a:lnTo>
                    <a:pt x="380961" y="9144"/>
                  </a:lnTo>
                  <a:lnTo>
                    <a:pt x="390105" y="9144"/>
                  </a:lnTo>
                  <a:lnTo>
                    <a:pt x="390105" y="0"/>
                  </a:lnTo>
                  <a:close/>
                </a:path>
                <a:path w="2376170" h="2266315">
                  <a:moveTo>
                    <a:pt x="457174" y="0"/>
                  </a:moveTo>
                  <a:lnTo>
                    <a:pt x="419061" y="0"/>
                  </a:lnTo>
                  <a:lnTo>
                    <a:pt x="419061" y="9144"/>
                  </a:lnTo>
                  <a:lnTo>
                    <a:pt x="457174" y="9144"/>
                  </a:lnTo>
                  <a:lnTo>
                    <a:pt x="457174" y="0"/>
                  </a:lnTo>
                  <a:close/>
                </a:path>
                <a:path w="2376170" h="2266315">
                  <a:moveTo>
                    <a:pt x="495274" y="0"/>
                  </a:moveTo>
                  <a:lnTo>
                    <a:pt x="484606" y="0"/>
                  </a:lnTo>
                  <a:lnTo>
                    <a:pt x="484606" y="9144"/>
                  </a:lnTo>
                  <a:lnTo>
                    <a:pt x="495274" y="9144"/>
                  </a:lnTo>
                  <a:lnTo>
                    <a:pt x="495274" y="0"/>
                  </a:lnTo>
                  <a:close/>
                </a:path>
                <a:path w="2376170" h="2266315">
                  <a:moveTo>
                    <a:pt x="560781" y="0"/>
                  </a:moveTo>
                  <a:lnTo>
                    <a:pt x="522706" y="0"/>
                  </a:lnTo>
                  <a:lnTo>
                    <a:pt x="522706" y="9144"/>
                  </a:lnTo>
                  <a:lnTo>
                    <a:pt x="560781" y="9144"/>
                  </a:lnTo>
                  <a:lnTo>
                    <a:pt x="560781" y="0"/>
                  </a:lnTo>
                  <a:close/>
                </a:path>
                <a:path w="2376170" h="2266315">
                  <a:moveTo>
                    <a:pt x="598881" y="0"/>
                  </a:moveTo>
                  <a:lnTo>
                    <a:pt x="589737" y="0"/>
                  </a:lnTo>
                  <a:lnTo>
                    <a:pt x="589737" y="9144"/>
                  </a:lnTo>
                  <a:lnTo>
                    <a:pt x="598881" y="9144"/>
                  </a:lnTo>
                  <a:lnTo>
                    <a:pt x="598881" y="0"/>
                  </a:lnTo>
                  <a:close/>
                </a:path>
                <a:path w="2376170" h="2266315">
                  <a:moveTo>
                    <a:pt x="665937" y="0"/>
                  </a:moveTo>
                  <a:lnTo>
                    <a:pt x="627837" y="0"/>
                  </a:lnTo>
                  <a:lnTo>
                    <a:pt x="627837" y="9144"/>
                  </a:lnTo>
                  <a:lnTo>
                    <a:pt x="665937" y="9144"/>
                  </a:lnTo>
                  <a:lnTo>
                    <a:pt x="665937" y="0"/>
                  </a:lnTo>
                  <a:close/>
                </a:path>
                <a:path w="2376170" h="2266315">
                  <a:moveTo>
                    <a:pt x="704037" y="0"/>
                  </a:moveTo>
                  <a:lnTo>
                    <a:pt x="694893" y="0"/>
                  </a:lnTo>
                  <a:lnTo>
                    <a:pt x="694893" y="9144"/>
                  </a:lnTo>
                  <a:lnTo>
                    <a:pt x="704037" y="9144"/>
                  </a:lnTo>
                  <a:lnTo>
                    <a:pt x="704037" y="0"/>
                  </a:lnTo>
                  <a:close/>
                </a:path>
                <a:path w="2376170" h="2266315">
                  <a:moveTo>
                    <a:pt x="771093" y="0"/>
                  </a:moveTo>
                  <a:lnTo>
                    <a:pt x="732993" y="0"/>
                  </a:lnTo>
                  <a:lnTo>
                    <a:pt x="732993" y="9144"/>
                  </a:lnTo>
                  <a:lnTo>
                    <a:pt x="771093" y="9144"/>
                  </a:lnTo>
                  <a:lnTo>
                    <a:pt x="771093" y="0"/>
                  </a:lnTo>
                  <a:close/>
                </a:path>
                <a:path w="2376170" h="2266315">
                  <a:moveTo>
                    <a:pt x="809193" y="0"/>
                  </a:moveTo>
                  <a:lnTo>
                    <a:pt x="800049" y="0"/>
                  </a:lnTo>
                  <a:lnTo>
                    <a:pt x="800049" y="9144"/>
                  </a:lnTo>
                  <a:lnTo>
                    <a:pt x="809193" y="9144"/>
                  </a:lnTo>
                  <a:lnTo>
                    <a:pt x="809193" y="0"/>
                  </a:lnTo>
                  <a:close/>
                </a:path>
                <a:path w="2376170" h="2266315">
                  <a:moveTo>
                    <a:pt x="876211" y="0"/>
                  </a:moveTo>
                  <a:lnTo>
                    <a:pt x="838111" y="0"/>
                  </a:lnTo>
                  <a:lnTo>
                    <a:pt x="838111" y="9144"/>
                  </a:lnTo>
                  <a:lnTo>
                    <a:pt x="876211" y="9144"/>
                  </a:lnTo>
                  <a:lnTo>
                    <a:pt x="876211" y="0"/>
                  </a:lnTo>
                  <a:close/>
                </a:path>
                <a:path w="2376170" h="2266315">
                  <a:moveTo>
                    <a:pt x="914311" y="0"/>
                  </a:moveTo>
                  <a:lnTo>
                    <a:pt x="903643" y="0"/>
                  </a:lnTo>
                  <a:lnTo>
                    <a:pt x="903643" y="9144"/>
                  </a:lnTo>
                  <a:lnTo>
                    <a:pt x="914311" y="9144"/>
                  </a:lnTo>
                  <a:lnTo>
                    <a:pt x="914311" y="0"/>
                  </a:lnTo>
                  <a:close/>
                </a:path>
                <a:path w="2376170" h="2266315">
                  <a:moveTo>
                    <a:pt x="979843" y="0"/>
                  </a:moveTo>
                  <a:lnTo>
                    <a:pt x="941743" y="0"/>
                  </a:lnTo>
                  <a:lnTo>
                    <a:pt x="941743" y="9144"/>
                  </a:lnTo>
                  <a:lnTo>
                    <a:pt x="979843" y="9144"/>
                  </a:lnTo>
                  <a:lnTo>
                    <a:pt x="979843" y="0"/>
                  </a:lnTo>
                  <a:close/>
                </a:path>
                <a:path w="2376170" h="2266315">
                  <a:moveTo>
                    <a:pt x="1017943" y="0"/>
                  </a:moveTo>
                  <a:lnTo>
                    <a:pt x="1008799" y="0"/>
                  </a:lnTo>
                  <a:lnTo>
                    <a:pt x="1008799" y="9144"/>
                  </a:lnTo>
                  <a:lnTo>
                    <a:pt x="1017943" y="9144"/>
                  </a:lnTo>
                  <a:lnTo>
                    <a:pt x="1017943" y="0"/>
                  </a:lnTo>
                  <a:close/>
                </a:path>
                <a:path w="2376170" h="2266315">
                  <a:moveTo>
                    <a:pt x="1084999" y="0"/>
                  </a:moveTo>
                  <a:lnTo>
                    <a:pt x="1046899" y="0"/>
                  </a:lnTo>
                  <a:lnTo>
                    <a:pt x="1046899" y="9144"/>
                  </a:lnTo>
                  <a:lnTo>
                    <a:pt x="1084999" y="9144"/>
                  </a:lnTo>
                  <a:lnTo>
                    <a:pt x="1084999" y="0"/>
                  </a:lnTo>
                  <a:close/>
                </a:path>
                <a:path w="2376170" h="2266315">
                  <a:moveTo>
                    <a:pt x="1123099" y="0"/>
                  </a:moveTo>
                  <a:lnTo>
                    <a:pt x="1113955" y="0"/>
                  </a:lnTo>
                  <a:lnTo>
                    <a:pt x="1113955" y="9144"/>
                  </a:lnTo>
                  <a:lnTo>
                    <a:pt x="1123099" y="9144"/>
                  </a:lnTo>
                  <a:lnTo>
                    <a:pt x="1123099" y="0"/>
                  </a:lnTo>
                  <a:close/>
                </a:path>
                <a:path w="2376170" h="2266315">
                  <a:moveTo>
                    <a:pt x="1190155" y="0"/>
                  </a:moveTo>
                  <a:lnTo>
                    <a:pt x="1152055" y="0"/>
                  </a:lnTo>
                  <a:lnTo>
                    <a:pt x="1152055" y="9144"/>
                  </a:lnTo>
                  <a:lnTo>
                    <a:pt x="1190155" y="9144"/>
                  </a:lnTo>
                  <a:lnTo>
                    <a:pt x="1190155" y="0"/>
                  </a:lnTo>
                  <a:close/>
                </a:path>
                <a:path w="2376170" h="2266315">
                  <a:moveTo>
                    <a:pt x="1228255" y="0"/>
                  </a:moveTo>
                  <a:lnTo>
                    <a:pt x="1219111" y="0"/>
                  </a:lnTo>
                  <a:lnTo>
                    <a:pt x="1219111" y="9144"/>
                  </a:lnTo>
                  <a:lnTo>
                    <a:pt x="1228255" y="9144"/>
                  </a:lnTo>
                  <a:lnTo>
                    <a:pt x="1228255" y="0"/>
                  </a:lnTo>
                  <a:close/>
                </a:path>
                <a:path w="2376170" h="2266315">
                  <a:moveTo>
                    <a:pt x="1295285" y="0"/>
                  </a:moveTo>
                  <a:lnTo>
                    <a:pt x="1257185" y="0"/>
                  </a:lnTo>
                  <a:lnTo>
                    <a:pt x="1257185" y="9144"/>
                  </a:lnTo>
                  <a:lnTo>
                    <a:pt x="1295285" y="9144"/>
                  </a:lnTo>
                  <a:lnTo>
                    <a:pt x="1295285" y="0"/>
                  </a:lnTo>
                  <a:close/>
                </a:path>
                <a:path w="2376170" h="2266315">
                  <a:moveTo>
                    <a:pt x="1333385" y="0"/>
                  </a:moveTo>
                  <a:lnTo>
                    <a:pt x="1322717" y="0"/>
                  </a:lnTo>
                  <a:lnTo>
                    <a:pt x="1322717" y="9144"/>
                  </a:lnTo>
                  <a:lnTo>
                    <a:pt x="1333385" y="9144"/>
                  </a:lnTo>
                  <a:lnTo>
                    <a:pt x="1333385" y="0"/>
                  </a:lnTo>
                  <a:close/>
                </a:path>
                <a:path w="2376170" h="2266315">
                  <a:moveTo>
                    <a:pt x="1398917" y="0"/>
                  </a:moveTo>
                  <a:lnTo>
                    <a:pt x="1360817" y="0"/>
                  </a:lnTo>
                  <a:lnTo>
                    <a:pt x="1360817" y="9144"/>
                  </a:lnTo>
                  <a:lnTo>
                    <a:pt x="1398917" y="9144"/>
                  </a:lnTo>
                  <a:lnTo>
                    <a:pt x="1398917" y="0"/>
                  </a:lnTo>
                  <a:close/>
                </a:path>
                <a:path w="2376170" h="2266315">
                  <a:moveTo>
                    <a:pt x="1437017" y="0"/>
                  </a:moveTo>
                  <a:lnTo>
                    <a:pt x="1427873" y="0"/>
                  </a:lnTo>
                  <a:lnTo>
                    <a:pt x="1427873" y="9144"/>
                  </a:lnTo>
                  <a:lnTo>
                    <a:pt x="1437017" y="9144"/>
                  </a:lnTo>
                  <a:lnTo>
                    <a:pt x="1437017" y="0"/>
                  </a:lnTo>
                  <a:close/>
                </a:path>
                <a:path w="2376170" h="2266315">
                  <a:moveTo>
                    <a:pt x="1504073" y="0"/>
                  </a:moveTo>
                  <a:lnTo>
                    <a:pt x="1465973" y="0"/>
                  </a:lnTo>
                  <a:lnTo>
                    <a:pt x="1465973" y="9144"/>
                  </a:lnTo>
                  <a:lnTo>
                    <a:pt x="1504073" y="9144"/>
                  </a:lnTo>
                  <a:lnTo>
                    <a:pt x="1504073" y="0"/>
                  </a:lnTo>
                  <a:close/>
                </a:path>
                <a:path w="2376170" h="2266315">
                  <a:moveTo>
                    <a:pt x="1542148" y="0"/>
                  </a:moveTo>
                  <a:lnTo>
                    <a:pt x="1533004" y="0"/>
                  </a:lnTo>
                  <a:lnTo>
                    <a:pt x="1533004" y="9144"/>
                  </a:lnTo>
                  <a:lnTo>
                    <a:pt x="1542148" y="9144"/>
                  </a:lnTo>
                  <a:lnTo>
                    <a:pt x="1542148" y="0"/>
                  </a:lnTo>
                  <a:close/>
                </a:path>
                <a:path w="2376170" h="2266315">
                  <a:moveTo>
                    <a:pt x="1609204" y="0"/>
                  </a:moveTo>
                  <a:lnTo>
                    <a:pt x="1571104" y="0"/>
                  </a:lnTo>
                  <a:lnTo>
                    <a:pt x="1571104" y="9144"/>
                  </a:lnTo>
                  <a:lnTo>
                    <a:pt x="1609204" y="9144"/>
                  </a:lnTo>
                  <a:lnTo>
                    <a:pt x="1609204" y="0"/>
                  </a:lnTo>
                  <a:close/>
                </a:path>
                <a:path w="2376170" h="2266315">
                  <a:moveTo>
                    <a:pt x="1647304" y="0"/>
                  </a:moveTo>
                  <a:lnTo>
                    <a:pt x="1638160" y="0"/>
                  </a:lnTo>
                  <a:lnTo>
                    <a:pt x="1638160" y="9144"/>
                  </a:lnTo>
                  <a:lnTo>
                    <a:pt x="1647304" y="9144"/>
                  </a:lnTo>
                  <a:lnTo>
                    <a:pt x="1647304" y="0"/>
                  </a:lnTo>
                  <a:close/>
                </a:path>
                <a:path w="2376170" h="2266315">
                  <a:moveTo>
                    <a:pt x="1714360" y="0"/>
                  </a:moveTo>
                  <a:lnTo>
                    <a:pt x="1676260" y="0"/>
                  </a:lnTo>
                  <a:lnTo>
                    <a:pt x="1676260" y="9144"/>
                  </a:lnTo>
                  <a:lnTo>
                    <a:pt x="1714360" y="9144"/>
                  </a:lnTo>
                  <a:lnTo>
                    <a:pt x="1714360" y="0"/>
                  </a:lnTo>
                  <a:close/>
                </a:path>
                <a:path w="2376170" h="2266315">
                  <a:moveTo>
                    <a:pt x="1752460" y="0"/>
                  </a:moveTo>
                  <a:lnTo>
                    <a:pt x="1741792" y="0"/>
                  </a:lnTo>
                  <a:lnTo>
                    <a:pt x="1741792" y="9144"/>
                  </a:lnTo>
                  <a:lnTo>
                    <a:pt x="1752460" y="9144"/>
                  </a:lnTo>
                  <a:lnTo>
                    <a:pt x="1752460" y="0"/>
                  </a:lnTo>
                  <a:close/>
                </a:path>
                <a:path w="2376170" h="2266315">
                  <a:moveTo>
                    <a:pt x="1817992" y="0"/>
                  </a:moveTo>
                  <a:lnTo>
                    <a:pt x="1779892" y="0"/>
                  </a:lnTo>
                  <a:lnTo>
                    <a:pt x="1779892" y="9144"/>
                  </a:lnTo>
                  <a:lnTo>
                    <a:pt x="1817992" y="9144"/>
                  </a:lnTo>
                  <a:lnTo>
                    <a:pt x="1817992" y="0"/>
                  </a:lnTo>
                  <a:close/>
                </a:path>
                <a:path w="2376170" h="2266315">
                  <a:moveTo>
                    <a:pt x="1856092" y="0"/>
                  </a:moveTo>
                  <a:lnTo>
                    <a:pt x="1846948" y="0"/>
                  </a:lnTo>
                  <a:lnTo>
                    <a:pt x="1846948" y="9144"/>
                  </a:lnTo>
                  <a:lnTo>
                    <a:pt x="1856092" y="9144"/>
                  </a:lnTo>
                  <a:lnTo>
                    <a:pt x="1856092" y="0"/>
                  </a:lnTo>
                  <a:close/>
                </a:path>
                <a:path w="2376170" h="2266315">
                  <a:moveTo>
                    <a:pt x="1923148" y="0"/>
                  </a:moveTo>
                  <a:lnTo>
                    <a:pt x="1885048" y="0"/>
                  </a:lnTo>
                  <a:lnTo>
                    <a:pt x="1885048" y="9144"/>
                  </a:lnTo>
                  <a:lnTo>
                    <a:pt x="1923148" y="9144"/>
                  </a:lnTo>
                  <a:lnTo>
                    <a:pt x="1923148" y="0"/>
                  </a:lnTo>
                  <a:close/>
                </a:path>
                <a:path w="2376170" h="2266315">
                  <a:moveTo>
                    <a:pt x="1961210" y="0"/>
                  </a:moveTo>
                  <a:lnTo>
                    <a:pt x="1952066" y="0"/>
                  </a:lnTo>
                  <a:lnTo>
                    <a:pt x="1952066" y="9144"/>
                  </a:lnTo>
                  <a:lnTo>
                    <a:pt x="1961210" y="9144"/>
                  </a:lnTo>
                  <a:lnTo>
                    <a:pt x="1961210" y="0"/>
                  </a:lnTo>
                  <a:close/>
                </a:path>
                <a:path w="2376170" h="2266315">
                  <a:moveTo>
                    <a:pt x="2028266" y="0"/>
                  </a:moveTo>
                  <a:lnTo>
                    <a:pt x="1990166" y="0"/>
                  </a:lnTo>
                  <a:lnTo>
                    <a:pt x="1990166" y="9144"/>
                  </a:lnTo>
                  <a:lnTo>
                    <a:pt x="2028266" y="9144"/>
                  </a:lnTo>
                  <a:lnTo>
                    <a:pt x="2028266" y="0"/>
                  </a:lnTo>
                  <a:close/>
                </a:path>
                <a:path w="2376170" h="2266315">
                  <a:moveTo>
                    <a:pt x="2066366" y="0"/>
                  </a:moveTo>
                  <a:lnTo>
                    <a:pt x="2057222" y="0"/>
                  </a:lnTo>
                  <a:lnTo>
                    <a:pt x="2057222" y="9144"/>
                  </a:lnTo>
                  <a:lnTo>
                    <a:pt x="2066366" y="9144"/>
                  </a:lnTo>
                  <a:lnTo>
                    <a:pt x="2066366" y="0"/>
                  </a:lnTo>
                  <a:close/>
                </a:path>
                <a:path w="2376170" h="2266315">
                  <a:moveTo>
                    <a:pt x="2133422" y="0"/>
                  </a:moveTo>
                  <a:lnTo>
                    <a:pt x="2095322" y="0"/>
                  </a:lnTo>
                  <a:lnTo>
                    <a:pt x="2095322" y="9144"/>
                  </a:lnTo>
                  <a:lnTo>
                    <a:pt x="2133422" y="9144"/>
                  </a:lnTo>
                  <a:lnTo>
                    <a:pt x="2133422" y="0"/>
                  </a:lnTo>
                  <a:close/>
                </a:path>
                <a:path w="2376170" h="2266315">
                  <a:moveTo>
                    <a:pt x="2171522" y="0"/>
                  </a:moveTo>
                  <a:lnTo>
                    <a:pt x="2160854" y="0"/>
                  </a:lnTo>
                  <a:lnTo>
                    <a:pt x="2160854" y="9144"/>
                  </a:lnTo>
                  <a:lnTo>
                    <a:pt x="2171522" y="9144"/>
                  </a:lnTo>
                  <a:lnTo>
                    <a:pt x="2171522" y="0"/>
                  </a:lnTo>
                  <a:close/>
                </a:path>
                <a:path w="2376170" h="2266315">
                  <a:moveTo>
                    <a:pt x="2237054" y="0"/>
                  </a:moveTo>
                  <a:lnTo>
                    <a:pt x="2198954" y="0"/>
                  </a:lnTo>
                  <a:lnTo>
                    <a:pt x="2198954" y="9144"/>
                  </a:lnTo>
                  <a:lnTo>
                    <a:pt x="2237054" y="9144"/>
                  </a:lnTo>
                  <a:lnTo>
                    <a:pt x="2237054" y="0"/>
                  </a:lnTo>
                  <a:close/>
                </a:path>
                <a:path w="2376170" h="2266315">
                  <a:moveTo>
                    <a:pt x="2275154" y="0"/>
                  </a:moveTo>
                  <a:lnTo>
                    <a:pt x="2266010" y="0"/>
                  </a:lnTo>
                  <a:lnTo>
                    <a:pt x="2266010" y="9144"/>
                  </a:lnTo>
                  <a:lnTo>
                    <a:pt x="2275154" y="9144"/>
                  </a:lnTo>
                  <a:lnTo>
                    <a:pt x="2275154" y="0"/>
                  </a:lnTo>
                  <a:close/>
                </a:path>
                <a:path w="2376170" h="2266315">
                  <a:moveTo>
                    <a:pt x="2342210" y="0"/>
                  </a:moveTo>
                  <a:lnTo>
                    <a:pt x="2304110" y="0"/>
                  </a:lnTo>
                  <a:lnTo>
                    <a:pt x="2304110" y="9144"/>
                  </a:lnTo>
                  <a:lnTo>
                    <a:pt x="2342210" y="9144"/>
                  </a:lnTo>
                  <a:lnTo>
                    <a:pt x="2342210" y="0"/>
                  </a:lnTo>
                  <a:close/>
                </a:path>
                <a:path w="2376170" h="2266315">
                  <a:moveTo>
                    <a:pt x="2375738" y="2252294"/>
                  </a:moveTo>
                  <a:lnTo>
                    <a:pt x="2366594" y="2252294"/>
                  </a:lnTo>
                  <a:lnTo>
                    <a:pt x="2366594" y="2266010"/>
                  </a:lnTo>
                  <a:lnTo>
                    <a:pt x="2375738" y="2266010"/>
                  </a:lnTo>
                  <a:lnTo>
                    <a:pt x="2375738" y="2252294"/>
                  </a:lnTo>
                  <a:close/>
                </a:path>
                <a:path w="2376170" h="2266315">
                  <a:moveTo>
                    <a:pt x="2375738" y="356616"/>
                  </a:moveTo>
                  <a:lnTo>
                    <a:pt x="2366594" y="356616"/>
                  </a:lnTo>
                  <a:lnTo>
                    <a:pt x="2366594" y="394690"/>
                  </a:lnTo>
                  <a:lnTo>
                    <a:pt x="2375738" y="394690"/>
                  </a:lnTo>
                  <a:lnTo>
                    <a:pt x="2375738" y="356616"/>
                  </a:lnTo>
                  <a:close/>
                </a:path>
                <a:path w="2376170" h="2266315">
                  <a:moveTo>
                    <a:pt x="2375738" y="318516"/>
                  </a:moveTo>
                  <a:lnTo>
                    <a:pt x="2366594" y="318516"/>
                  </a:lnTo>
                  <a:lnTo>
                    <a:pt x="2366594" y="329184"/>
                  </a:lnTo>
                  <a:lnTo>
                    <a:pt x="2375738" y="329184"/>
                  </a:lnTo>
                  <a:lnTo>
                    <a:pt x="2375738" y="318516"/>
                  </a:lnTo>
                  <a:close/>
                </a:path>
                <a:path w="2376170" h="2266315">
                  <a:moveTo>
                    <a:pt x="2375738" y="252984"/>
                  </a:moveTo>
                  <a:lnTo>
                    <a:pt x="2366594" y="252984"/>
                  </a:lnTo>
                  <a:lnTo>
                    <a:pt x="2366594" y="291084"/>
                  </a:lnTo>
                  <a:lnTo>
                    <a:pt x="2375738" y="291084"/>
                  </a:lnTo>
                  <a:lnTo>
                    <a:pt x="2375738" y="252984"/>
                  </a:lnTo>
                  <a:close/>
                </a:path>
                <a:path w="2376170" h="2266315">
                  <a:moveTo>
                    <a:pt x="2375738" y="214884"/>
                  </a:moveTo>
                  <a:lnTo>
                    <a:pt x="2366594" y="214884"/>
                  </a:lnTo>
                  <a:lnTo>
                    <a:pt x="2366594" y="224028"/>
                  </a:lnTo>
                  <a:lnTo>
                    <a:pt x="2375738" y="224028"/>
                  </a:lnTo>
                  <a:lnTo>
                    <a:pt x="2375738" y="214884"/>
                  </a:lnTo>
                  <a:close/>
                </a:path>
                <a:path w="2376170" h="2266315">
                  <a:moveTo>
                    <a:pt x="2375738" y="147828"/>
                  </a:moveTo>
                  <a:lnTo>
                    <a:pt x="2366594" y="147828"/>
                  </a:lnTo>
                  <a:lnTo>
                    <a:pt x="2366594" y="185928"/>
                  </a:lnTo>
                  <a:lnTo>
                    <a:pt x="2375738" y="185928"/>
                  </a:lnTo>
                  <a:lnTo>
                    <a:pt x="2375738" y="147828"/>
                  </a:lnTo>
                  <a:close/>
                </a:path>
                <a:path w="2376170" h="2266315">
                  <a:moveTo>
                    <a:pt x="2375738" y="109728"/>
                  </a:moveTo>
                  <a:lnTo>
                    <a:pt x="2366594" y="109728"/>
                  </a:lnTo>
                  <a:lnTo>
                    <a:pt x="2366594" y="118872"/>
                  </a:lnTo>
                  <a:lnTo>
                    <a:pt x="2375738" y="118872"/>
                  </a:lnTo>
                  <a:lnTo>
                    <a:pt x="2375738" y="109728"/>
                  </a:lnTo>
                  <a:close/>
                </a:path>
                <a:path w="2376170" h="2266315">
                  <a:moveTo>
                    <a:pt x="2375738" y="42672"/>
                  </a:moveTo>
                  <a:lnTo>
                    <a:pt x="2366594" y="42672"/>
                  </a:lnTo>
                  <a:lnTo>
                    <a:pt x="2366594" y="80772"/>
                  </a:lnTo>
                  <a:lnTo>
                    <a:pt x="2375738" y="80772"/>
                  </a:lnTo>
                  <a:lnTo>
                    <a:pt x="2375738" y="42672"/>
                  </a:lnTo>
                  <a:close/>
                </a:path>
                <a:path w="2376170" h="2266315">
                  <a:moveTo>
                    <a:pt x="2375738" y="4572"/>
                  </a:moveTo>
                  <a:lnTo>
                    <a:pt x="2366594" y="4572"/>
                  </a:lnTo>
                  <a:lnTo>
                    <a:pt x="2366594" y="13716"/>
                  </a:lnTo>
                  <a:lnTo>
                    <a:pt x="2375738" y="13716"/>
                  </a:lnTo>
                  <a:lnTo>
                    <a:pt x="2375738" y="4572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5" name="object 5"/>
          <p:cNvGrpSpPr/>
          <p:nvPr/>
        </p:nvGrpSpPr>
        <p:grpSpPr>
          <a:xfrm>
            <a:off x="5123779" y="1626473"/>
            <a:ext cx="3361690" cy="2266315"/>
            <a:chOff x="5123779" y="1626473"/>
            <a:chExt cx="3361690" cy="2266315"/>
          </a:xfrm>
        </p:grpSpPr>
        <p:sp>
          <p:nvSpPr>
            <p:cNvPr id="6" name="object 6"/>
            <p:cNvSpPr/>
            <p:nvPr/>
          </p:nvSpPr>
          <p:spPr>
            <a:xfrm>
              <a:off x="5123777" y="1626476"/>
              <a:ext cx="3319145" cy="394970"/>
            </a:xfrm>
            <a:custGeom>
              <a:avLst/>
              <a:gdLst/>
              <a:ahLst/>
              <a:cxnLst/>
              <a:rect l="l" t="t" r="r" b="b"/>
              <a:pathLst>
                <a:path w="3319145" h="394969">
                  <a:moveTo>
                    <a:pt x="9144" y="356616"/>
                  </a:moveTo>
                  <a:lnTo>
                    <a:pt x="0" y="356616"/>
                  </a:lnTo>
                  <a:lnTo>
                    <a:pt x="0" y="394690"/>
                  </a:lnTo>
                  <a:lnTo>
                    <a:pt x="9144" y="394690"/>
                  </a:lnTo>
                  <a:lnTo>
                    <a:pt x="9144" y="356616"/>
                  </a:lnTo>
                  <a:close/>
                </a:path>
                <a:path w="3319145" h="394969">
                  <a:moveTo>
                    <a:pt x="9144" y="318516"/>
                  </a:moveTo>
                  <a:lnTo>
                    <a:pt x="0" y="318516"/>
                  </a:lnTo>
                  <a:lnTo>
                    <a:pt x="0" y="329184"/>
                  </a:lnTo>
                  <a:lnTo>
                    <a:pt x="9144" y="329184"/>
                  </a:lnTo>
                  <a:lnTo>
                    <a:pt x="9144" y="318516"/>
                  </a:lnTo>
                  <a:close/>
                </a:path>
                <a:path w="3319145" h="394969">
                  <a:moveTo>
                    <a:pt x="9144" y="252984"/>
                  </a:moveTo>
                  <a:lnTo>
                    <a:pt x="0" y="252984"/>
                  </a:lnTo>
                  <a:lnTo>
                    <a:pt x="0" y="291084"/>
                  </a:lnTo>
                  <a:lnTo>
                    <a:pt x="9144" y="291084"/>
                  </a:lnTo>
                  <a:lnTo>
                    <a:pt x="9144" y="252984"/>
                  </a:lnTo>
                  <a:close/>
                </a:path>
                <a:path w="3319145" h="394969">
                  <a:moveTo>
                    <a:pt x="9144" y="214884"/>
                  </a:moveTo>
                  <a:lnTo>
                    <a:pt x="0" y="214884"/>
                  </a:lnTo>
                  <a:lnTo>
                    <a:pt x="0" y="224028"/>
                  </a:lnTo>
                  <a:lnTo>
                    <a:pt x="9144" y="224028"/>
                  </a:lnTo>
                  <a:lnTo>
                    <a:pt x="9144" y="214884"/>
                  </a:lnTo>
                  <a:close/>
                </a:path>
                <a:path w="3319145" h="394969">
                  <a:moveTo>
                    <a:pt x="9144" y="147828"/>
                  </a:moveTo>
                  <a:lnTo>
                    <a:pt x="0" y="147828"/>
                  </a:lnTo>
                  <a:lnTo>
                    <a:pt x="0" y="185928"/>
                  </a:lnTo>
                  <a:lnTo>
                    <a:pt x="9144" y="185928"/>
                  </a:lnTo>
                  <a:lnTo>
                    <a:pt x="9144" y="147828"/>
                  </a:lnTo>
                  <a:close/>
                </a:path>
                <a:path w="3319145" h="394969">
                  <a:moveTo>
                    <a:pt x="9144" y="109728"/>
                  </a:moveTo>
                  <a:lnTo>
                    <a:pt x="0" y="109728"/>
                  </a:lnTo>
                  <a:lnTo>
                    <a:pt x="0" y="118872"/>
                  </a:lnTo>
                  <a:lnTo>
                    <a:pt x="9144" y="118872"/>
                  </a:lnTo>
                  <a:lnTo>
                    <a:pt x="9144" y="109728"/>
                  </a:lnTo>
                  <a:close/>
                </a:path>
                <a:path w="3319145" h="394969">
                  <a:moveTo>
                    <a:pt x="9144" y="42672"/>
                  </a:moveTo>
                  <a:lnTo>
                    <a:pt x="0" y="42672"/>
                  </a:lnTo>
                  <a:lnTo>
                    <a:pt x="0" y="80772"/>
                  </a:lnTo>
                  <a:lnTo>
                    <a:pt x="9144" y="80772"/>
                  </a:lnTo>
                  <a:lnTo>
                    <a:pt x="9144" y="42672"/>
                  </a:lnTo>
                  <a:close/>
                </a:path>
                <a:path w="3319145" h="394969">
                  <a:moveTo>
                    <a:pt x="9144" y="4572"/>
                  </a:moveTo>
                  <a:lnTo>
                    <a:pt x="0" y="4572"/>
                  </a:lnTo>
                  <a:lnTo>
                    <a:pt x="0" y="13716"/>
                  </a:lnTo>
                  <a:lnTo>
                    <a:pt x="9144" y="13716"/>
                  </a:lnTo>
                  <a:lnTo>
                    <a:pt x="9144" y="4572"/>
                  </a:lnTo>
                  <a:close/>
                </a:path>
                <a:path w="3319145" h="394969">
                  <a:moveTo>
                    <a:pt x="71628" y="0"/>
                  </a:moveTo>
                  <a:lnTo>
                    <a:pt x="33528" y="0"/>
                  </a:lnTo>
                  <a:lnTo>
                    <a:pt x="33528" y="9144"/>
                  </a:lnTo>
                  <a:lnTo>
                    <a:pt x="71628" y="9144"/>
                  </a:lnTo>
                  <a:lnTo>
                    <a:pt x="71628" y="0"/>
                  </a:lnTo>
                  <a:close/>
                </a:path>
                <a:path w="3319145" h="394969">
                  <a:moveTo>
                    <a:pt x="109728" y="0"/>
                  </a:moveTo>
                  <a:lnTo>
                    <a:pt x="99060" y="0"/>
                  </a:lnTo>
                  <a:lnTo>
                    <a:pt x="99060" y="9144"/>
                  </a:lnTo>
                  <a:lnTo>
                    <a:pt x="109728" y="9144"/>
                  </a:lnTo>
                  <a:lnTo>
                    <a:pt x="109728" y="0"/>
                  </a:lnTo>
                  <a:close/>
                </a:path>
                <a:path w="3319145" h="394969">
                  <a:moveTo>
                    <a:pt x="175221" y="0"/>
                  </a:moveTo>
                  <a:lnTo>
                    <a:pt x="137160" y="0"/>
                  </a:lnTo>
                  <a:lnTo>
                    <a:pt x="137160" y="9144"/>
                  </a:lnTo>
                  <a:lnTo>
                    <a:pt x="175221" y="9144"/>
                  </a:lnTo>
                  <a:lnTo>
                    <a:pt x="175221" y="0"/>
                  </a:lnTo>
                  <a:close/>
                </a:path>
                <a:path w="3319145" h="394969">
                  <a:moveTo>
                    <a:pt x="213321" y="0"/>
                  </a:moveTo>
                  <a:lnTo>
                    <a:pt x="204177" y="0"/>
                  </a:lnTo>
                  <a:lnTo>
                    <a:pt x="204177" y="9144"/>
                  </a:lnTo>
                  <a:lnTo>
                    <a:pt x="213321" y="9144"/>
                  </a:lnTo>
                  <a:lnTo>
                    <a:pt x="213321" y="0"/>
                  </a:lnTo>
                  <a:close/>
                </a:path>
                <a:path w="3319145" h="394969">
                  <a:moveTo>
                    <a:pt x="280377" y="0"/>
                  </a:moveTo>
                  <a:lnTo>
                    <a:pt x="242277" y="0"/>
                  </a:lnTo>
                  <a:lnTo>
                    <a:pt x="242277" y="9144"/>
                  </a:lnTo>
                  <a:lnTo>
                    <a:pt x="280377" y="9144"/>
                  </a:lnTo>
                  <a:lnTo>
                    <a:pt x="280377" y="0"/>
                  </a:lnTo>
                  <a:close/>
                </a:path>
                <a:path w="3319145" h="394969">
                  <a:moveTo>
                    <a:pt x="318477" y="0"/>
                  </a:moveTo>
                  <a:lnTo>
                    <a:pt x="309333" y="0"/>
                  </a:lnTo>
                  <a:lnTo>
                    <a:pt x="309333" y="9144"/>
                  </a:lnTo>
                  <a:lnTo>
                    <a:pt x="318477" y="9144"/>
                  </a:lnTo>
                  <a:lnTo>
                    <a:pt x="318477" y="0"/>
                  </a:lnTo>
                  <a:close/>
                </a:path>
                <a:path w="3319145" h="394969">
                  <a:moveTo>
                    <a:pt x="385533" y="0"/>
                  </a:moveTo>
                  <a:lnTo>
                    <a:pt x="347433" y="0"/>
                  </a:lnTo>
                  <a:lnTo>
                    <a:pt x="347433" y="9144"/>
                  </a:lnTo>
                  <a:lnTo>
                    <a:pt x="385533" y="9144"/>
                  </a:lnTo>
                  <a:lnTo>
                    <a:pt x="385533" y="0"/>
                  </a:lnTo>
                  <a:close/>
                </a:path>
                <a:path w="3319145" h="394969">
                  <a:moveTo>
                    <a:pt x="423633" y="0"/>
                  </a:moveTo>
                  <a:lnTo>
                    <a:pt x="414489" y="0"/>
                  </a:lnTo>
                  <a:lnTo>
                    <a:pt x="414489" y="9144"/>
                  </a:lnTo>
                  <a:lnTo>
                    <a:pt x="423633" y="9144"/>
                  </a:lnTo>
                  <a:lnTo>
                    <a:pt x="423633" y="0"/>
                  </a:lnTo>
                  <a:close/>
                </a:path>
                <a:path w="3319145" h="394969">
                  <a:moveTo>
                    <a:pt x="490689" y="0"/>
                  </a:moveTo>
                  <a:lnTo>
                    <a:pt x="452589" y="0"/>
                  </a:lnTo>
                  <a:lnTo>
                    <a:pt x="452589" y="9144"/>
                  </a:lnTo>
                  <a:lnTo>
                    <a:pt x="490689" y="9144"/>
                  </a:lnTo>
                  <a:lnTo>
                    <a:pt x="490689" y="0"/>
                  </a:lnTo>
                  <a:close/>
                </a:path>
                <a:path w="3319145" h="394969">
                  <a:moveTo>
                    <a:pt x="528789" y="0"/>
                  </a:moveTo>
                  <a:lnTo>
                    <a:pt x="518121" y="0"/>
                  </a:lnTo>
                  <a:lnTo>
                    <a:pt x="518121" y="9144"/>
                  </a:lnTo>
                  <a:lnTo>
                    <a:pt x="528789" y="9144"/>
                  </a:lnTo>
                  <a:lnTo>
                    <a:pt x="528789" y="0"/>
                  </a:lnTo>
                  <a:close/>
                </a:path>
                <a:path w="3319145" h="394969">
                  <a:moveTo>
                    <a:pt x="594296" y="0"/>
                  </a:moveTo>
                  <a:lnTo>
                    <a:pt x="556221" y="0"/>
                  </a:lnTo>
                  <a:lnTo>
                    <a:pt x="556221" y="9144"/>
                  </a:lnTo>
                  <a:lnTo>
                    <a:pt x="594296" y="9144"/>
                  </a:lnTo>
                  <a:lnTo>
                    <a:pt x="594296" y="0"/>
                  </a:lnTo>
                  <a:close/>
                </a:path>
                <a:path w="3319145" h="394969">
                  <a:moveTo>
                    <a:pt x="632396" y="0"/>
                  </a:moveTo>
                  <a:lnTo>
                    <a:pt x="623252" y="0"/>
                  </a:lnTo>
                  <a:lnTo>
                    <a:pt x="623252" y="9144"/>
                  </a:lnTo>
                  <a:lnTo>
                    <a:pt x="632396" y="9144"/>
                  </a:lnTo>
                  <a:lnTo>
                    <a:pt x="632396" y="0"/>
                  </a:lnTo>
                  <a:close/>
                </a:path>
                <a:path w="3319145" h="394969">
                  <a:moveTo>
                    <a:pt x="699452" y="0"/>
                  </a:moveTo>
                  <a:lnTo>
                    <a:pt x="661352" y="0"/>
                  </a:lnTo>
                  <a:lnTo>
                    <a:pt x="661352" y="9144"/>
                  </a:lnTo>
                  <a:lnTo>
                    <a:pt x="699452" y="9144"/>
                  </a:lnTo>
                  <a:lnTo>
                    <a:pt x="699452" y="0"/>
                  </a:lnTo>
                  <a:close/>
                </a:path>
                <a:path w="3319145" h="394969">
                  <a:moveTo>
                    <a:pt x="737552" y="0"/>
                  </a:moveTo>
                  <a:lnTo>
                    <a:pt x="728408" y="0"/>
                  </a:lnTo>
                  <a:lnTo>
                    <a:pt x="728408" y="9144"/>
                  </a:lnTo>
                  <a:lnTo>
                    <a:pt x="737552" y="9144"/>
                  </a:lnTo>
                  <a:lnTo>
                    <a:pt x="737552" y="0"/>
                  </a:lnTo>
                  <a:close/>
                </a:path>
                <a:path w="3319145" h="394969">
                  <a:moveTo>
                    <a:pt x="804608" y="0"/>
                  </a:moveTo>
                  <a:lnTo>
                    <a:pt x="766508" y="0"/>
                  </a:lnTo>
                  <a:lnTo>
                    <a:pt x="766508" y="9144"/>
                  </a:lnTo>
                  <a:lnTo>
                    <a:pt x="804608" y="9144"/>
                  </a:lnTo>
                  <a:lnTo>
                    <a:pt x="804608" y="0"/>
                  </a:lnTo>
                  <a:close/>
                </a:path>
                <a:path w="3319145" h="394969">
                  <a:moveTo>
                    <a:pt x="842708" y="0"/>
                  </a:moveTo>
                  <a:lnTo>
                    <a:pt x="833564" y="0"/>
                  </a:lnTo>
                  <a:lnTo>
                    <a:pt x="833564" y="9144"/>
                  </a:lnTo>
                  <a:lnTo>
                    <a:pt x="842708" y="9144"/>
                  </a:lnTo>
                  <a:lnTo>
                    <a:pt x="842708" y="0"/>
                  </a:lnTo>
                  <a:close/>
                </a:path>
                <a:path w="3319145" h="394969">
                  <a:moveTo>
                    <a:pt x="909739" y="0"/>
                  </a:moveTo>
                  <a:lnTo>
                    <a:pt x="871639" y="0"/>
                  </a:lnTo>
                  <a:lnTo>
                    <a:pt x="871639" y="9144"/>
                  </a:lnTo>
                  <a:lnTo>
                    <a:pt x="909739" y="9144"/>
                  </a:lnTo>
                  <a:lnTo>
                    <a:pt x="909739" y="0"/>
                  </a:lnTo>
                  <a:close/>
                </a:path>
                <a:path w="3319145" h="394969">
                  <a:moveTo>
                    <a:pt x="947839" y="0"/>
                  </a:moveTo>
                  <a:lnTo>
                    <a:pt x="937171" y="0"/>
                  </a:lnTo>
                  <a:lnTo>
                    <a:pt x="937171" y="9144"/>
                  </a:lnTo>
                  <a:lnTo>
                    <a:pt x="947839" y="9144"/>
                  </a:lnTo>
                  <a:lnTo>
                    <a:pt x="947839" y="0"/>
                  </a:lnTo>
                  <a:close/>
                </a:path>
                <a:path w="3319145" h="394969">
                  <a:moveTo>
                    <a:pt x="1013371" y="0"/>
                  </a:moveTo>
                  <a:lnTo>
                    <a:pt x="975271" y="0"/>
                  </a:lnTo>
                  <a:lnTo>
                    <a:pt x="975271" y="9144"/>
                  </a:lnTo>
                  <a:lnTo>
                    <a:pt x="1013371" y="9144"/>
                  </a:lnTo>
                  <a:lnTo>
                    <a:pt x="1013371" y="0"/>
                  </a:lnTo>
                  <a:close/>
                </a:path>
                <a:path w="3319145" h="394969">
                  <a:moveTo>
                    <a:pt x="1051471" y="0"/>
                  </a:moveTo>
                  <a:lnTo>
                    <a:pt x="1042327" y="0"/>
                  </a:lnTo>
                  <a:lnTo>
                    <a:pt x="1042327" y="9144"/>
                  </a:lnTo>
                  <a:lnTo>
                    <a:pt x="1051471" y="9144"/>
                  </a:lnTo>
                  <a:lnTo>
                    <a:pt x="1051471" y="0"/>
                  </a:lnTo>
                  <a:close/>
                </a:path>
                <a:path w="3319145" h="394969">
                  <a:moveTo>
                    <a:pt x="1118527" y="0"/>
                  </a:moveTo>
                  <a:lnTo>
                    <a:pt x="1080427" y="0"/>
                  </a:lnTo>
                  <a:lnTo>
                    <a:pt x="1080427" y="9144"/>
                  </a:lnTo>
                  <a:lnTo>
                    <a:pt x="1118527" y="9144"/>
                  </a:lnTo>
                  <a:lnTo>
                    <a:pt x="1118527" y="0"/>
                  </a:lnTo>
                  <a:close/>
                </a:path>
                <a:path w="3319145" h="394969">
                  <a:moveTo>
                    <a:pt x="1156627" y="0"/>
                  </a:moveTo>
                  <a:lnTo>
                    <a:pt x="1147483" y="0"/>
                  </a:lnTo>
                  <a:lnTo>
                    <a:pt x="1147483" y="9144"/>
                  </a:lnTo>
                  <a:lnTo>
                    <a:pt x="1156627" y="9144"/>
                  </a:lnTo>
                  <a:lnTo>
                    <a:pt x="1156627" y="0"/>
                  </a:lnTo>
                  <a:close/>
                </a:path>
                <a:path w="3319145" h="394969">
                  <a:moveTo>
                    <a:pt x="1223683" y="0"/>
                  </a:moveTo>
                  <a:lnTo>
                    <a:pt x="1185583" y="0"/>
                  </a:lnTo>
                  <a:lnTo>
                    <a:pt x="1185583" y="9144"/>
                  </a:lnTo>
                  <a:lnTo>
                    <a:pt x="1223683" y="9144"/>
                  </a:lnTo>
                  <a:lnTo>
                    <a:pt x="1223683" y="0"/>
                  </a:lnTo>
                  <a:close/>
                </a:path>
                <a:path w="3319145" h="394969">
                  <a:moveTo>
                    <a:pt x="1261783" y="0"/>
                  </a:moveTo>
                  <a:lnTo>
                    <a:pt x="1252639" y="0"/>
                  </a:lnTo>
                  <a:lnTo>
                    <a:pt x="1252639" y="9144"/>
                  </a:lnTo>
                  <a:lnTo>
                    <a:pt x="1261783" y="9144"/>
                  </a:lnTo>
                  <a:lnTo>
                    <a:pt x="1261783" y="0"/>
                  </a:lnTo>
                  <a:close/>
                </a:path>
                <a:path w="3319145" h="394969">
                  <a:moveTo>
                    <a:pt x="1328801" y="0"/>
                  </a:moveTo>
                  <a:lnTo>
                    <a:pt x="1290739" y="0"/>
                  </a:lnTo>
                  <a:lnTo>
                    <a:pt x="1290739" y="9144"/>
                  </a:lnTo>
                  <a:lnTo>
                    <a:pt x="1328801" y="9144"/>
                  </a:lnTo>
                  <a:lnTo>
                    <a:pt x="1328801" y="0"/>
                  </a:lnTo>
                  <a:close/>
                </a:path>
                <a:path w="3319145" h="394969">
                  <a:moveTo>
                    <a:pt x="1366901" y="0"/>
                  </a:moveTo>
                  <a:lnTo>
                    <a:pt x="1356233" y="0"/>
                  </a:lnTo>
                  <a:lnTo>
                    <a:pt x="1356233" y="9144"/>
                  </a:lnTo>
                  <a:lnTo>
                    <a:pt x="1366901" y="9144"/>
                  </a:lnTo>
                  <a:lnTo>
                    <a:pt x="1366901" y="0"/>
                  </a:lnTo>
                  <a:close/>
                </a:path>
                <a:path w="3319145" h="394969">
                  <a:moveTo>
                    <a:pt x="1432433" y="0"/>
                  </a:moveTo>
                  <a:lnTo>
                    <a:pt x="1394333" y="0"/>
                  </a:lnTo>
                  <a:lnTo>
                    <a:pt x="1394333" y="9144"/>
                  </a:lnTo>
                  <a:lnTo>
                    <a:pt x="1432433" y="9144"/>
                  </a:lnTo>
                  <a:lnTo>
                    <a:pt x="1432433" y="0"/>
                  </a:lnTo>
                  <a:close/>
                </a:path>
                <a:path w="3319145" h="394969">
                  <a:moveTo>
                    <a:pt x="1470533" y="0"/>
                  </a:moveTo>
                  <a:lnTo>
                    <a:pt x="1461389" y="0"/>
                  </a:lnTo>
                  <a:lnTo>
                    <a:pt x="1461389" y="9144"/>
                  </a:lnTo>
                  <a:lnTo>
                    <a:pt x="1470533" y="9144"/>
                  </a:lnTo>
                  <a:lnTo>
                    <a:pt x="1470533" y="0"/>
                  </a:lnTo>
                  <a:close/>
                </a:path>
                <a:path w="3319145" h="394969">
                  <a:moveTo>
                    <a:pt x="1537589" y="0"/>
                  </a:moveTo>
                  <a:lnTo>
                    <a:pt x="1499489" y="0"/>
                  </a:lnTo>
                  <a:lnTo>
                    <a:pt x="1499489" y="9144"/>
                  </a:lnTo>
                  <a:lnTo>
                    <a:pt x="1537589" y="9144"/>
                  </a:lnTo>
                  <a:lnTo>
                    <a:pt x="1537589" y="0"/>
                  </a:lnTo>
                  <a:close/>
                </a:path>
                <a:path w="3319145" h="394969">
                  <a:moveTo>
                    <a:pt x="1575689" y="0"/>
                  </a:moveTo>
                  <a:lnTo>
                    <a:pt x="1566545" y="0"/>
                  </a:lnTo>
                  <a:lnTo>
                    <a:pt x="1566545" y="9144"/>
                  </a:lnTo>
                  <a:lnTo>
                    <a:pt x="1575689" y="9144"/>
                  </a:lnTo>
                  <a:lnTo>
                    <a:pt x="1575689" y="0"/>
                  </a:lnTo>
                  <a:close/>
                </a:path>
                <a:path w="3319145" h="394969">
                  <a:moveTo>
                    <a:pt x="1642719" y="0"/>
                  </a:moveTo>
                  <a:lnTo>
                    <a:pt x="1604619" y="0"/>
                  </a:lnTo>
                  <a:lnTo>
                    <a:pt x="1604619" y="9144"/>
                  </a:lnTo>
                  <a:lnTo>
                    <a:pt x="1642719" y="9144"/>
                  </a:lnTo>
                  <a:lnTo>
                    <a:pt x="1642719" y="0"/>
                  </a:lnTo>
                  <a:close/>
                </a:path>
                <a:path w="3319145" h="394969">
                  <a:moveTo>
                    <a:pt x="1680819" y="0"/>
                  </a:moveTo>
                  <a:lnTo>
                    <a:pt x="1671675" y="0"/>
                  </a:lnTo>
                  <a:lnTo>
                    <a:pt x="1671675" y="9144"/>
                  </a:lnTo>
                  <a:lnTo>
                    <a:pt x="1680819" y="9144"/>
                  </a:lnTo>
                  <a:lnTo>
                    <a:pt x="1680819" y="0"/>
                  </a:lnTo>
                  <a:close/>
                </a:path>
                <a:path w="3319145" h="394969">
                  <a:moveTo>
                    <a:pt x="1747875" y="0"/>
                  </a:moveTo>
                  <a:lnTo>
                    <a:pt x="1709775" y="0"/>
                  </a:lnTo>
                  <a:lnTo>
                    <a:pt x="1709775" y="9144"/>
                  </a:lnTo>
                  <a:lnTo>
                    <a:pt x="1747875" y="9144"/>
                  </a:lnTo>
                  <a:lnTo>
                    <a:pt x="1747875" y="0"/>
                  </a:lnTo>
                  <a:close/>
                </a:path>
                <a:path w="3319145" h="394969">
                  <a:moveTo>
                    <a:pt x="1785975" y="0"/>
                  </a:moveTo>
                  <a:lnTo>
                    <a:pt x="1775307" y="0"/>
                  </a:lnTo>
                  <a:lnTo>
                    <a:pt x="1775307" y="9144"/>
                  </a:lnTo>
                  <a:lnTo>
                    <a:pt x="1785975" y="9144"/>
                  </a:lnTo>
                  <a:lnTo>
                    <a:pt x="1785975" y="0"/>
                  </a:lnTo>
                  <a:close/>
                </a:path>
                <a:path w="3319145" h="394969">
                  <a:moveTo>
                    <a:pt x="1851507" y="0"/>
                  </a:moveTo>
                  <a:lnTo>
                    <a:pt x="1813407" y="0"/>
                  </a:lnTo>
                  <a:lnTo>
                    <a:pt x="1813407" y="9144"/>
                  </a:lnTo>
                  <a:lnTo>
                    <a:pt x="1851507" y="9144"/>
                  </a:lnTo>
                  <a:lnTo>
                    <a:pt x="1851507" y="0"/>
                  </a:lnTo>
                  <a:close/>
                </a:path>
                <a:path w="3319145" h="394969">
                  <a:moveTo>
                    <a:pt x="1889607" y="0"/>
                  </a:moveTo>
                  <a:lnTo>
                    <a:pt x="1880463" y="0"/>
                  </a:lnTo>
                  <a:lnTo>
                    <a:pt x="1880463" y="9144"/>
                  </a:lnTo>
                  <a:lnTo>
                    <a:pt x="1889607" y="9144"/>
                  </a:lnTo>
                  <a:lnTo>
                    <a:pt x="1889607" y="0"/>
                  </a:lnTo>
                  <a:close/>
                </a:path>
                <a:path w="3319145" h="394969">
                  <a:moveTo>
                    <a:pt x="1956663" y="0"/>
                  </a:moveTo>
                  <a:lnTo>
                    <a:pt x="1918563" y="0"/>
                  </a:lnTo>
                  <a:lnTo>
                    <a:pt x="1918563" y="9144"/>
                  </a:lnTo>
                  <a:lnTo>
                    <a:pt x="1956663" y="9144"/>
                  </a:lnTo>
                  <a:lnTo>
                    <a:pt x="1956663" y="0"/>
                  </a:lnTo>
                  <a:close/>
                </a:path>
                <a:path w="3319145" h="394969">
                  <a:moveTo>
                    <a:pt x="1994763" y="0"/>
                  </a:moveTo>
                  <a:lnTo>
                    <a:pt x="1985619" y="0"/>
                  </a:lnTo>
                  <a:lnTo>
                    <a:pt x="1985619" y="9144"/>
                  </a:lnTo>
                  <a:lnTo>
                    <a:pt x="1994763" y="9144"/>
                  </a:lnTo>
                  <a:lnTo>
                    <a:pt x="1994763" y="0"/>
                  </a:lnTo>
                  <a:close/>
                </a:path>
                <a:path w="3319145" h="394969">
                  <a:moveTo>
                    <a:pt x="2061781" y="0"/>
                  </a:moveTo>
                  <a:lnTo>
                    <a:pt x="2023681" y="0"/>
                  </a:lnTo>
                  <a:lnTo>
                    <a:pt x="2023681" y="9144"/>
                  </a:lnTo>
                  <a:lnTo>
                    <a:pt x="2061781" y="9144"/>
                  </a:lnTo>
                  <a:lnTo>
                    <a:pt x="2061781" y="0"/>
                  </a:lnTo>
                  <a:close/>
                </a:path>
                <a:path w="3319145" h="394969">
                  <a:moveTo>
                    <a:pt x="2099881" y="0"/>
                  </a:moveTo>
                  <a:lnTo>
                    <a:pt x="2090737" y="0"/>
                  </a:lnTo>
                  <a:lnTo>
                    <a:pt x="2090737" y="9144"/>
                  </a:lnTo>
                  <a:lnTo>
                    <a:pt x="2099881" y="9144"/>
                  </a:lnTo>
                  <a:lnTo>
                    <a:pt x="2099881" y="0"/>
                  </a:lnTo>
                  <a:close/>
                </a:path>
                <a:path w="3319145" h="394969">
                  <a:moveTo>
                    <a:pt x="2166937" y="0"/>
                  </a:moveTo>
                  <a:lnTo>
                    <a:pt x="2128837" y="0"/>
                  </a:lnTo>
                  <a:lnTo>
                    <a:pt x="2128837" y="9144"/>
                  </a:lnTo>
                  <a:lnTo>
                    <a:pt x="2166937" y="9144"/>
                  </a:lnTo>
                  <a:lnTo>
                    <a:pt x="2166937" y="0"/>
                  </a:lnTo>
                  <a:close/>
                </a:path>
                <a:path w="3319145" h="394969">
                  <a:moveTo>
                    <a:pt x="2205037" y="0"/>
                  </a:moveTo>
                  <a:lnTo>
                    <a:pt x="2194369" y="0"/>
                  </a:lnTo>
                  <a:lnTo>
                    <a:pt x="2194369" y="9144"/>
                  </a:lnTo>
                  <a:lnTo>
                    <a:pt x="2205037" y="9144"/>
                  </a:lnTo>
                  <a:lnTo>
                    <a:pt x="2205037" y="0"/>
                  </a:lnTo>
                  <a:close/>
                </a:path>
                <a:path w="3319145" h="394969">
                  <a:moveTo>
                    <a:pt x="2270569" y="0"/>
                  </a:moveTo>
                  <a:lnTo>
                    <a:pt x="2232469" y="0"/>
                  </a:lnTo>
                  <a:lnTo>
                    <a:pt x="2232469" y="9144"/>
                  </a:lnTo>
                  <a:lnTo>
                    <a:pt x="2270569" y="9144"/>
                  </a:lnTo>
                  <a:lnTo>
                    <a:pt x="2270569" y="0"/>
                  </a:lnTo>
                  <a:close/>
                </a:path>
                <a:path w="3319145" h="394969">
                  <a:moveTo>
                    <a:pt x="2308644" y="0"/>
                  </a:moveTo>
                  <a:lnTo>
                    <a:pt x="2299500" y="0"/>
                  </a:lnTo>
                  <a:lnTo>
                    <a:pt x="2299500" y="9144"/>
                  </a:lnTo>
                  <a:lnTo>
                    <a:pt x="2308644" y="9144"/>
                  </a:lnTo>
                  <a:lnTo>
                    <a:pt x="2308644" y="0"/>
                  </a:lnTo>
                  <a:close/>
                </a:path>
                <a:path w="3319145" h="394969">
                  <a:moveTo>
                    <a:pt x="2375700" y="0"/>
                  </a:moveTo>
                  <a:lnTo>
                    <a:pt x="2337600" y="0"/>
                  </a:lnTo>
                  <a:lnTo>
                    <a:pt x="2337600" y="9144"/>
                  </a:lnTo>
                  <a:lnTo>
                    <a:pt x="2375700" y="9144"/>
                  </a:lnTo>
                  <a:lnTo>
                    <a:pt x="2375700" y="0"/>
                  </a:lnTo>
                  <a:close/>
                </a:path>
                <a:path w="3319145" h="394969">
                  <a:moveTo>
                    <a:pt x="2413800" y="0"/>
                  </a:moveTo>
                  <a:lnTo>
                    <a:pt x="2404656" y="0"/>
                  </a:lnTo>
                  <a:lnTo>
                    <a:pt x="2404656" y="9144"/>
                  </a:lnTo>
                  <a:lnTo>
                    <a:pt x="2413800" y="9144"/>
                  </a:lnTo>
                  <a:lnTo>
                    <a:pt x="2413800" y="0"/>
                  </a:lnTo>
                  <a:close/>
                </a:path>
                <a:path w="3319145" h="394969">
                  <a:moveTo>
                    <a:pt x="2480856" y="0"/>
                  </a:moveTo>
                  <a:lnTo>
                    <a:pt x="2442756" y="0"/>
                  </a:lnTo>
                  <a:lnTo>
                    <a:pt x="2442756" y="9144"/>
                  </a:lnTo>
                  <a:lnTo>
                    <a:pt x="2480856" y="9144"/>
                  </a:lnTo>
                  <a:lnTo>
                    <a:pt x="2480856" y="0"/>
                  </a:lnTo>
                  <a:close/>
                </a:path>
                <a:path w="3319145" h="394969">
                  <a:moveTo>
                    <a:pt x="2518956" y="0"/>
                  </a:moveTo>
                  <a:lnTo>
                    <a:pt x="2509812" y="0"/>
                  </a:lnTo>
                  <a:lnTo>
                    <a:pt x="2509812" y="9144"/>
                  </a:lnTo>
                  <a:lnTo>
                    <a:pt x="2518956" y="9144"/>
                  </a:lnTo>
                  <a:lnTo>
                    <a:pt x="2518956" y="0"/>
                  </a:lnTo>
                  <a:close/>
                </a:path>
                <a:path w="3319145" h="394969">
                  <a:moveTo>
                    <a:pt x="2586012" y="0"/>
                  </a:moveTo>
                  <a:lnTo>
                    <a:pt x="2547912" y="0"/>
                  </a:lnTo>
                  <a:lnTo>
                    <a:pt x="2547912" y="9144"/>
                  </a:lnTo>
                  <a:lnTo>
                    <a:pt x="2586012" y="9144"/>
                  </a:lnTo>
                  <a:lnTo>
                    <a:pt x="2586012" y="0"/>
                  </a:lnTo>
                  <a:close/>
                </a:path>
                <a:path w="3319145" h="394969">
                  <a:moveTo>
                    <a:pt x="2624112" y="0"/>
                  </a:moveTo>
                  <a:lnTo>
                    <a:pt x="2613444" y="0"/>
                  </a:lnTo>
                  <a:lnTo>
                    <a:pt x="2613444" y="9144"/>
                  </a:lnTo>
                  <a:lnTo>
                    <a:pt x="2624112" y="9144"/>
                  </a:lnTo>
                  <a:lnTo>
                    <a:pt x="2624112" y="0"/>
                  </a:lnTo>
                  <a:close/>
                </a:path>
                <a:path w="3319145" h="394969">
                  <a:moveTo>
                    <a:pt x="2689644" y="0"/>
                  </a:moveTo>
                  <a:lnTo>
                    <a:pt x="2651544" y="0"/>
                  </a:lnTo>
                  <a:lnTo>
                    <a:pt x="2651544" y="9144"/>
                  </a:lnTo>
                  <a:lnTo>
                    <a:pt x="2689644" y="9144"/>
                  </a:lnTo>
                  <a:lnTo>
                    <a:pt x="2689644" y="0"/>
                  </a:lnTo>
                  <a:close/>
                </a:path>
                <a:path w="3319145" h="394969">
                  <a:moveTo>
                    <a:pt x="2727718" y="0"/>
                  </a:moveTo>
                  <a:lnTo>
                    <a:pt x="2718600" y="0"/>
                  </a:lnTo>
                  <a:lnTo>
                    <a:pt x="2718600" y="9144"/>
                  </a:lnTo>
                  <a:lnTo>
                    <a:pt x="2727718" y="9144"/>
                  </a:lnTo>
                  <a:lnTo>
                    <a:pt x="2727718" y="0"/>
                  </a:lnTo>
                  <a:close/>
                </a:path>
                <a:path w="3319145" h="394969">
                  <a:moveTo>
                    <a:pt x="2794774" y="0"/>
                  </a:moveTo>
                  <a:lnTo>
                    <a:pt x="2756674" y="0"/>
                  </a:lnTo>
                  <a:lnTo>
                    <a:pt x="2756674" y="9144"/>
                  </a:lnTo>
                  <a:lnTo>
                    <a:pt x="2794774" y="9144"/>
                  </a:lnTo>
                  <a:lnTo>
                    <a:pt x="2794774" y="0"/>
                  </a:lnTo>
                  <a:close/>
                </a:path>
                <a:path w="3319145" h="394969">
                  <a:moveTo>
                    <a:pt x="2832874" y="0"/>
                  </a:moveTo>
                  <a:lnTo>
                    <a:pt x="2823730" y="0"/>
                  </a:lnTo>
                  <a:lnTo>
                    <a:pt x="2823730" y="9144"/>
                  </a:lnTo>
                  <a:lnTo>
                    <a:pt x="2832874" y="9144"/>
                  </a:lnTo>
                  <a:lnTo>
                    <a:pt x="2832874" y="0"/>
                  </a:lnTo>
                  <a:close/>
                </a:path>
                <a:path w="3319145" h="394969">
                  <a:moveTo>
                    <a:pt x="2899930" y="0"/>
                  </a:moveTo>
                  <a:lnTo>
                    <a:pt x="2861830" y="0"/>
                  </a:lnTo>
                  <a:lnTo>
                    <a:pt x="2861830" y="9144"/>
                  </a:lnTo>
                  <a:lnTo>
                    <a:pt x="2899930" y="9144"/>
                  </a:lnTo>
                  <a:lnTo>
                    <a:pt x="2899930" y="0"/>
                  </a:lnTo>
                  <a:close/>
                </a:path>
                <a:path w="3319145" h="394969">
                  <a:moveTo>
                    <a:pt x="2938030" y="0"/>
                  </a:moveTo>
                  <a:lnTo>
                    <a:pt x="2928886" y="0"/>
                  </a:lnTo>
                  <a:lnTo>
                    <a:pt x="2928886" y="9144"/>
                  </a:lnTo>
                  <a:lnTo>
                    <a:pt x="2938030" y="9144"/>
                  </a:lnTo>
                  <a:lnTo>
                    <a:pt x="2938030" y="0"/>
                  </a:lnTo>
                  <a:close/>
                </a:path>
                <a:path w="3319145" h="394969">
                  <a:moveTo>
                    <a:pt x="3005086" y="0"/>
                  </a:moveTo>
                  <a:lnTo>
                    <a:pt x="2966986" y="0"/>
                  </a:lnTo>
                  <a:lnTo>
                    <a:pt x="2966986" y="9144"/>
                  </a:lnTo>
                  <a:lnTo>
                    <a:pt x="3005086" y="9144"/>
                  </a:lnTo>
                  <a:lnTo>
                    <a:pt x="3005086" y="0"/>
                  </a:lnTo>
                  <a:close/>
                </a:path>
                <a:path w="3319145" h="394969">
                  <a:moveTo>
                    <a:pt x="3043186" y="0"/>
                  </a:moveTo>
                  <a:lnTo>
                    <a:pt x="3032518" y="0"/>
                  </a:lnTo>
                  <a:lnTo>
                    <a:pt x="3032518" y="9144"/>
                  </a:lnTo>
                  <a:lnTo>
                    <a:pt x="3043186" y="9144"/>
                  </a:lnTo>
                  <a:lnTo>
                    <a:pt x="3043186" y="0"/>
                  </a:lnTo>
                  <a:close/>
                </a:path>
                <a:path w="3319145" h="394969">
                  <a:moveTo>
                    <a:pt x="3108718" y="0"/>
                  </a:moveTo>
                  <a:lnTo>
                    <a:pt x="3070618" y="0"/>
                  </a:lnTo>
                  <a:lnTo>
                    <a:pt x="3070618" y="9144"/>
                  </a:lnTo>
                  <a:lnTo>
                    <a:pt x="3108718" y="9144"/>
                  </a:lnTo>
                  <a:lnTo>
                    <a:pt x="3108718" y="0"/>
                  </a:lnTo>
                  <a:close/>
                </a:path>
                <a:path w="3319145" h="394969">
                  <a:moveTo>
                    <a:pt x="3146818" y="0"/>
                  </a:moveTo>
                  <a:lnTo>
                    <a:pt x="3137674" y="0"/>
                  </a:lnTo>
                  <a:lnTo>
                    <a:pt x="3137674" y="9144"/>
                  </a:lnTo>
                  <a:lnTo>
                    <a:pt x="3146818" y="9144"/>
                  </a:lnTo>
                  <a:lnTo>
                    <a:pt x="3146818" y="0"/>
                  </a:lnTo>
                  <a:close/>
                </a:path>
                <a:path w="3319145" h="394969">
                  <a:moveTo>
                    <a:pt x="3213836" y="0"/>
                  </a:moveTo>
                  <a:lnTo>
                    <a:pt x="3175736" y="0"/>
                  </a:lnTo>
                  <a:lnTo>
                    <a:pt x="3175736" y="9144"/>
                  </a:lnTo>
                  <a:lnTo>
                    <a:pt x="3213836" y="9144"/>
                  </a:lnTo>
                  <a:lnTo>
                    <a:pt x="3213836" y="0"/>
                  </a:lnTo>
                  <a:close/>
                </a:path>
                <a:path w="3319145" h="394969">
                  <a:moveTo>
                    <a:pt x="3251936" y="0"/>
                  </a:moveTo>
                  <a:lnTo>
                    <a:pt x="3242792" y="0"/>
                  </a:lnTo>
                  <a:lnTo>
                    <a:pt x="3242792" y="9144"/>
                  </a:lnTo>
                  <a:lnTo>
                    <a:pt x="3251936" y="9144"/>
                  </a:lnTo>
                  <a:lnTo>
                    <a:pt x="3251936" y="0"/>
                  </a:lnTo>
                  <a:close/>
                </a:path>
                <a:path w="3319145" h="394969">
                  <a:moveTo>
                    <a:pt x="3318992" y="0"/>
                  </a:moveTo>
                  <a:lnTo>
                    <a:pt x="3280892" y="0"/>
                  </a:lnTo>
                  <a:lnTo>
                    <a:pt x="3280892" y="9144"/>
                  </a:lnTo>
                  <a:lnTo>
                    <a:pt x="3318992" y="9144"/>
                  </a:lnTo>
                  <a:lnTo>
                    <a:pt x="3318992" y="0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8404669" y="1626476"/>
              <a:ext cx="81280" cy="2266315"/>
            </a:xfrm>
            <a:custGeom>
              <a:avLst/>
              <a:gdLst/>
              <a:ahLst/>
              <a:cxnLst/>
              <a:rect l="l" t="t" r="r" b="b"/>
              <a:pathLst>
                <a:path w="81279" h="2266315">
                  <a:moveTo>
                    <a:pt x="38100" y="0"/>
                  </a:moveTo>
                  <a:lnTo>
                    <a:pt x="0" y="0"/>
                  </a:lnTo>
                  <a:lnTo>
                    <a:pt x="0" y="9144"/>
                  </a:lnTo>
                  <a:lnTo>
                    <a:pt x="38100" y="9144"/>
                  </a:lnTo>
                  <a:lnTo>
                    <a:pt x="38100" y="0"/>
                  </a:lnTo>
                  <a:close/>
                </a:path>
                <a:path w="81279" h="2266315">
                  <a:moveTo>
                    <a:pt x="80772" y="2234006"/>
                  </a:moveTo>
                  <a:lnTo>
                    <a:pt x="71628" y="2234006"/>
                  </a:lnTo>
                  <a:lnTo>
                    <a:pt x="71628" y="2266010"/>
                  </a:lnTo>
                  <a:lnTo>
                    <a:pt x="80772" y="2266010"/>
                  </a:lnTo>
                  <a:lnTo>
                    <a:pt x="80772" y="2234006"/>
                  </a:lnTo>
                  <a:close/>
                </a:path>
                <a:path w="81279" h="2266315">
                  <a:moveTo>
                    <a:pt x="80772" y="2195931"/>
                  </a:moveTo>
                  <a:lnTo>
                    <a:pt x="71628" y="2195931"/>
                  </a:lnTo>
                  <a:lnTo>
                    <a:pt x="71628" y="2205075"/>
                  </a:lnTo>
                  <a:lnTo>
                    <a:pt x="80772" y="2205075"/>
                  </a:lnTo>
                  <a:lnTo>
                    <a:pt x="80772" y="2195931"/>
                  </a:lnTo>
                  <a:close/>
                </a:path>
                <a:path w="81279" h="2266315">
                  <a:moveTo>
                    <a:pt x="80772" y="2128875"/>
                  </a:moveTo>
                  <a:lnTo>
                    <a:pt x="71628" y="2128875"/>
                  </a:lnTo>
                  <a:lnTo>
                    <a:pt x="71628" y="2166975"/>
                  </a:lnTo>
                  <a:lnTo>
                    <a:pt x="80772" y="2166975"/>
                  </a:lnTo>
                  <a:lnTo>
                    <a:pt x="80772" y="2128875"/>
                  </a:lnTo>
                  <a:close/>
                </a:path>
                <a:path w="81279" h="2266315">
                  <a:moveTo>
                    <a:pt x="80772" y="2090775"/>
                  </a:moveTo>
                  <a:lnTo>
                    <a:pt x="71628" y="2090775"/>
                  </a:lnTo>
                  <a:lnTo>
                    <a:pt x="71628" y="2099919"/>
                  </a:lnTo>
                  <a:lnTo>
                    <a:pt x="80772" y="2099919"/>
                  </a:lnTo>
                  <a:lnTo>
                    <a:pt x="80772" y="2090775"/>
                  </a:lnTo>
                  <a:close/>
                </a:path>
                <a:path w="81279" h="2266315">
                  <a:moveTo>
                    <a:pt x="80772" y="2023719"/>
                  </a:moveTo>
                  <a:lnTo>
                    <a:pt x="71628" y="2023719"/>
                  </a:lnTo>
                  <a:lnTo>
                    <a:pt x="71628" y="2061819"/>
                  </a:lnTo>
                  <a:lnTo>
                    <a:pt x="80772" y="2061819"/>
                  </a:lnTo>
                  <a:lnTo>
                    <a:pt x="80772" y="2023719"/>
                  </a:lnTo>
                  <a:close/>
                </a:path>
                <a:path w="81279" h="2266315">
                  <a:moveTo>
                    <a:pt x="80772" y="1985619"/>
                  </a:moveTo>
                  <a:lnTo>
                    <a:pt x="71628" y="1985619"/>
                  </a:lnTo>
                  <a:lnTo>
                    <a:pt x="71628" y="1994763"/>
                  </a:lnTo>
                  <a:lnTo>
                    <a:pt x="80772" y="1994763"/>
                  </a:lnTo>
                  <a:lnTo>
                    <a:pt x="80772" y="1985619"/>
                  </a:lnTo>
                  <a:close/>
                </a:path>
                <a:path w="81279" h="2266315">
                  <a:moveTo>
                    <a:pt x="80772" y="1918563"/>
                  </a:moveTo>
                  <a:lnTo>
                    <a:pt x="71628" y="1918563"/>
                  </a:lnTo>
                  <a:lnTo>
                    <a:pt x="71628" y="1956663"/>
                  </a:lnTo>
                  <a:lnTo>
                    <a:pt x="80772" y="1956663"/>
                  </a:lnTo>
                  <a:lnTo>
                    <a:pt x="80772" y="1918563"/>
                  </a:lnTo>
                  <a:close/>
                </a:path>
                <a:path w="81279" h="2266315">
                  <a:moveTo>
                    <a:pt x="80772" y="1880463"/>
                  </a:moveTo>
                  <a:lnTo>
                    <a:pt x="71628" y="1880463"/>
                  </a:lnTo>
                  <a:lnTo>
                    <a:pt x="71628" y="1891131"/>
                  </a:lnTo>
                  <a:lnTo>
                    <a:pt x="80772" y="1891131"/>
                  </a:lnTo>
                  <a:lnTo>
                    <a:pt x="80772" y="1880463"/>
                  </a:lnTo>
                  <a:close/>
                </a:path>
                <a:path w="81279" h="2266315">
                  <a:moveTo>
                    <a:pt x="80772" y="1814931"/>
                  </a:moveTo>
                  <a:lnTo>
                    <a:pt x="71628" y="1814931"/>
                  </a:lnTo>
                  <a:lnTo>
                    <a:pt x="71628" y="1853031"/>
                  </a:lnTo>
                  <a:lnTo>
                    <a:pt x="80772" y="1853031"/>
                  </a:lnTo>
                  <a:lnTo>
                    <a:pt x="80772" y="1814931"/>
                  </a:lnTo>
                  <a:close/>
                </a:path>
                <a:path w="81279" h="2266315">
                  <a:moveTo>
                    <a:pt x="80772" y="1776869"/>
                  </a:moveTo>
                  <a:lnTo>
                    <a:pt x="71628" y="1776869"/>
                  </a:lnTo>
                  <a:lnTo>
                    <a:pt x="71628" y="1785975"/>
                  </a:lnTo>
                  <a:lnTo>
                    <a:pt x="80772" y="1785975"/>
                  </a:lnTo>
                  <a:lnTo>
                    <a:pt x="80772" y="1776869"/>
                  </a:lnTo>
                  <a:close/>
                </a:path>
                <a:path w="81279" h="2266315">
                  <a:moveTo>
                    <a:pt x="80772" y="1709813"/>
                  </a:moveTo>
                  <a:lnTo>
                    <a:pt x="71628" y="1709813"/>
                  </a:lnTo>
                  <a:lnTo>
                    <a:pt x="71628" y="1747913"/>
                  </a:lnTo>
                  <a:lnTo>
                    <a:pt x="80772" y="1747913"/>
                  </a:lnTo>
                  <a:lnTo>
                    <a:pt x="80772" y="1709813"/>
                  </a:lnTo>
                  <a:close/>
                </a:path>
                <a:path w="81279" h="2266315">
                  <a:moveTo>
                    <a:pt x="80772" y="1671713"/>
                  </a:moveTo>
                  <a:lnTo>
                    <a:pt x="71628" y="1671713"/>
                  </a:lnTo>
                  <a:lnTo>
                    <a:pt x="71628" y="1680857"/>
                  </a:lnTo>
                  <a:lnTo>
                    <a:pt x="80772" y="1680857"/>
                  </a:lnTo>
                  <a:lnTo>
                    <a:pt x="80772" y="1671713"/>
                  </a:lnTo>
                  <a:close/>
                </a:path>
                <a:path w="81279" h="2266315">
                  <a:moveTo>
                    <a:pt x="80772" y="1604657"/>
                  </a:moveTo>
                  <a:lnTo>
                    <a:pt x="71628" y="1604657"/>
                  </a:lnTo>
                  <a:lnTo>
                    <a:pt x="71628" y="1642757"/>
                  </a:lnTo>
                  <a:lnTo>
                    <a:pt x="80772" y="1642757"/>
                  </a:lnTo>
                  <a:lnTo>
                    <a:pt x="80772" y="1604657"/>
                  </a:lnTo>
                  <a:close/>
                </a:path>
                <a:path w="81279" h="2266315">
                  <a:moveTo>
                    <a:pt x="80772" y="1566557"/>
                  </a:moveTo>
                  <a:lnTo>
                    <a:pt x="71628" y="1566557"/>
                  </a:lnTo>
                  <a:lnTo>
                    <a:pt x="71628" y="1575701"/>
                  </a:lnTo>
                  <a:lnTo>
                    <a:pt x="80772" y="1575701"/>
                  </a:lnTo>
                  <a:lnTo>
                    <a:pt x="80772" y="1566557"/>
                  </a:lnTo>
                  <a:close/>
                </a:path>
                <a:path w="81279" h="2266315">
                  <a:moveTo>
                    <a:pt x="80772" y="1499501"/>
                  </a:moveTo>
                  <a:lnTo>
                    <a:pt x="71628" y="1499501"/>
                  </a:lnTo>
                  <a:lnTo>
                    <a:pt x="71628" y="1537601"/>
                  </a:lnTo>
                  <a:lnTo>
                    <a:pt x="80772" y="1537601"/>
                  </a:lnTo>
                  <a:lnTo>
                    <a:pt x="80772" y="1499501"/>
                  </a:lnTo>
                  <a:close/>
                </a:path>
                <a:path w="81279" h="2266315">
                  <a:moveTo>
                    <a:pt x="80772" y="1461427"/>
                  </a:moveTo>
                  <a:lnTo>
                    <a:pt x="71628" y="1461427"/>
                  </a:lnTo>
                  <a:lnTo>
                    <a:pt x="71628" y="1472095"/>
                  </a:lnTo>
                  <a:lnTo>
                    <a:pt x="80772" y="1472095"/>
                  </a:lnTo>
                  <a:lnTo>
                    <a:pt x="80772" y="1461427"/>
                  </a:lnTo>
                  <a:close/>
                </a:path>
                <a:path w="81279" h="2266315">
                  <a:moveTo>
                    <a:pt x="80772" y="1395895"/>
                  </a:moveTo>
                  <a:lnTo>
                    <a:pt x="71628" y="1395895"/>
                  </a:lnTo>
                  <a:lnTo>
                    <a:pt x="71628" y="1433995"/>
                  </a:lnTo>
                  <a:lnTo>
                    <a:pt x="80772" y="1433995"/>
                  </a:lnTo>
                  <a:lnTo>
                    <a:pt x="80772" y="1395895"/>
                  </a:lnTo>
                  <a:close/>
                </a:path>
                <a:path w="81279" h="2266315">
                  <a:moveTo>
                    <a:pt x="80772" y="1357795"/>
                  </a:moveTo>
                  <a:lnTo>
                    <a:pt x="71628" y="1357795"/>
                  </a:lnTo>
                  <a:lnTo>
                    <a:pt x="71628" y="1366939"/>
                  </a:lnTo>
                  <a:lnTo>
                    <a:pt x="80772" y="1366939"/>
                  </a:lnTo>
                  <a:lnTo>
                    <a:pt x="80772" y="1357795"/>
                  </a:lnTo>
                  <a:close/>
                </a:path>
                <a:path w="81279" h="2266315">
                  <a:moveTo>
                    <a:pt x="80772" y="1290739"/>
                  </a:moveTo>
                  <a:lnTo>
                    <a:pt x="71628" y="1290739"/>
                  </a:lnTo>
                  <a:lnTo>
                    <a:pt x="71628" y="1328839"/>
                  </a:lnTo>
                  <a:lnTo>
                    <a:pt x="80772" y="1328839"/>
                  </a:lnTo>
                  <a:lnTo>
                    <a:pt x="80772" y="1290739"/>
                  </a:lnTo>
                  <a:close/>
                </a:path>
                <a:path w="81279" h="2266315">
                  <a:moveTo>
                    <a:pt x="80772" y="1252639"/>
                  </a:moveTo>
                  <a:lnTo>
                    <a:pt x="71628" y="1252639"/>
                  </a:lnTo>
                  <a:lnTo>
                    <a:pt x="71628" y="1261783"/>
                  </a:lnTo>
                  <a:lnTo>
                    <a:pt x="80772" y="1261783"/>
                  </a:lnTo>
                  <a:lnTo>
                    <a:pt x="80772" y="1252639"/>
                  </a:lnTo>
                  <a:close/>
                </a:path>
                <a:path w="81279" h="2266315">
                  <a:moveTo>
                    <a:pt x="80772" y="1185583"/>
                  </a:moveTo>
                  <a:lnTo>
                    <a:pt x="71628" y="1185583"/>
                  </a:lnTo>
                  <a:lnTo>
                    <a:pt x="71628" y="1223683"/>
                  </a:lnTo>
                  <a:lnTo>
                    <a:pt x="80772" y="1223683"/>
                  </a:lnTo>
                  <a:lnTo>
                    <a:pt x="80772" y="1185583"/>
                  </a:lnTo>
                  <a:close/>
                </a:path>
                <a:path w="81279" h="2266315">
                  <a:moveTo>
                    <a:pt x="80772" y="1147483"/>
                  </a:moveTo>
                  <a:lnTo>
                    <a:pt x="71628" y="1147483"/>
                  </a:lnTo>
                  <a:lnTo>
                    <a:pt x="71628" y="1156627"/>
                  </a:lnTo>
                  <a:lnTo>
                    <a:pt x="80772" y="1156627"/>
                  </a:lnTo>
                  <a:lnTo>
                    <a:pt x="80772" y="1147483"/>
                  </a:lnTo>
                  <a:close/>
                </a:path>
                <a:path w="81279" h="2266315">
                  <a:moveTo>
                    <a:pt x="80772" y="1080427"/>
                  </a:moveTo>
                  <a:lnTo>
                    <a:pt x="71628" y="1080427"/>
                  </a:lnTo>
                  <a:lnTo>
                    <a:pt x="71628" y="1118527"/>
                  </a:lnTo>
                  <a:lnTo>
                    <a:pt x="80772" y="1118527"/>
                  </a:lnTo>
                  <a:lnTo>
                    <a:pt x="80772" y="1080427"/>
                  </a:lnTo>
                  <a:close/>
                </a:path>
                <a:path w="81279" h="2266315">
                  <a:moveTo>
                    <a:pt x="80772" y="1042352"/>
                  </a:moveTo>
                  <a:lnTo>
                    <a:pt x="71628" y="1042352"/>
                  </a:lnTo>
                  <a:lnTo>
                    <a:pt x="71628" y="1053020"/>
                  </a:lnTo>
                  <a:lnTo>
                    <a:pt x="80772" y="1053020"/>
                  </a:lnTo>
                  <a:lnTo>
                    <a:pt x="80772" y="1042352"/>
                  </a:lnTo>
                  <a:close/>
                </a:path>
                <a:path w="81279" h="2266315">
                  <a:moveTo>
                    <a:pt x="80772" y="976820"/>
                  </a:moveTo>
                  <a:lnTo>
                    <a:pt x="71628" y="976820"/>
                  </a:lnTo>
                  <a:lnTo>
                    <a:pt x="71628" y="1014920"/>
                  </a:lnTo>
                  <a:lnTo>
                    <a:pt x="80772" y="1014920"/>
                  </a:lnTo>
                  <a:lnTo>
                    <a:pt x="80772" y="976820"/>
                  </a:lnTo>
                  <a:close/>
                </a:path>
                <a:path w="81279" h="2266315">
                  <a:moveTo>
                    <a:pt x="80772" y="938720"/>
                  </a:moveTo>
                  <a:lnTo>
                    <a:pt x="71628" y="938720"/>
                  </a:lnTo>
                  <a:lnTo>
                    <a:pt x="71628" y="947864"/>
                  </a:lnTo>
                  <a:lnTo>
                    <a:pt x="80772" y="947864"/>
                  </a:lnTo>
                  <a:lnTo>
                    <a:pt x="80772" y="938720"/>
                  </a:lnTo>
                  <a:close/>
                </a:path>
                <a:path w="81279" h="2266315">
                  <a:moveTo>
                    <a:pt x="80772" y="871664"/>
                  </a:moveTo>
                  <a:lnTo>
                    <a:pt x="71628" y="871664"/>
                  </a:lnTo>
                  <a:lnTo>
                    <a:pt x="71628" y="909764"/>
                  </a:lnTo>
                  <a:lnTo>
                    <a:pt x="80772" y="909764"/>
                  </a:lnTo>
                  <a:lnTo>
                    <a:pt x="80772" y="871664"/>
                  </a:lnTo>
                  <a:close/>
                </a:path>
                <a:path w="81279" h="2266315">
                  <a:moveTo>
                    <a:pt x="80772" y="833564"/>
                  </a:moveTo>
                  <a:lnTo>
                    <a:pt x="71628" y="833564"/>
                  </a:lnTo>
                  <a:lnTo>
                    <a:pt x="71628" y="842708"/>
                  </a:lnTo>
                  <a:lnTo>
                    <a:pt x="80772" y="842708"/>
                  </a:lnTo>
                  <a:lnTo>
                    <a:pt x="80772" y="833564"/>
                  </a:lnTo>
                  <a:close/>
                </a:path>
                <a:path w="81279" h="2266315">
                  <a:moveTo>
                    <a:pt x="80772" y="766546"/>
                  </a:moveTo>
                  <a:lnTo>
                    <a:pt x="71628" y="766546"/>
                  </a:lnTo>
                  <a:lnTo>
                    <a:pt x="71628" y="804608"/>
                  </a:lnTo>
                  <a:lnTo>
                    <a:pt x="80772" y="804608"/>
                  </a:lnTo>
                  <a:lnTo>
                    <a:pt x="80772" y="766546"/>
                  </a:lnTo>
                  <a:close/>
                </a:path>
                <a:path w="81279" h="2266315">
                  <a:moveTo>
                    <a:pt x="80772" y="728446"/>
                  </a:moveTo>
                  <a:lnTo>
                    <a:pt x="71628" y="728446"/>
                  </a:lnTo>
                  <a:lnTo>
                    <a:pt x="71628" y="737590"/>
                  </a:lnTo>
                  <a:lnTo>
                    <a:pt x="80772" y="737590"/>
                  </a:lnTo>
                  <a:lnTo>
                    <a:pt x="80772" y="728446"/>
                  </a:lnTo>
                  <a:close/>
                </a:path>
                <a:path w="81279" h="2266315">
                  <a:moveTo>
                    <a:pt x="80772" y="661390"/>
                  </a:moveTo>
                  <a:lnTo>
                    <a:pt x="71628" y="661390"/>
                  </a:lnTo>
                  <a:lnTo>
                    <a:pt x="71628" y="699490"/>
                  </a:lnTo>
                  <a:lnTo>
                    <a:pt x="80772" y="699490"/>
                  </a:lnTo>
                  <a:lnTo>
                    <a:pt x="80772" y="661390"/>
                  </a:lnTo>
                  <a:close/>
                </a:path>
                <a:path w="81279" h="2266315">
                  <a:moveTo>
                    <a:pt x="80772" y="623290"/>
                  </a:moveTo>
                  <a:lnTo>
                    <a:pt x="71628" y="623290"/>
                  </a:lnTo>
                  <a:lnTo>
                    <a:pt x="71628" y="633958"/>
                  </a:lnTo>
                  <a:lnTo>
                    <a:pt x="80772" y="633958"/>
                  </a:lnTo>
                  <a:lnTo>
                    <a:pt x="80772" y="623290"/>
                  </a:lnTo>
                  <a:close/>
                </a:path>
                <a:path w="81279" h="2266315">
                  <a:moveTo>
                    <a:pt x="80772" y="557758"/>
                  </a:moveTo>
                  <a:lnTo>
                    <a:pt x="71628" y="557758"/>
                  </a:lnTo>
                  <a:lnTo>
                    <a:pt x="71628" y="595858"/>
                  </a:lnTo>
                  <a:lnTo>
                    <a:pt x="80772" y="595858"/>
                  </a:lnTo>
                  <a:lnTo>
                    <a:pt x="80772" y="557758"/>
                  </a:lnTo>
                  <a:close/>
                </a:path>
                <a:path w="81279" h="2266315">
                  <a:moveTo>
                    <a:pt x="80772" y="519658"/>
                  </a:moveTo>
                  <a:lnTo>
                    <a:pt x="71628" y="519658"/>
                  </a:lnTo>
                  <a:lnTo>
                    <a:pt x="71628" y="528802"/>
                  </a:lnTo>
                  <a:lnTo>
                    <a:pt x="80772" y="528802"/>
                  </a:lnTo>
                  <a:lnTo>
                    <a:pt x="80772" y="519658"/>
                  </a:lnTo>
                  <a:close/>
                </a:path>
                <a:path w="81279" h="2266315">
                  <a:moveTo>
                    <a:pt x="80772" y="452602"/>
                  </a:moveTo>
                  <a:lnTo>
                    <a:pt x="71628" y="452602"/>
                  </a:lnTo>
                  <a:lnTo>
                    <a:pt x="71628" y="490702"/>
                  </a:lnTo>
                  <a:lnTo>
                    <a:pt x="80772" y="490702"/>
                  </a:lnTo>
                  <a:lnTo>
                    <a:pt x="80772" y="452602"/>
                  </a:lnTo>
                  <a:close/>
                </a:path>
                <a:path w="81279" h="2266315">
                  <a:moveTo>
                    <a:pt x="80772" y="414502"/>
                  </a:moveTo>
                  <a:lnTo>
                    <a:pt x="71628" y="414502"/>
                  </a:lnTo>
                  <a:lnTo>
                    <a:pt x="71628" y="423646"/>
                  </a:lnTo>
                  <a:lnTo>
                    <a:pt x="80772" y="423646"/>
                  </a:lnTo>
                  <a:lnTo>
                    <a:pt x="80772" y="414502"/>
                  </a:lnTo>
                  <a:close/>
                </a:path>
                <a:path w="81279" h="2266315">
                  <a:moveTo>
                    <a:pt x="80772" y="347472"/>
                  </a:moveTo>
                  <a:lnTo>
                    <a:pt x="71628" y="347472"/>
                  </a:lnTo>
                  <a:lnTo>
                    <a:pt x="71628" y="385546"/>
                  </a:lnTo>
                  <a:lnTo>
                    <a:pt x="80772" y="385546"/>
                  </a:lnTo>
                  <a:lnTo>
                    <a:pt x="80772" y="347472"/>
                  </a:lnTo>
                  <a:close/>
                </a:path>
                <a:path w="81279" h="2266315">
                  <a:moveTo>
                    <a:pt x="80772" y="309372"/>
                  </a:moveTo>
                  <a:lnTo>
                    <a:pt x="71628" y="309372"/>
                  </a:lnTo>
                  <a:lnTo>
                    <a:pt x="71628" y="318516"/>
                  </a:lnTo>
                  <a:lnTo>
                    <a:pt x="80772" y="318516"/>
                  </a:lnTo>
                  <a:lnTo>
                    <a:pt x="80772" y="309372"/>
                  </a:lnTo>
                  <a:close/>
                </a:path>
                <a:path w="81279" h="2266315">
                  <a:moveTo>
                    <a:pt x="80772" y="242316"/>
                  </a:moveTo>
                  <a:lnTo>
                    <a:pt x="71628" y="242316"/>
                  </a:lnTo>
                  <a:lnTo>
                    <a:pt x="71628" y="280416"/>
                  </a:lnTo>
                  <a:lnTo>
                    <a:pt x="80772" y="280416"/>
                  </a:lnTo>
                  <a:lnTo>
                    <a:pt x="80772" y="242316"/>
                  </a:lnTo>
                  <a:close/>
                </a:path>
                <a:path w="81279" h="2266315">
                  <a:moveTo>
                    <a:pt x="80772" y="204216"/>
                  </a:moveTo>
                  <a:lnTo>
                    <a:pt x="71628" y="204216"/>
                  </a:lnTo>
                  <a:lnTo>
                    <a:pt x="71628" y="214884"/>
                  </a:lnTo>
                  <a:lnTo>
                    <a:pt x="80772" y="214884"/>
                  </a:lnTo>
                  <a:lnTo>
                    <a:pt x="80772" y="204216"/>
                  </a:lnTo>
                  <a:close/>
                </a:path>
                <a:path w="81279" h="2266315">
                  <a:moveTo>
                    <a:pt x="80772" y="138684"/>
                  </a:moveTo>
                  <a:lnTo>
                    <a:pt x="71628" y="138684"/>
                  </a:lnTo>
                  <a:lnTo>
                    <a:pt x="71628" y="176784"/>
                  </a:lnTo>
                  <a:lnTo>
                    <a:pt x="80772" y="176784"/>
                  </a:lnTo>
                  <a:lnTo>
                    <a:pt x="80772" y="138684"/>
                  </a:lnTo>
                  <a:close/>
                </a:path>
                <a:path w="81279" h="2266315">
                  <a:moveTo>
                    <a:pt x="80772" y="100584"/>
                  </a:moveTo>
                  <a:lnTo>
                    <a:pt x="71628" y="100584"/>
                  </a:lnTo>
                  <a:lnTo>
                    <a:pt x="71628" y="109728"/>
                  </a:lnTo>
                  <a:lnTo>
                    <a:pt x="80772" y="109728"/>
                  </a:lnTo>
                  <a:lnTo>
                    <a:pt x="80772" y="100584"/>
                  </a:lnTo>
                  <a:close/>
                </a:path>
                <a:path w="81279" h="2266315">
                  <a:moveTo>
                    <a:pt x="80772" y="33528"/>
                  </a:moveTo>
                  <a:lnTo>
                    <a:pt x="71628" y="33528"/>
                  </a:lnTo>
                  <a:lnTo>
                    <a:pt x="71628" y="71628"/>
                  </a:lnTo>
                  <a:lnTo>
                    <a:pt x="80772" y="71628"/>
                  </a:lnTo>
                  <a:lnTo>
                    <a:pt x="80772" y="33528"/>
                  </a:lnTo>
                  <a:close/>
                </a:path>
                <a:path w="81279" h="2266315">
                  <a:moveTo>
                    <a:pt x="80772" y="393"/>
                  </a:moveTo>
                  <a:lnTo>
                    <a:pt x="67056" y="393"/>
                  </a:lnTo>
                  <a:lnTo>
                    <a:pt x="67056" y="4203"/>
                  </a:lnTo>
                  <a:lnTo>
                    <a:pt x="67056" y="9283"/>
                  </a:lnTo>
                  <a:lnTo>
                    <a:pt x="73799" y="9283"/>
                  </a:lnTo>
                  <a:lnTo>
                    <a:pt x="73799" y="4203"/>
                  </a:lnTo>
                  <a:lnTo>
                    <a:pt x="80772" y="4203"/>
                  </a:lnTo>
                  <a:lnTo>
                    <a:pt x="80772" y="393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6652229" y="3246363"/>
              <a:ext cx="1143000" cy="646430"/>
            </a:xfrm>
            <a:custGeom>
              <a:avLst/>
              <a:gdLst/>
              <a:ahLst/>
              <a:cxnLst/>
              <a:rect l="l" t="t" r="r" b="b"/>
              <a:pathLst>
                <a:path w="1143000" h="646429">
                  <a:moveTo>
                    <a:pt x="0" y="0"/>
                  </a:moveTo>
                  <a:lnTo>
                    <a:pt x="0" y="646115"/>
                  </a:lnTo>
                  <a:lnTo>
                    <a:pt x="1142908" y="646115"/>
                  </a:lnTo>
                  <a:lnTo>
                    <a:pt x="1142908" y="89916"/>
                  </a:lnTo>
                  <a:lnTo>
                    <a:pt x="571439" y="89916"/>
                  </a:lnTo>
                  <a:lnTo>
                    <a:pt x="493931" y="89107"/>
                  </a:lnTo>
                  <a:lnTo>
                    <a:pt x="419583" y="86748"/>
                  </a:lnTo>
                  <a:lnTo>
                    <a:pt x="349076" y="82938"/>
                  </a:lnTo>
                  <a:lnTo>
                    <a:pt x="283093" y="77780"/>
                  </a:lnTo>
                  <a:lnTo>
                    <a:pt x="222317" y="71373"/>
                  </a:lnTo>
                  <a:lnTo>
                    <a:pt x="167430" y="63817"/>
                  </a:lnTo>
                  <a:lnTo>
                    <a:pt x="119114" y="55214"/>
                  </a:lnTo>
                  <a:lnTo>
                    <a:pt x="78053" y="45663"/>
                  </a:lnTo>
                  <a:lnTo>
                    <a:pt x="20423" y="24122"/>
                  </a:lnTo>
                  <a:lnTo>
                    <a:pt x="5219" y="12333"/>
                  </a:lnTo>
                  <a:lnTo>
                    <a:pt x="0" y="0"/>
                  </a:lnTo>
                  <a:close/>
                </a:path>
                <a:path w="1143000" h="646429">
                  <a:moveTo>
                    <a:pt x="1142908" y="0"/>
                  </a:moveTo>
                  <a:lnTo>
                    <a:pt x="1097974" y="35266"/>
                  </a:lnTo>
                  <a:lnTo>
                    <a:pt x="1023782" y="55214"/>
                  </a:lnTo>
                  <a:lnTo>
                    <a:pt x="975462" y="63817"/>
                  </a:lnTo>
                  <a:lnTo>
                    <a:pt x="920572" y="71373"/>
                  </a:lnTo>
                  <a:lnTo>
                    <a:pt x="859792" y="77780"/>
                  </a:lnTo>
                  <a:lnTo>
                    <a:pt x="793806" y="82938"/>
                  </a:lnTo>
                  <a:lnTo>
                    <a:pt x="723297" y="86748"/>
                  </a:lnTo>
                  <a:lnTo>
                    <a:pt x="648947" y="89107"/>
                  </a:lnTo>
                  <a:lnTo>
                    <a:pt x="571439" y="89916"/>
                  </a:lnTo>
                  <a:lnTo>
                    <a:pt x="1142908" y="89916"/>
                  </a:lnTo>
                  <a:lnTo>
                    <a:pt x="1142908" y="0"/>
                  </a:lnTo>
                  <a:close/>
                </a:path>
              </a:pathLst>
            </a:custGeom>
            <a:solidFill>
              <a:srgbClr val="BFBFB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6652229" y="3154923"/>
              <a:ext cx="1143000" cy="181610"/>
            </a:xfrm>
            <a:custGeom>
              <a:avLst/>
              <a:gdLst/>
              <a:ahLst/>
              <a:cxnLst/>
              <a:rect l="l" t="t" r="r" b="b"/>
              <a:pathLst>
                <a:path w="1143000" h="181610">
                  <a:moveTo>
                    <a:pt x="571439" y="0"/>
                  </a:moveTo>
                  <a:lnTo>
                    <a:pt x="493931" y="838"/>
                  </a:lnTo>
                  <a:lnTo>
                    <a:pt x="419583" y="3280"/>
                  </a:lnTo>
                  <a:lnTo>
                    <a:pt x="349076" y="7215"/>
                  </a:lnTo>
                  <a:lnTo>
                    <a:pt x="283093" y="12530"/>
                  </a:lnTo>
                  <a:lnTo>
                    <a:pt x="222317" y="19116"/>
                  </a:lnTo>
                  <a:lnTo>
                    <a:pt x="167430" y="26860"/>
                  </a:lnTo>
                  <a:lnTo>
                    <a:pt x="119114" y="35652"/>
                  </a:lnTo>
                  <a:lnTo>
                    <a:pt x="78053" y="45381"/>
                  </a:lnTo>
                  <a:lnTo>
                    <a:pt x="20423" y="67204"/>
                  </a:lnTo>
                  <a:lnTo>
                    <a:pt x="0" y="91440"/>
                  </a:lnTo>
                  <a:lnTo>
                    <a:pt x="5219" y="103773"/>
                  </a:lnTo>
                  <a:lnTo>
                    <a:pt x="44928" y="126706"/>
                  </a:lnTo>
                  <a:lnTo>
                    <a:pt x="119114" y="146654"/>
                  </a:lnTo>
                  <a:lnTo>
                    <a:pt x="167430" y="155257"/>
                  </a:lnTo>
                  <a:lnTo>
                    <a:pt x="222317" y="162813"/>
                  </a:lnTo>
                  <a:lnTo>
                    <a:pt x="283093" y="169220"/>
                  </a:lnTo>
                  <a:lnTo>
                    <a:pt x="349076" y="174378"/>
                  </a:lnTo>
                  <a:lnTo>
                    <a:pt x="419583" y="178188"/>
                  </a:lnTo>
                  <a:lnTo>
                    <a:pt x="493931" y="180547"/>
                  </a:lnTo>
                  <a:lnTo>
                    <a:pt x="571439" y="181356"/>
                  </a:lnTo>
                  <a:lnTo>
                    <a:pt x="648947" y="180547"/>
                  </a:lnTo>
                  <a:lnTo>
                    <a:pt x="723297" y="178188"/>
                  </a:lnTo>
                  <a:lnTo>
                    <a:pt x="793806" y="174378"/>
                  </a:lnTo>
                  <a:lnTo>
                    <a:pt x="859792" y="169220"/>
                  </a:lnTo>
                  <a:lnTo>
                    <a:pt x="920572" y="162813"/>
                  </a:lnTo>
                  <a:lnTo>
                    <a:pt x="975462" y="155257"/>
                  </a:lnTo>
                  <a:lnTo>
                    <a:pt x="1023782" y="146654"/>
                  </a:lnTo>
                  <a:lnTo>
                    <a:pt x="1064847" y="137103"/>
                  </a:lnTo>
                  <a:lnTo>
                    <a:pt x="1122482" y="115562"/>
                  </a:lnTo>
                  <a:lnTo>
                    <a:pt x="1142908" y="91440"/>
                  </a:lnTo>
                  <a:lnTo>
                    <a:pt x="1137688" y="79076"/>
                  </a:lnTo>
                  <a:lnTo>
                    <a:pt x="1097974" y="55935"/>
                  </a:lnTo>
                  <a:lnTo>
                    <a:pt x="1023782" y="35652"/>
                  </a:lnTo>
                  <a:lnTo>
                    <a:pt x="975462" y="26860"/>
                  </a:lnTo>
                  <a:lnTo>
                    <a:pt x="920572" y="19116"/>
                  </a:lnTo>
                  <a:lnTo>
                    <a:pt x="859792" y="12530"/>
                  </a:lnTo>
                  <a:lnTo>
                    <a:pt x="793806" y="7215"/>
                  </a:lnTo>
                  <a:lnTo>
                    <a:pt x="723297" y="3280"/>
                  </a:lnTo>
                  <a:lnTo>
                    <a:pt x="648947" y="838"/>
                  </a:lnTo>
                  <a:lnTo>
                    <a:pt x="571439" y="0"/>
                  </a:lnTo>
                  <a:close/>
                </a:path>
              </a:pathLst>
            </a:custGeom>
            <a:solidFill>
              <a:srgbClr val="D9D9D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6994581" y="3460718"/>
            <a:ext cx="45339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spc="-10" dirty="0">
                <a:latin typeface="Verdana"/>
                <a:cs typeface="Verdana"/>
              </a:rPr>
              <a:t>P</a:t>
            </a:r>
            <a:r>
              <a:rPr sz="1000" spc="-5" dirty="0">
                <a:latin typeface="Verdana"/>
                <a:cs typeface="Verdana"/>
              </a:rPr>
              <a:t>a</a:t>
            </a:r>
            <a:r>
              <a:rPr sz="1000" spc="-10" dirty="0">
                <a:latin typeface="Verdana"/>
                <a:cs typeface="Verdana"/>
              </a:rPr>
              <a:t>yro</a:t>
            </a:r>
            <a:r>
              <a:rPr sz="1000" spc="5" dirty="0">
                <a:latin typeface="Verdana"/>
                <a:cs typeface="Verdana"/>
              </a:rPr>
              <a:t>l</a:t>
            </a:r>
            <a:r>
              <a:rPr sz="1000" spc="-5" dirty="0">
                <a:latin typeface="Verdana"/>
                <a:cs typeface="Verdana"/>
              </a:rPr>
              <a:t>l</a:t>
            </a:r>
            <a:endParaRPr sz="1000">
              <a:latin typeface="Verdana"/>
              <a:cs typeface="Verdana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6985954" y="3630381"/>
            <a:ext cx="645160" cy="262255"/>
            <a:chOff x="6985954" y="3630381"/>
            <a:chExt cx="645160" cy="262255"/>
          </a:xfrm>
        </p:grpSpPr>
        <p:sp>
          <p:nvSpPr>
            <p:cNvPr id="12" name="object 12"/>
            <p:cNvSpPr/>
            <p:nvPr/>
          </p:nvSpPr>
          <p:spPr>
            <a:xfrm>
              <a:off x="6985954" y="3637992"/>
              <a:ext cx="572975" cy="254486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7299325" y="3630383"/>
              <a:ext cx="331470" cy="262255"/>
            </a:xfrm>
            <a:custGeom>
              <a:avLst/>
              <a:gdLst/>
              <a:ahLst/>
              <a:cxnLst/>
              <a:rect l="l" t="t" r="r" b="b"/>
              <a:pathLst>
                <a:path w="331470" h="262254">
                  <a:moveTo>
                    <a:pt x="331216" y="259054"/>
                  </a:moveTo>
                  <a:lnTo>
                    <a:pt x="285013" y="259054"/>
                  </a:lnTo>
                  <a:lnTo>
                    <a:pt x="258064" y="0"/>
                  </a:lnTo>
                  <a:lnTo>
                    <a:pt x="0" y="262102"/>
                  </a:lnTo>
                  <a:lnTo>
                    <a:pt x="8153" y="262102"/>
                  </a:lnTo>
                  <a:lnTo>
                    <a:pt x="285330" y="262102"/>
                  </a:lnTo>
                  <a:lnTo>
                    <a:pt x="331216" y="262102"/>
                  </a:lnTo>
                  <a:lnTo>
                    <a:pt x="331216" y="259054"/>
                  </a:lnTo>
                  <a:close/>
                </a:path>
              </a:pathLst>
            </a:custGeom>
            <a:solidFill>
              <a:srgbClr val="BFBFB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4869285" y="2780906"/>
            <a:ext cx="514984" cy="4591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sz="1000" spc="-5" dirty="0">
                <a:latin typeface="Verdana"/>
                <a:cs typeface="Verdana"/>
              </a:rPr>
              <a:t>S</a:t>
            </a:r>
            <a:r>
              <a:rPr sz="1000" spc="-10" dirty="0">
                <a:latin typeface="Verdana"/>
                <a:cs typeface="Verdana"/>
              </a:rPr>
              <a:t>ec</a:t>
            </a:r>
            <a:r>
              <a:rPr sz="1000" dirty="0">
                <a:latin typeface="Verdana"/>
                <a:cs typeface="Verdana"/>
              </a:rPr>
              <a:t>u</a:t>
            </a:r>
            <a:r>
              <a:rPr sz="1000" spc="-10" dirty="0">
                <a:latin typeface="Verdana"/>
                <a:cs typeface="Verdana"/>
              </a:rPr>
              <a:t>re</a:t>
            </a:r>
            <a:r>
              <a:rPr sz="1000" spc="-5" dirty="0">
                <a:latin typeface="Verdana"/>
                <a:cs typeface="Verdana"/>
              </a:rPr>
              <a:t>d  FTP</a:t>
            </a:r>
            <a:endParaRPr sz="1000">
              <a:latin typeface="Verdana"/>
              <a:cs typeface="Verdana"/>
            </a:endParaRPr>
          </a:p>
          <a:p>
            <a:pPr marL="635" algn="ctr">
              <a:lnSpc>
                <a:spcPct val="100000"/>
              </a:lnSpc>
            </a:pPr>
            <a:r>
              <a:rPr sz="1000" spc="-10" dirty="0">
                <a:latin typeface="Verdana"/>
                <a:cs typeface="Verdana"/>
              </a:rPr>
              <a:t>Server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4747381" y="2050118"/>
            <a:ext cx="762000" cy="1828800"/>
          </a:xfrm>
          <a:custGeom>
            <a:avLst/>
            <a:gdLst/>
            <a:ahLst/>
            <a:cxnLst/>
            <a:rect l="l" t="t" r="r" b="b"/>
            <a:pathLst>
              <a:path w="762000" h="1828800">
                <a:moveTo>
                  <a:pt x="761939" y="0"/>
                </a:moveTo>
                <a:lnTo>
                  <a:pt x="0" y="0"/>
                </a:lnTo>
                <a:lnTo>
                  <a:pt x="0" y="1828644"/>
                </a:lnTo>
                <a:lnTo>
                  <a:pt x="761939" y="1828644"/>
                </a:lnTo>
                <a:lnTo>
                  <a:pt x="761939" y="0"/>
                </a:lnTo>
                <a:close/>
              </a:path>
            </a:pathLst>
          </a:custGeom>
          <a:solidFill>
            <a:srgbClr val="FFCC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4747381" y="2768885"/>
            <a:ext cx="762000" cy="48196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1285" marR="117475" algn="ctr">
              <a:lnSpc>
                <a:spcPct val="100000"/>
              </a:lnSpc>
              <a:spcBef>
                <a:spcPts val="95"/>
              </a:spcBef>
            </a:pPr>
            <a:r>
              <a:rPr sz="1000" spc="-5" dirty="0">
                <a:latin typeface="Verdana"/>
                <a:cs typeface="Verdana"/>
              </a:rPr>
              <a:t>S</a:t>
            </a:r>
            <a:r>
              <a:rPr sz="1000" spc="-10" dirty="0">
                <a:latin typeface="Verdana"/>
                <a:cs typeface="Verdana"/>
              </a:rPr>
              <a:t>ec</a:t>
            </a:r>
            <a:r>
              <a:rPr sz="1000" dirty="0">
                <a:latin typeface="Verdana"/>
                <a:cs typeface="Verdana"/>
              </a:rPr>
              <a:t>u</a:t>
            </a:r>
            <a:r>
              <a:rPr sz="1000" spc="-10" dirty="0">
                <a:latin typeface="Verdana"/>
                <a:cs typeface="Verdana"/>
              </a:rPr>
              <a:t>re</a:t>
            </a:r>
            <a:r>
              <a:rPr sz="1000" spc="-5" dirty="0">
                <a:latin typeface="Verdana"/>
                <a:cs typeface="Verdana"/>
              </a:rPr>
              <a:t>d  FTP</a:t>
            </a:r>
            <a:endParaRPr sz="1000">
              <a:latin typeface="Verdana"/>
              <a:cs typeface="Verdana"/>
            </a:endParaRPr>
          </a:p>
          <a:p>
            <a:pPr algn="ctr">
              <a:lnSpc>
                <a:spcPct val="100000"/>
              </a:lnSpc>
            </a:pPr>
            <a:r>
              <a:rPr sz="1000" spc="-10" dirty="0">
                <a:latin typeface="Verdana"/>
                <a:cs typeface="Verdana"/>
              </a:rPr>
              <a:t>Server</a:t>
            </a:r>
            <a:endParaRPr sz="1000">
              <a:latin typeface="Verdana"/>
              <a:cs typeface="Verdana"/>
            </a:endParaRPr>
          </a:p>
        </p:txBody>
      </p:sp>
      <p:grpSp>
        <p:nvGrpSpPr>
          <p:cNvPr id="17" name="object 17"/>
          <p:cNvGrpSpPr/>
          <p:nvPr/>
        </p:nvGrpSpPr>
        <p:grpSpPr>
          <a:xfrm>
            <a:off x="2990350" y="3302751"/>
            <a:ext cx="771525" cy="589915"/>
            <a:chOff x="2990350" y="3302751"/>
            <a:chExt cx="771525" cy="589915"/>
          </a:xfrm>
        </p:grpSpPr>
        <p:sp>
          <p:nvSpPr>
            <p:cNvPr id="18" name="object 18"/>
            <p:cNvSpPr/>
            <p:nvPr/>
          </p:nvSpPr>
          <p:spPr>
            <a:xfrm>
              <a:off x="2994922" y="3307323"/>
              <a:ext cx="762000" cy="584200"/>
            </a:xfrm>
            <a:custGeom>
              <a:avLst/>
              <a:gdLst/>
              <a:ahLst/>
              <a:cxnLst/>
              <a:rect l="l" t="t" r="r" b="b"/>
              <a:pathLst>
                <a:path w="762000" h="584200">
                  <a:moveTo>
                    <a:pt x="53352" y="103601"/>
                  </a:moveTo>
                  <a:lnTo>
                    <a:pt x="0" y="103601"/>
                  </a:lnTo>
                  <a:lnTo>
                    <a:pt x="53352" y="103601"/>
                  </a:lnTo>
                  <a:close/>
                </a:path>
                <a:path w="762000" h="584200">
                  <a:moveTo>
                    <a:pt x="105168" y="51816"/>
                  </a:moveTo>
                  <a:lnTo>
                    <a:pt x="53352" y="51816"/>
                  </a:lnTo>
                  <a:lnTo>
                    <a:pt x="105168" y="51816"/>
                  </a:lnTo>
                  <a:close/>
                </a:path>
                <a:path w="762000" h="584200">
                  <a:moveTo>
                    <a:pt x="761951" y="0"/>
                  </a:moveTo>
                  <a:lnTo>
                    <a:pt x="105168" y="0"/>
                  </a:lnTo>
                  <a:lnTo>
                    <a:pt x="761951" y="0"/>
                  </a:lnTo>
                  <a:close/>
                </a:path>
                <a:path w="762000" h="584200">
                  <a:moveTo>
                    <a:pt x="655263" y="508985"/>
                  </a:moveTo>
                  <a:lnTo>
                    <a:pt x="615647" y="508985"/>
                  </a:lnTo>
                  <a:lnTo>
                    <a:pt x="588215" y="510509"/>
                  </a:lnTo>
                  <a:lnTo>
                    <a:pt x="544019" y="515081"/>
                  </a:lnTo>
                  <a:lnTo>
                    <a:pt x="483059" y="525749"/>
                  </a:lnTo>
                  <a:lnTo>
                    <a:pt x="448007" y="534863"/>
                  </a:lnTo>
                  <a:lnTo>
                    <a:pt x="441911" y="536387"/>
                  </a:lnTo>
                  <a:lnTo>
                    <a:pt x="432767" y="539435"/>
                  </a:lnTo>
                  <a:lnTo>
                    <a:pt x="426671" y="540959"/>
                  </a:lnTo>
                  <a:lnTo>
                    <a:pt x="394697" y="551627"/>
                  </a:lnTo>
                  <a:lnTo>
                    <a:pt x="391649" y="553151"/>
                  </a:lnTo>
                  <a:lnTo>
                    <a:pt x="377933" y="557723"/>
                  </a:lnTo>
                  <a:lnTo>
                    <a:pt x="374885" y="559247"/>
                  </a:lnTo>
                  <a:lnTo>
                    <a:pt x="361169" y="563819"/>
                  </a:lnTo>
                  <a:lnTo>
                    <a:pt x="358121" y="565343"/>
                  </a:lnTo>
                  <a:lnTo>
                    <a:pt x="344405" y="569915"/>
                  </a:lnTo>
                  <a:lnTo>
                    <a:pt x="341357" y="571439"/>
                  </a:lnTo>
                  <a:lnTo>
                    <a:pt x="332213" y="574487"/>
                  </a:lnTo>
                  <a:lnTo>
                    <a:pt x="329165" y="576011"/>
                  </a:lnTo>
                  <a:lnTo>
                    <a:pt x="306305" y="583631"/>
                  </a:lnTo>
                  <a:lnTo>
                    <a:pt x="307845" y="583631"/>
                  </a:lnTo>
                  <a:lnTo>
                    <a:pt x="327640" y="576978"/>
                  </a:lnTo>
                  <a:lnTo>
                    <a:pt x="390351" y="554061"/>
                  </a:lnTo>
                  <a:lnTo>
                    <a:pt x="424106" y="542660"/>
                  </a:lnTo>
                  <a:lnTo>
                    <a:pt x="460741" y="532055"/>
                  </a:lnTo>
                  <a:lnTo>
                    <a:pt x="501214" y="522815"/>
                  </a:lnTo>
                  <a:lnTo>
                    <a:pt x="546487" y="515511"/>
                  </a:lnTo>
                  <a:lnTo>
                    <a:pt x="597520" y="510711"/>
                  </a:lnTo>
                  <a:lnTo>
                    <a:pt x="655263" y="508985"/>
                  </a:lnTo>
                  <a:close/>
                </a:path>
                <a:path w="762000" h="584200">
                  <a:moveTo>
                    <a:pt x="705554" y="458693"/>
                  </a:moveTo>
                  <a:lnTo>
                    <a:pt x="685751" y="458693"/>
                  </a:lnTo>
                  <a:lnTo>
                    <a:pt x="664415" y="460217"/>
                  </a:lnTo>
                  <a:lnTo>
                    <a:pt x="655274" y="461741"/>
                  </a:lnTo>
                  <a:lnTo>
                    <a:pt x="659700" y="461265"/>
                  </a:lnTo>
                  <a:lnTo>
                    <a:pt x="671273" y="460217"/>
                  </a:lnTo>
                  <a:lnTo>
                    <a:pt x="687418" y="459169"/>
                  </a:lnTo>
                  <a:lnTo>
                    <a:pt x="705554" y="458693"/>
                  </a:lnTo>
                  <a:close/>
                </a:path>
                <a:path w="762000" h="584200">
                  <a:moveTo>
                    <a:pt x="761929" y="406877"/>
                  </a:moveTo>
                  <a:lnTo>
                    <a:pt x="719279" y="406877"/>
                  </a:lnTo>
                  <a:lnTo>
                    <a:pt x="705566" y="408401"/>
                  </a:lnTo>
                  <a:lnTo>
                    <a:pt x="722898" y="407639"/>
                  </a:lnTo>
                  <a:lnTo>
                    <a:pt x="740924" y="407115"/>
                  </a:lnTo>
                  <a:lnTo>
                    <a:pt x="761929" y="406877"/>
                  </a:lnTo>
                  <a:close/>
                </a:path>
              </a:pathLst>
            </a:custGeom>
            <a:solidFill>
              <a:srgbClr val="FFFF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2990350" y="3302751"/>
              <a:ext cx="771525" cy="589915"/>
            </a:xfrm>
            <a:custGeom>
              <a:avLst/>
              <a:gdLst/>
              <a:ahLst/>
              <a:cxnLst/>
              <a:rect l="l" t="t" r="r" b="b"/>
              <a:pathLst>
                <a:path w="771525" h="589914">
                  <a:moveTo>
                    <a:pt x="53340" y="103632"/>
                  </a:moveTo>
                  <a:lnTo>
                    <a:pt x="0" y="103632"/>
                  </a:lnTo>
                  <a:lnTo>
                    <a:pt x="0" y="589727"/>
                  </a:lnTo>
                  <a:lnTo>
                    <a:pt x="4571" y="589727"/>
                  </a:lnTo>
                  <a:lnTo>
                    <a:pt x="4571" y="108173"/>
                  </a:lnTo>
                  <a:lnTo>
                    <a:pt x="9144" y="108173"/>
                  </a:lnTo>
                  <a:lnTo>
                    <a:pt x="53340" y="108173"/>
                  </a:lnTo>
                  <a:lnTo>
                    <a:pt x="53340" y="103632"/>
                  </a:lnTo>
                  <a:close/>
                </a:path>
                <a:path w="771525" h="589914">
                  <a:moveTo>
                    <a:pt x="664415" y="465551"/>
                  </a:moveTo>
                  <a:lnTo>
                    <a:pt x="659843" y="466313"/>
                  </a:lnTo>
                  <a:lnTo>
                    <a:pt x="659843" y="513557"/>
                  </a:lnTo>
                  <a:lnTo>
                    <a:pt x="620219" y="513557"/>
                  </a:lnTo>
                  <a:lnTo>
                    <a:pt x="574499" y="516605"/>
                  </a:lnTo>
                  <a:lnTo>
                    <a:pt x="527255" y="522701"/>
                  </a:lnTo>
                  <a:lnTo>
                    <a:pt x="487631" y="530321"/>
                  </a:lnTo>
                  <a:lnTo>
                    <a:pt x="452579" y="539435"/>
                  </a:lnTo>
                  <a:lnTo>
                    <a:pt x="446483" y="540959"/>
                  </a:lnTo>
                  <a:lnTo>
                    <a:pt x="437339" y="544007"/>
                  </a:lnTo>
                  <a:lnTo>
                    <a:pt x="431243" y="545531"/>
                  </a:lnTo>
                  <a:lnTo>
                    <a:pt x="399269" y="556199"/>
                  </a:lnTo>
                  <a:lnTo>
                    <a:pt x="396221" y="557723"/>
                  </a:lnTo>
                  <a:lnTo>
                    <a:pt x="382505" y="562295"/>
                  </a:lnTo>
                  <a:lnTo>
                    <a:pt x="379457" y="563819"/>
                  </a:lnTo>
                  <a:lnTo>
                    <a:pt x="365741" y="568391"/>
                  </a:lnTo>
                  <a:lnTo>
                    <a:pt x="362693" y="569915"/>
                  </a:lnTo>
                  <a:lnTo>
                    <a:pt x="348977" y="574487"/>
                  </a:lnTo>
                  <a:lnTo>
                    <a:pt x="345929" y="576011"/>
                  </a:lnTo>
                  <a:lnTo>
                    <a:pt x="336785" y="579059"/>
                  </a:lnTo>
                  <a:lnTo>
                    <a:pt x="333737" y="580583"/>
                  </a:lnTo>
                  <a:lnTo>
                    <a:pt x="310877" y="588203"/>
                  </a:lnTo>
                  <a:lnTo>
                    <a:pt x="328656" y="588203"/>
                  </a:lnTo>
                  <a:lnTo>
                    <a:pt x="333737" y="586679"/>
                  </a:lnTo>
                  <a:lnTo>
                    <a:pt x="364217" y="574487"/>
                  </a:lnTo>
                  <a:lnTo>
                    <a:pt x="396221" y="562295"/>
                  </a:lnTo>
                  <a:lnTo>
                    <a:pt x="412985" y="557723"/>
                  </a:lnTo>
                  <a:lnTo>
                    <a:pt x="431243" y="551627"/>
                  </a:lnTo>
                  <a:lnTo>
                    <a:pt x="429719" y="551627"/>
                  </a:lnTo>
                  <a:lnTo>
                    <a:pt x="448007" y="545531"/>
                  </a:lnTo>
                  <a:lnTo>
                    <a:pt x="486107" y="536387"/>
                  </a:lnTo>
                  <a:lnTo>
                    <a:pt x="528779" y="527273"/>
                  </a:lnTo>
                  <a:lnTo>
                    <a:pt x="577547" y="521177"/>
                  </a:lnTo>
                  <a:lnTo>
                    <a:pt x="576023" y="521177"/>
                  </a:lnTo>
                  <a:lnTo>
                    <a:pt x="630887" y="518129"/>
                  </a:lnTo>
                  <a:lnTo>
                    <a:pt x="664415" y="518129"/>
                  </a:lnTo>
                  <a:lnTo>
                    <a:pt x="664415" y="465551"/>
                  </a:lnTo>
                  <a:close/>
                </a:path>
                <a:path w="771525" h="589914">
                  <a:moveTo>
                    <a:pt x="659843" y="466313"/>
                  </a:moveTo>
                  <a:lnTo>
                    <a:pt x="659843" y="470885"/>
                  </a:lnTo>
                  <a:lnTo>
                    <a:pt x="659843" y="466313"/>
                  </a:lnTo>
                  <a:close/>
                </a:path>
                <a:path w="771525" h="589914">
                  <a:moveTo>
                    <a:pt x="714707" y="412465"/>
                  </a:moveTo>
                  <a:lnTo>
                    <a:pt x="710135" y="412973"/>
                  </a:lnTo>
                  <a:lnTo>
                    <a:pt x="710135" y="458693"/>
                  </a:lnTo>
                  <a:lnTo>
                    <a:pt x="710135" y="463265"/>
                  </a:lnTo>
                  <a:lnTo>
                    <a:pt x="690323" y="463265"/>
                  </a:lnTo>
                  <a:lnTo>
                    <a:pt x="668987" y="464789"/>
                  </a:lnTo>
                  <a:lnTo>
                    <a:pt x="664415" y="465551"/>
                  </a:lnTo>
                  <a:lnTo>
                    <a:pt x="664415" y="470885"/>
                  </a:lnTo>
                  <a:lnTo>
                    <a:pt x="670511" y="470885"/>
                  </a:lnTo>
                  <a:lnTo>
                    <a:pt x="676607" y="469361"/>
                  </a:lnTo>
                  <a:lnTo>
                    <a:pt x="691847" y="469361"/>
                  </a:lnTo>
                  <a:lnTo>
                    <a:pt x="700991" y="467837"/>
                  </a:lnTo>
                  <a:lnTo>
                    <a:pt x="714707" y="467837"/>
                  </a:lnTo>
                  <a:lnTo>
                    <a:pt x="714707" y="412465"/>
                  </a:lnTo>
                  <a:close/>
                </a:path>
                <a:path w="771525" h="589914">
                  <a:moveTo>
                    <a:pt x="710135" y="412973"/>
                  </a:moveTo>
                  <a:lnTo>
                    <a:pt x="710135" y="417545"/>
                  </a:lnTo>
                  <a:lnTo>
                    <a:pt x="710135" y="412973"/>
                  </a:lnTo>
                  <a:close/>
                </a:path>
                <a:path w="771525" h="589914">
                  <a:moveTo>
                    <a:pt x="771095" y="4572"/>
                  </a:moveTo>
                  <a:lnTo>
                    <a:pt x="766523" y="406877"/>
                  </a:lnTo>
                  <a:lnTo>
                    <a:pt x="766523" y="411449"/>
                  </a:lnTo>
                  <a:lnTo>
                    <a:pt x="723851" y="411449"/>
                  </a:lnTo>
                  <a:lnTo>
                    <a:pt x="714707" y="412465"/>
                  </a:lnTo>
                  <a:lnTo>
                    <a:pt x="714707" y="417545"/>
                  </a:lnTo>
                  <a:lnTo>
                    <a:pt x="720803" y="417545"/>
                  </a:lnTo>
                  <a:lnTo>
                    <a:pt x="728423" y="416021"/>
                  </a:lnTo>
                  <a:lnTo>
                    <a:pt x="771095" y="416021"/>
                  </a:lnTo>
                  <a:lnTo>
                    <a:pt x="771095" y="4572"/>
                  </a:lnTo>
                  <a:close/>
                </a:path>
                <a:path w="771525" h="589914">
                  <a:moveTo>
                    <a:pt x="105168" y="51816"/>
                  </a:moveTo>
                  <a:lnTo>
                    <a:pt x="53340" y="51816"/>
                  </a:lnTo>
                  <a:lnTo>
                    <a:pt x="53340" y="108173"/>
                  </a:lnTo>
                  <a:lnTo>
                    <a:pt x="9144" y="108173"/>
                  </a:lnTo>
                  <a:lnTo>
                    <a:pt x="57924" y="108173"/>
                  </a:lnTo>
                  <a:lnTo>
                    <a:pt x="57924" y="56388"/>
                  </a:lnTo>
                  <a:lnTo>
                    <a:pt x="64022" y="56388"/>
                  </a:lnTo>
                  <a:lnTo>
                    <a:pt x="105168" y="52273"/>
                  </a:lnTo>
                  <a:lnTo>
                    <a:pt x="105168" y="51816"/>
                  </a:lnTo>
                  <a:close/>
                </a:path>
                <a:path w="771525" h="589914">
                  <a:moveTo>
                    <a:pt x="64020" y="56388"/>
                  </a:moveTo>
                  <a:close/>
                </a:path>
                <a:path w="771525" h="589914">
                  <a:moveTo>
                    <a:pt x="109740" y="51816"/>
                  </a:moveTo>
                  <a:lnTo>
                    <a:pt x="105168" y="52273"/>
                  </a:lnTo>
                  <a:lnTo>
                    <a:pt x="105168" y="56388"/>
                  </a:lnTo>
                  <a:lnTo>
                    <a:pt x="109740" y="56388"/>
                  </a:lnTo>
                  <a:lnTo>
                    <a:pt x="109740" y="51816"/>
                  </a:lnTo>
                  <a:close/>
                </a:path>
                <a:path w="771525" h="589914">
                  <a:moveTo>
                    <a:pt x="771095" y="0"/>
                  </a:moveTo>
                  <a:lnTo>
                    <a:pt x="105168" y="0"/>
                  </a:lnTo>
                  <a:lnTo>
                    <a:pt x="105168" y="52273"/>
                  </a:lnTo>
                  <a:lnTo>
                    <a:pt x="109740" y="51816"/>
                  </a:lnTo>
                  <a:lnTo>
                    <a:pt x="109740" y="4572"/>
                  </a:lnTo>
                  <a:lnTo>
                    <a:pt x="114312" y="4572"/>
                  </a:lnTo>
                  <a:lnTo>
                    <a:pt x="771095" y="4572"/>
                  </a:lnTo>
                  <a:lnTo>
                    <a:pt x="771095" y="0"/>
                  </a:lnTo>
                  <a:close/>
                </a:path>
                <a:path w="771525" h="589914">
                  <a:moveTo>
                    <a:pt x="114312" y="4572"/>
                  </a:moveTo>
                  <a:close/>
                </a:path>
                <a:path w="771525" h="589914">
                  <a:moveTo>
                    <a:pt x="771095" y="4572"/>
                  </a:moveTo>
                  <a:lnTo>
                    <a:pt x="114312" y="4572"/>
                  </a:lnTo>
                  <a:lnTo>
                    <a:pt x="771095" y="457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2994922" y="3307323"/>
              <a:ext cx="762000" cy="585470"/>
            </a:xfrm>
            <a:custGeom>
              <a:avLst/>
              <a:gdLst/>
              <a:ahLst/>
              <a:cxnLst/>
              <a:rect l="l" t="t" r="r" b="b"/>
              <a:pathLst>
                <a:path w="762000" h="585470">
                  <a:moveTo>
                    <a:pt x="655271" y="103601"/>
                  </a:moveTo>
                  <a:lnTo>
                    <a:pt x="0" y="103601"/>
                  </a:lnTo>
                  <a:lnTo>
                    <a:pt x="0" y="585155"/>
                  </a:lnTo>
                  <a:lnTo>
                    <a:pt x="303311" y="585155"/>
                  </a:lnTo>
                  <a:lnTo>
                    <a:pt x="327640" y="576978"/>
                  </a:lnTo>
                  <a:lnTo>
                    <a:pt x="390351" y="554061"/>
                  </a:lnTo>
                  <a:lnTo>
                    <a:pt x="424106" y="542660"/>
                  </a:lnTo>
                  <a:lnTo>
                    <a:pt x="460741" y="532055"/>
                  </a:lnTo>
                  <a:lnTo>
                    <a:pt x="501214" y="522815"/>
                  </a:lnTo>
                  <a:lnTo>
                    <a:pt x="546487" y="515511"/>
                  </a:lnTo>
                  <a:lnTo>
                    <a:pt x="597520" y="510711"/>
                  </a:lnTo>
                  <a:lnTo>
                    <a:pt x="655271" y="508985"/>
                  </a:lnTo>
                  <a:lnTo>
                    <a:pt x="655271" y="103601"/>
                  </a:lnTo>
                  <a:close/>
                </a:path>
                <a:path w="762000" h="585470">
                  <a:moveTo>
                    <a:pt x="705563" y="51816"/>
                  </a:moveTo>
                  <a:lnTo>
                    <a:pt x="53352" y="51816"/>
                  </a:lnTo>
                  <a:lnTo>
                    <a:pt x="53352" y="103601"/>
                  </a:lnTo>
                  <a:lnTo>
                    <a:pt x="655271" y="103601"/>
                  </a:lnTo>
                  <a:lnTo>
                    <a:pt x="655271" y="461741"/>
                  </a:lnTo>
                  <a:lnTo>
                    <a:pt x="659700" y="461265"/>
                  </a:lnTo>
                  <a:lnTo>
                    <a:pt x="671273" y="460217"/>
                  </a:lnTo>
                  <a:lnTo>
                    <a:pt x="687418" y="459169"/>
                  </a:lnTo>
                  <a:lnTo>
                    <a:pt x="705563" y="458693"/>
                  </a:lnTo>
                  <a:lnTo>
                    <a:pt x="705563" y="51816"/>
                  </a:lnTo>
                  <a:close/>
                </a:path>
                <a:path w="762000" h="585470">
                  <a:moveTo>
                    <a:pt x="761951" y="0"/>
                  </a:moveTo>
                  <a:lnTo>
                    <a:pt x="105168" y="0"/>
                  </a:lnTo>
                  <a:lnTo>
                    <a:pt x="105168" y="51816"/>
                  </a:lnTo>
                  <a:lnTo>
                    <a:pt x="705563" y="51816"/>
                  </a:lnTo>
                  <a:lnTo>
                    <a:pt x="705563" y="408401"/>
                  </a:lnTo>
                  <a:lnTo>
                    <a:pt x="722898" y="407639"/>
                  </a:lnTo>
                  <a:lnTo>
                    <a:pt x="740924" y="407115"/>
                  </a:lnTo>
                  <a:lnTo>
                    <a:pt x="761951" y="406877"/>
                  </a:lnTo>
                  <a:lnTo>
                    <a:pt x="761951" y="0"/>
                  </a:lnTo>
                  <a:close/>
                </a:path>
              </a:pathLst>
            </a:custGeom>
            <a:solidFill>
              <a:srgbClr val="FFFF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2990350" y="3302751"/>
              <a:ext cx="771525" cy="589915"/>
            </a:xfrm>
            <a:custGeom>
              <a:avLst/>
              <a:gdLst/>
              <a:ahLst/>
              <a:cxnLst/>
              <a:rect l="l" t="t" r="r" b="b"/>
              <a:pathLst>
                <a:path w="771525" h="589914">
                  <a:moveTo>
                    <a:pt x="53340" y="103632"/>
                  </a:moveTo>
                  <a:lnTo>
                    <a:pt x="0" y="103632"/>
                  </a:lnTo>
                  <a:lnTo>
                    <a:pt x="0" y="589727"/>
                  </a:lnTo>
                  <a:lnTo>
                    <a:pt x="8128" y="589727"/>
                  </a:lnTo>
                  <a:lnTo>
                    <a:pt x="6096" y="586679"/>
                  </a:lnTo>
                  <a:lnTo>
                    <a:pt x="9144" y="586679"/>
                  </a:lnTo>
                  <a:lnTo>
                    <a:pt x="9144" y="112745"/>
                  </a:lnTo>
                  <a:lnTo>
                    <a:pt x="4572" y="112745"/>
                  </a:lnTo>
                  <a:lnTo>
                    <a:pt x="9144" y="108173"/>
                  </a:lnTo>
                  <a:lnTo>
                    <a:pt x="53340" y="108173"/>
                  </a:lnTo>
                  <a:lnTo>
                    <a:pt x="53340" y="103632"/>
                  </a:lnTo>
                  <a:close/>
                </a:path>
                <a:path w="771525" h="589914">
                  <a:moveTo>
                    <a:pt x="6096" y="586679"/>
                  </a:moveTo>
                  <a:lnTo>
                    <a:pt x="8128" y="589727"/>
                  </a:lnTo>
                  <a:lnTo>
                    <a:pt x="9144" y="589727"/>
                  </a:lnTo>
                  <a:lnTo>
                    <a:pt x="9144" y="587320"/>
                  </a:lnTo>
                  <a:lnTo>
                    <a:pt x="6096" y="586679"/>
                  </a:lnTo>
                  <a:close/>
                </a:path>
                <a:path w="771525" h="589914">
                  <a:moveTo>
                    <a:pt x="9144" y="587320"/>
                  </a:moveTo>
                  <a:lnTo>
                    <a:pt x="9144" y="589727"/>
                  </a:lnTo>
                  <a:lnTo>
                    <a:pt x="20575" y="589727"/>
                  </a:lnTo>
                  <a:lnTo>
                    <a:pt x="9144" y="587320"/>
                  </a:lnTo>
                  <a:close/>
                </a:path>
                <a:path w="771525" h="589914">
                  <a:moveTo>
                    <a:pt x="655271" y="108173"/>
                  </a:moveTo>
                  <a:lnTo>
                    <a:pt x="9144" y="108173"/>
                  </a:lnTo>
                  <a:lnTo>
                    <a:pt x="9144" y="587320"/>
                  </a:lnTo>
                  <a:lnTo>
                    <a:pt x="20575" y="589727"/>
                  </a:lnTo>
                  <a:lnTo>
                    <a:pt x="289540" y="589727"/>
                  </a:lnTo>
                  <a:lnTo>
                    <a:pt x="300209" y="586679"/>
                  </a:lnTo>
                  <a:lnTo>
                    <a:pt x="330689" y="577535"/>
                  </a:lnTo>
                  <a:lnTo>
                    <a:pt x="361169" y="565343"/>
                  </a:lnTo>
                  <a:lnTo>
                    <a:pt x="393173" y="554675"/>
                  </a:lnTo>
                  <a:lnTo>
                    <a:pt x="409937" y="548579"/>
                  </a:lnTo>
                  <a:lnTo>
                    <a:pt x="428195" y="542483"/>
                  </a:lnTo>
                  <a:lnTo>
                    <a:pt x="444959" y="536387"/>
                  </a:lnTo>
                  <a:lnTo>
                    <a:pt x="484583" y="527273"/>
                  </a:lnTo>
                  <a:lnTo>
                    <a:pt x="527255" y="518129"/>
                  </a:lnTo>
                  <a:lnTo>
                    <a:pt x="576023" y="512033"/>
                  </a:lnTo>
                  <a:lnTo>
                    <a:pt x="630887" y="508985"/>
                  </a:lnTo>
                  <a:lnTo>
                    <a:pt x="655271" y="508985"/>
                  </a:lnTo>
                  <a:lnTo>
                    <a:pt x="655271" y="108173"/>
                  </a:lnTo>
                  <a:close/>
                </a:path>
                <a:path w="771525" h="589914">
                  <a:moveTo>
                    <a:pt x="655271" y="508985"/>
                  </a:moveTo>
                  <a:lnTo>
                    <a:pt x="630887" y="508985"/>
                  </a:lnTo>
                  <a:lnTo>
                    <a:pt x="576023" y="512033"/>
                  </a:lnTo>
                  <a:lnTo>
                    <a:pt x="527255" y="518129"/>
                  </a:lnTo>
                  <a:lnTo>
                    <a:pt x="484583" y="527273"/>
                  </a:lnTo>
                  <a:lnTo>
                    <a:pt x="444959" y="536387"/>
                  </a:lnTo>
                  <a:lnTo>
                    <a:pt x="428195" y="542483"/>
                  </a:lnTo>
                  <a:lnTo>
                    <a:pt x="409937" y="548579"/>
                  </a:lnTo>
                  <a:lnTo>
                    <a:pt x="393173" y="554675"/>
                  </a:lnTo>
                  <a:lnTo>
                    <a:pt x="361169" y="565343"/>
                  </a:lnTo>
                  <a:lnTo>
                    <a:pt x="330689" y="577535"/>
                  </a:lnTo>
                  <a:lnTo>
                    <a:pt x="300209" y="586679"/>
                  </a:lnTo>
                  <a:lnTo>
                    <a:pt x="289540" y="589727"/>
                  </a:lnTo>
                  <a:lnTo>
                    <a:pt x="323576" y="589727"/>
                  </a:lnTo>
                  <a:lnTo>
                    <a:pt x="333737" y="586679"/>
                  </a:lnTo>
                  <a:lnTo>
                    <a:pt x="364217" y="574487"/>
                  </a:lnTo>
                  <a:lnTo>
                    <a:pt x="396221" y="562295"/>
                  </a:lnTo>
                  <a:lnTo>
                    <a:pt x="412985" y="557723"/>
                  </a:lnTo>
                  <a:lnTo>
                    <a:pt x="431243" y="551627"/>
                  </a:lnTo>
                  <a:lnTo>
                    <a:pt x="429719" y="551627"/>
                  </a:lnTo>
                  <a:lnTo>
                    <a:pt x="448007" y="545531"/>
                  </a:lnTo>
                  <a:lnTo>
                    <a:pt x="486107" y="536387"/>
                  </a:lnTo>
                  <a:lnTo>
                    <a:pt x="528779" y="527273"/>
                  </a:lnTo>
                  <a:lnTo>
                    <a:pt x="577547" y="521177"/>
                  </a:lnTo>
                  <a:lnTo>
                    <a:pt x="576023" y="521177"/>
                  </a:lnTo>
                  <a:lnTo>
                    <a:pt x="630887" y="518129"/>
                  </a:lnTo>
                  <a:lnTo>
                    <a:pt x="664415" y="518129"/>
                  </a:lnTo>
                  <a:lnTo>
                    <a:pt x="664415" y="513557"/>
                  </a:lnTo>
                  <a:lnTo>
                    <a:pt x="655271" y="513557"/>
                  </a:lnTo>
                  <a:lnTo>
                    <a:pt x="655271" y="508985"/>
                  </a:lnTo>
                  <a:close/>
                </a:path>
                <a:path w="771525" h="589914">
                  <a:moveTo>
                    <a:pt x="9144" y="586679"/>
                  </a:moveTo>
                  <a:lnTo>
                    <a:pt x="6096" y="586679"/>
                  </a:lnTo>
                  <a:lnTo>
                    <a:pt x="9144" y="587320"/>
                  </a:lnTo>
                  <a:lnTo>
                    <a:pt x="9144" y="586679"/>
                  </a:lnTo>
                  <a:close/>
                </a:path>
                <a:path w="771525" h="589914">
                  <a:moveTo>
                    <a:pt x="664415" y="103632"/>
                  </a:moveTo>
                  <a:lnTo>
                    <a:pt x="64020" y="103632"/>
                  </a:lnTo>
                  <a:lnTo>
                    <a:pt x="64020" y="108173"/>
                  </a:lnTo>
                  <a:lnTo>
                    <a:pt x="655271" y="108173"/>
                  </a:lnTo>
                  <a:lnTo>
                    <a:pt x="659843" y="112745"/>
                  </a:lnTo>
                  <a:lnTo>
                    <a:pt x="655271" y="112745"/>
                  </a:lnTo>
                  <a:lnTo>
                    <a:pt x="655271" y="508985"/>
                  </a:lnTo>
                  <a:lnTo>
                    <a:pt x="659843" y="508985"/>
                  </a:lnTo>
                  <a:lnTo>
                    <a:pt x="655271" y="513557"/>
                  </a:lnTo>
                  <a:lnTo>
                    <a:pt x="664415" y="513557"/>
                  </a:lnTo>
                  <a:lnTo>
                    <a:pt x="664415" y="470885"/>
                  </a:lnTo>
                  <a:lnTo>
                    <a:pt x="659843" y="470885"/>
                  </a:lnTo>
                  <a:lnTo>
                    <a:pt x="659843" y="461741"/>
                  </a:lnTo>
                  <a:lnTo>
                    <a:pt x="664415" y="461741"/>
                  </a:lnTo>
                  <a:lnTo>
                    <a:pt x="664415" y="103632"/>
                  </a:lnTo>
                  <a:close/>
                </a:path>
                <a:path w="771525" h="589914">
                  <a:moveTo>
                    <a:pt x="664415" y="461741"/>
                  </a:moveTo>
                  <a:lnTo>
                    <a:pt x="659843" y="461741"/>
                  </a:lnTo>
                  <a:lnTo>
                    <a:pt x="659843" y="470885"/>
                  </a:lnTo>
                  <a:lnTo>
                    <a:pt x="664415" y="470885"/>
                  </a:lnTo>
                  <a:lnTo>
                    <a:pt x="664415" y="461741"/>
                  </a:lnTo>
                  <a:close/>
                </a:path>
                <a:path w="771525" h="589914">
                  <a:moveTo>
                    <a:pt x="705563" y="458693"/>
                  </a:moveTo>
                  <a:lnTo>
                    <a:pt x="691847" y="458693"/>
                  </a:lnTo>
                  <a:lnTo>
                    <a:pt x="682703" y="460217"/>
                  </a:lnTo>
                  <a:lnTo>
                    <a:pt x="668987" y="460217"/>
                  </a:lnTo>
                  <a:lnTo>
                    <a:pt x="664415" y="461741"/>
                  </a:lnTo>
                  <a:lnTo>
                    <a:pt x="664415" y="470885"/>
                  </a:lnTo>
                  <a:lnTo>
                    <a:pt x="670511" y="470885"/>
                  </a:lnTo>
                  <a:lnTo>
                    <a:pt x="676607" y="469361"/>
                  </a:lnTo>
                  <a:lnTo>
                    <a:pt x="691847" y="469361"/>
                  </a:lnTo>
                  <a:lnTo>
                    <a:pt x="700991" y="467837"/>
                  </a:lnTo>
                  <a:lnTo>
                    <a:pt x="714707" y="467837"/>
                  </a:lnTo>
                  <a:lnTo>
                    <a:pt x="714707" y="463265"/>
                  </a:lnTo>
                  <a:lnTo>
                    <a:pt x="705563" y="463265"/>
                  </a:lnTo>
                  <a:lnTo>
                    <a:pt x="705563" y="458693"/>
                  </a:lnTo>
                  <a:close/>
                </a:path>
                <a:path w="771525" h="589914">
                  <a:moveTo>
                    <a:pt x="705563" y="56388"/>
                  </a:moveTo>
                  <a:lnTo>
                    <a:pt x="705563" y="463265"/>
                  </a:lnTo>
                  <a:lnTo>
                    <a:pt x="710135" y="458693"/>
                  </a:lnTo>
                  <a:lnTo>
                    <a:pt x="714707" y="458693"/>
                  </a:lnTo>
                  <a:lnTo>
                    <a:pt x="714707" y="417545"/>
                  </a:lnTo>
                  <a:lnTo>
                    <a:pt x="710135" y="417545"/>
                  </a:lnTo>
                  <a:lnTo>
                    <a:pt x="710135" y="408401"/>
                  </a:lnTo>
                  <a:lnTo>
                    <a:pt x="714707" y="408401"/>
                  </a:lnTo>
                  <a:lnTo>
                    <a:pt x="714707" y="60960"/>
                  </a:lnTo>
                  <a:lnTo>
                    <a:pt x="710135" y="60960"/>
                  </a:lnTo>
                  <a:lnTo>
                    <a:pt x="705563" y="56388"/>
                  </a:lnTo>
                  <a:close/>
                </a:path>
                <a:path w="771525" h="589914">
                  <a:moveTo>
                    <a:pt x="714707" y="458693"/>
                  </a:moveTo>
                  <a:lnTo>
                    <a:pt x="710135" y="458693"/>
                  </a:lnTo>
                  <a:lnTo>
                    <a:pt x="705563" y="463265"/>
                  </a:lnTo>
                  <a:lnTo>
                    <a:pt x="714707" y="463265"/>
                  </a:lnTo>
                  <a:lnTo>
                    <a:pt x="714707" y="458693"/>
                  </a:lnTo>
                  <a:close/>
                </a:path>
                <a:path w="771525" h="589914">
                  <a:moveTo>
                    <a:pt x="714707" y="408401"/>
                  </a:moveTo>
                  <a:lnTo>
                    <a:pt x="710135" y="408401"/>
                  </a:lnTo>
                  <a:lnTo>
                    <a:pt x="710135" y="417545"/>
                  </a:lnTo>
                  <a:lnTo>
                    <a:pt x="714707" y="417545"/>
                  </a:lnTo>
                  <a:lnTo>
                    <a:pt x="714707" y="408401"/>
                  </a:lnTo>
                  <a:close/>
                </a:path>
                <a:path w="771525" h="589914">
                  <a:moveTo>
                    <a:pt x="761951" y="406877"/>
                  </a:moveTo>
                  <a:lnTo>
                    <a:pt x="720803" y="406877"/>
                  </a:lnTo>
                  <a:lnTo>
                    <a:pt x="714707" y="408401"/>
                  </a:lnTo>
                  <a:lnTo>
                    <a:pt x="714707" y="417545"/>
                  </a:lnTo>
                  <a:lnTo>
                    <a:pt x="720803" y="417545"/>
                  </a:lnTo>
                  <a:lnTo>
                    <a:pt x="728423" y="416021"/>
                  </a:lnTo>
                  <a:lnTo>
                    <a:pt x="771095" y="416021"/>
                  </a:lnTo>
                  <a:lnTo>
                    <a:pt x="771095" y="411449"/>
                  </a:lnTo>
                  <a:lnTo>
                    <a:pt x="761951" y="411449"/>
                  </a:lnTo>
                  <a:lnTo>
                    <a:pt x="761951" y="406877"/>
                  </a:lnTo>
                  <a:close/>
                </a:path>
                <a:path w="771525" h="589914">
                  <a:moveTo>
                    <a:pt x="761951" y="4572"/>
                  </a:moveTo>
                  <a:lnTo>
                    <a:pt x="761951" y="411449"/>
                  </a:lnTo>
                  <a:lnTo>
                    <a:pt x="766523" y="406877"/>
                  </a:lnTo>
                  <a:lnTo>
                    <a:pt x="771095" y="406877"/>
                  </a:lnTo>
                  <a:lnTo>
                    <a:pt x="771095" y="9144"/>
                  </a:lnTo>
                  <a:lnTo>
                    <a:pt x="766523" y="9144"/>
                  </a:lnTo>
                  <a:lnTo>
                    <a:pt x="761951" y="4572"/>
                  </a:lnTo>
                  <a:close/>
                </a:path>
                <a:path w="771525" h="589914">
                  <a:moveTo>
                    <a:pt x="771095" y="406877"/>
                  </a:moveTo>
                  <a:lnTo>
                    <a:pt x="766523" y="406877"/>
                  </a:lnTo>
                  <a:lnTo>
                    <a:pt x="761951" y="411449"/>
                  </a:lnTo>
                  <a:lnTo>
                    <a:pt x="771095" y="411449"/>
                  </a:lnTo>
                  <a:lnTo>
                    <a:pt x="771095" y="406877"/>
                  </a:lnTo>
                  <a:close/>
                </a:path>
                <a:path w="771525" h="589914">
                  <a:moveTo>
                    <a:pt x="105168" y="51816"/>
                  </a:moveTo>
                  <a:lnTo>
                    <a:pt x="53340" y="51816"/>
                  </a:lnTo>
                  <a:lnTo>
                    <a:pt x="53340" y="108173"/>
                  </a:lnTo>
                  <a:lnTo>
                    <a:pt x="64020" y="108173"/>
                  </a:lnTo>
                  <a:lnTo>
                    <a:pt x="64020" y="60960"/>
                  </a:lnTo>
                  <a:lnTo>
                    <a:pt x="57924" y="60960"/>
                  </a:lnTo>
                  <a:lnTo>
                    <a:pt x="64020" y="56388"/>
                  </a:lnTo>
                  <a:lnTo>
                    <a:pt x="105168" y="56388"/>
                  </a:lnTo>
                  <a:lnTo>
                    <a:pt x="105168" y="51816"/>
                  </a:lnTo>
                  <a:close/>
                </a:path>
                <a:path w="771525" h="589914">
                  <a:moveTo>
                    <a:pt x="64020" y="56388"/>
                  </a:moveTo>
                  <a:lnTo>
                    <a:pt x="57924" y="60960"/>
                  </a:lnTo>
                  <a:lnTo>
                    <a:pt x="64020" y="60960"/>
                  </a:lnTo>
                  <a:lnTo>
                    <a:pt x="64020" y="56388"/>
                  </a:lnTo>
                  <a:close/>
                </a:path>
                <a:path w="771525" h="589914">
                  <a:moveTo>
                    <a:pt x="705563" y="56388"/>
                  </a:moveTo>
                  <a:lnTo>
                    <a:pt x="64020" y="56388"/>
                  </a:lnTo>
                  <a:lnTo>
                    <a:pt x="64020" y="60960"/>
                  </a:lnTo>
                  <a:lnTo>
                    <a:pt x="705563" y="60960"/>
                  </a:lnTo>
                  <a:lnTo>
                    <a:pt x="705563" y="56388"/>
                  </a:lnTo>
                  <a:close/>
                </a:path>
                <a:path w="771525" h="589914">
                  <a:moveTo>
                    <a:pt x="714707" y="51816"/>
                  </a:moveTo>
                  <a:lnTo>
                    <a:pt x="114312" y="51816"/>
                  </a:lnTo>
                  <a:lnTo>
                    <a:pt x="114312" y="56388"/>
                  </a:lnTo>
                  <a:lnTo>
                    <a:pt x="705563" y="56388"/>
                  </a:lnTo>
                  <a:lnTo>
                    <a:pt x="710135" y="60960"/>
                  </a:lnTo>
                  <a:lnTo>
                    <a:pt x="714707" y="60960"/>
                  </a:lnTo>
                  <a:lnTo>
                    <a:pt x="714707" y="51816"/>
                  </a:lnTo>
                  <a:close/>
                </a:path>
                <a:path w="771525" h="589914">
                  <a:moveTo>
                    <a:pt x="771095" y="0"/>
                  </a:moveTo>
                  <a:lnTo>
                    <a:pt x="105168" y="0"/>
                  </a:lnTo>
                  <a:lnTo>
                    <a:pt x="105168" y="56388"/>
                  </a:lnTo>
                  <a:lnTo>
                    <a:pt x="114312" y="56388"/>
                  </a:lnTo>
                  <a:lnTo>
                    <a:pt x="114312" y="9144"/>
                  </a:lnTo>
                  <a:lnTo>
                    <a:pt x="109740" y="9144"/>
                  </a:lnTo>
                  <a:lnTo>
                    <a:pt x="114312" y="4572"/>
                  </a:lnTo>
                  <a:lnTo>
                    <a:pt x="771095" y="4572"/>
                  </a:lnTo>
                  <a:lnTo>
                    <a:pt x="771095" y="0"/>
                  </a:lnTo>
                  <a:close/>
                </a:path>
                <a:path w="771525" h="589914">
                  <a:moveTo>
                    <a:pt x="114312" y="4572"/>
                  </a:moveTo>
                  <a:lnTo>
                    <a:pt x="109740" y="9144"/>
                  </a:lnTo>
                  <a:lnTo>
                    <a:pt x="114312" y="9144"/>
                  </a:lnTo>
                  <a:lnTo>
                    <a:pt x="114312" y="4572"/>
                  </a:lnTo>
                  <a:close/>
                </a:path>
                <a:path w="771525" h="589914">
                  <a:moveTo>
                    <a:pt x="761951" y="4572"/>
                  </a:moveTo>
                  <a:lnTo>
                    <a:pt x="114312" y="4572"/>
                  </a:lnTo>
                  <a:lnTo>
                    <a:pt x="114312" y="9144"/>
                  </a:lnTo>
                  <a:lnTo>
                    <a:pt x="761951" y="9144"/>
                  </a:lnTo>
                  <a:lnTo>
                    <a:pt x="761951" y="4572"/>
                  </a:lnTo>
                  <a:close/>
                </a:path>
                <a:path w="771525" h="589914">
                  <a:moveTo>
                    <a:pt x="771095" y="4572"/>
                  </a:moveTo>
                  <a:lnTo>
                    <a:pt x="761951" y="4572"/>
                  </a:lnTo>
                  <a:lnTo>
                    <a:pt x="766523" y="9144"/>
                  </a:lnTo>
                  <a:lnTo>
                    <a:pt x="771095" y="9144"/>
                  </a:lnTo>
                  <a:lnTo>
                    <a:pt x="771095" y="457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2" name="object 22"/>
          <p:cNvSpPr txBox="1"/>
          <p:nvPr/>
        </p:nvSpPr>
        <p:spPr>
          <a:xfrm>
            <a:off x="3369274" y="3744157"/>
            <a:ext cx="78740" cy="1479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dirty="0">
                <a:latin typeface="Verdana"/>
                <a:cs typeface="Verdana"/>
              </a:rPr>
              <a:t>s</a:t>
            </a:r>
            <a:endParaRPr sz="800">
              <a:latin typeface="Verdana"/>
              <a:cs typeface="Verdana"/>
            </a:endParaRPr>
          </a:p>
        </p:txBody>
      </p:sp>
      <p:grpSp>
        <p:nvGrpSpPr>
          <p:cNvPr id="23" name="object 23"/>
          <p:cNvGrpSpPr/>
          <p:nvPr/>
        </p:nvGrpSpPr>
        <p:grpSpPr>
          <a:xfrm>
            <a:off x="6800027" y="2083643"/>
            <a:ext cx="771525" cy="617220"/>
            <a:chOff x="6800027" y="2083643"/>
            <a:chExt cx="771525" cy="617220"/>
          </a:xfrm>
        </p:grpSpPr>
        <p:sp>
          <p:nvSpPr>
            <p:cNvPr id="24" name="object 24"/>
            <p:cNvSpPr/>
            <p:nvPr/>
          </p:nvSpPr>
          <p:spPr>
            <a:xfrm>
              <a:off x="6804599" y="2088215"/>
              <a:ext cx="762000" cy="608965"/>
            </a:xfrm>
            <a:custGeom>
              <a:avLst/>
              <a:gdLst/>
              <a:ahLst/>
              <a:cxnLst/>
              <a:rect l="l" t="t" r="r" b="b"/>
              <a:pathLst>
                <a:path w="762000" h="608964">
                  <a:moveTo>
                    <a:pt x="3047" y="586709"/>
                  </a:moveTo>
                  <a:lnTo>
                    <a:pt x="1" y="586709"/>
                  </a:lnTo>
                  <a:lnTo>
                    <a:pt x="57751" y="598640"/>
                  </a:lnTo>
                  <a:lnTo>
                    <a:pt x="108783" y="605676"/>
                  </a:lnTo>
                  <a:lnTo>
                    <a:pt x="154056" y="608387"/>
                  </a:lnTo>
                  <a:lnTo>
                    <a:pt x="180289" y="607709"/>
                  </a:lnTo>
                  <a:lnTo>
                    <a:pt x="128015" y="606521"/>
                  </a:lnTo>
                  <a:lnTo>
                    <a:pt x="108203" y="604997"/>
                  </a:lnTo>
                  <a:lnTo>
                    <a:pt x="83819" y="601949"/>
                  </a:lnTo>
                  <a:lnTo>
                    <a:pt x="73151" y="600425"/>
                  </a:lnTo>
                  <a:lnTo>
                    <a:pt x="54863" y="597377"/>
                  </a:lnTo>
                  <a:lnTo>
                    <a:pt x="47243" y="595853"/>
                  </a:lnTo>
                  <a:lnTo>
                    <a:pt x="38099" y="594329"/>
                  </a:lnTo>
                  <a:lnTo>
                    <a:pt x="30479" y="592805"/>
                  </a:lnTo>
                  <a:lnTo>
                    <a:pt x="24383" y="591281"/>
                  </a:lnTo>
                  <a:lnTo>
                    <a:pt x="16763" y="589757"/>
                  </a:lnTo>
                  <a:lnTo>
                    <a:pt x="10667" y="588233"/>
                  </a:lnTo>
                  <a:lnTo>
                    <a:pt x="3047" y="586709"/>
                  </a:lnTo>
                  <a:close/>
                </a:path>
                <a:path w="762000" h="608964">
                  <a:moveTo>
                    <a:pt x="53339" y="103632"/>
                  </a:moveTo>
                  <a:lnTo>
                    <a:pt x="0" y="103632"/>
                  </a:lnTo>
                  <a:lnTo>
                    <a:pt x="53339" y="103632"/>
                  </a:lnTo>
                  <a:close/>
                </a:path>
                <a:path w="762000" h="608964">
                  <a:moveTo>
                    <a:pt x="105155" y="51816"/>
                  </a:moveTo>
                  <a:lnTo>
                    <a:pt x="53340" y="51816"/>
                  </a:lnTo>
                  <a:lnTo>
                    <a:pt x="105155" y="51816"/>
                  </a:lnTo>
                  <a:close/>
                </a:path>
                <a:path w="762000" h="608964">
                  <a:moveTo>
                    <a:pt x="761939" y="0"/>
                  </a:moveTo>
                  <a:lnTo>
                    <a:pt x="105156" y="0"/>
                  </a:lnTo>
                  <a:lnTo>
                    <a:pt x="761939" y="0"/>
                  </a:lnTo>
                  <a:close/>
                </a:path>
                <a:path w="762000" h="608964">
                  <a:moveTo>
                    <a:pt x="655248" y="508985"/>
                  </a:moveTo>
                  <a:lnTo>
                    <a:pt x="615634" y="508985"/>
                  </a:lnTo>
                  <a:lnTo>
                    <a:pt x="588233" y="510509"/>
                  </a:lnTo>
                  <a:lnTo>
                    <a:pt x="544037" y="515081"/>
                  </a:lnTo>
                  <a:lnTo>
                    <a:pt x="483077" y="525749"/>
                  </a:lnTo>
                  <a:lnTo>
                    <a:pt x="448025" y="534893"/>
                  </a:lnTo>
                  <a:lnTo>
                    <a:pt x="441929" y="536417"/>
                  </a:lnTo>
                  <a:lnTo>
                    <a:pt x="432785" y="539465"/>
                  </a:lnTo>
                  <a:lnTo>
                    <a:pt x="426689" y="540989"/>
                  </a:lnTo>
                  <a:lnTo>
                    <a:pt x="394685" y="551657"/>
                  </a:lnTo>
                  <a:lnTo>
                    <a:pt x="391637" y="553181"/>
                  </a:lnTo>
                  <a:lnTo>
                    <a:pt x="377921" y="557753"/>
                  </a:lnTo>
                  <a:lnTo>
                    <a:pt x="374873" y="559277"/>
                  </a:lnTo>
                  <a:lnTo>
                    <a:pt x="361157" y="563849"/>
                  </a:lnTo>
                  <a:lnTo>
                    <a:pt x="358109" y="565373"/>
                  </a:lnTo>
                  <a:lnTo>
                    <a:pt x="344393" y="569945"/>
                  </a:lnTo>
                  <a:lnTo>
                    <a:pt x="341345" y="571469"/>
                  </a:lnTo>
                  <a:lnTo>
                    <a:pt x="332201" y="574517"/>
                  </a:lnTo>
                  <a:lnTo>
                    <a:pt x="329153" y="576041"/>
                  </a:lnTo>
                  <a:lnTo>
                    <a:pt x="297179" y="586709"/>
                  </a:lnTo>
                  <a:lnTo>
                    <a:pt x="291083" y="588233"/>
                  </a:lnTo>
                  <a:lnTo>
                    <a:pt x="286511" y="589757"/>
                  </a:lnTo>
                  <a:lnTo>
                    <a:pt x="274319" y="592805"/>
                  </a:lnTo>
                  <a:lnTo>
                    <a:pt x="269747" y="594329"/>
                  </a:lnTo>
                  <a:lnTo>
                    <a:pt x="257555" y="597377"/>
                  </a:lnTo>
                  <a:lnTo>
                    <a:pt x="234695" y="601949"/>
                  </a:lnTo>
                  <a:lnTo>
                    <a:pt x="224027" y="603473"/>
                  </a:lnTo>
                  <a:lnTo>
                    <a:pt x="211835" y="604997"/>
                  </a:lnTo>
                  <a:lnTo>
                    <a:pt x="195071" y="606521"/>
                  </a:lnTo>
                  <a:lnTo>
                    <a:pt x="195071" y="607279"/>
                  </a:lnTo>
                  <a:lnTo>
                    <a:pt x="264919" y="596259"/>
                  </a:lnTo>
                  <a:lnTo>
                    <a:pt x="327629" y="576982"/>
                  </a:lnTo>
                  <a:lnTo>
                    <a:pt x="390339" y="554063"/>
                  </a:lnTo>
                  <a:lnTo>
                    <a:pt x="424094" y="542661"/>
                  </a:lnTo>
                  <a:lnTo>
                    <a:pt x="460729" y="532055"/>
                  </a:lnTo>
                  <a:lnTo>
                    <a:pt x="501202" y="522816"/>
                  </a:lnTo>
                  <a:lnTo>
                    <a:pt x="546475" y="515511"/>
                  </a:lnTo>
                  <a:lnTo>
                    <a:pt x="597507" y="510711"/>
                  </a:lnTo>
                  <a:lnTo>
                    <a:pt x="655248" y="508985"/>
                  </a:lnTo>
                  <a:close/>
                </a:path>
                <a:path w="762000" h="608964">
                  <a:moveTo>
                    <a:pt x="705539" y="458693"/>
                  </a:moveTo>
                  <a:lnTo>
                    <a:pt x="685738" y="458693"/>
                  </a:lnTo>
                  <a:lnTo>
                    <a:pt x="664402" y="460217"/>
                  </a:lnTo>
                  <a:lnTo>
                    <a:pt x="655263" y="461741"/>
                  </a:lnTo>
                  <a:lnTo>
                    <a:pt x="659688" y="461265"/>
                  </a:lnTo>
                  <a:lnTo>
                    <a:pt x="671261" y="460217"/>
                  </a:lnTo>
                  <a:lnTo>
                    <a:pt x="687405" y="459169"/>
                  </a:lnTo>
                  <a:lnTo>
                    <a:pt x="705539" y="458693"/>
                  </a:lnTo>
                  <a:close/>
                </a:path>
                <a:path w="762000" h="608964">
                  <a:moveTo>
                    <a:pt x="761910" y="406877"/>
                  </a:moveTo>
                  <a:lnTo>
                    <a:pt x="719266" y="406877"/>
                  </a:lnTo>
                  <a:lnTo>
                    <a:pt x="705555" y="408401"/>
                  </a:lnTo>
                  <a:lnTo>
                    <a:pt x="722886" y="407639"/>
                  </a:lnTo>
                  <a:lnTo>
                    <a:pt x="740912" y="407115"/>
                  </a:lnTo>
                  <a:lnTo>
                    <a:pt x="761910" y="406877"/>
                  </a:lnTo>
                  <a:close/>
                </a:path>
              </a:pathLst>
            </a:custGeom>
            <a:solidFill>
              <a:srgbClr val="FFFF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6800027" y="2083643"/>
              <a:ext cx="771525" cy="617220"/>
            </a:xfrm>
            <a:custGeom>
              <a:avLst/>
              <a:gdLst/>
              <a:ahLst/>
              <a:cxnLst/>
              <a:rect l="l" t="t" r="r" b="b"/>
              <a:pathLst>
                <a:path w="771525" h="617219">
                  <a:moveTo>
                    <a:pt x="53340" y="103632"/>
                  </a:moveTo>
                  <a:lnTo>
                    <a:pt x="0" y="103632"/>
                  </a:lnTo>
                  <a:lnTo>
                    <a:pt x="1" y="594329"/>
                  </a:lnTo>
                  <a:lnTo>
                    <a:pt x="60961" y="608045"/>
                  </a:lnTo>
                  <a:lnTo>
                    <a:pt x="112776" y="615635"/>
                  </a:lnTo>
                  <a:lnTo>
                    <a:pt x="135636" y="617159"/>
                  </a:lnTo>
                  <a:lnTo>
                    <a:pt x="199644" y="617159"/>
                  </a:lnTo>
                  <a:lnTo>
                    <a:pt x="217932" y="615635"/>
                  </a:lnTo>
                  <a:lnTo>
                    <a:pt x="236218" y="612617"/>
                  </a:lnTo>
                  <a:lnTo>
                    <a:pt x="199630" y="612617"/>
                  </a:lnTo>
                  <a:lnTo>
                    <a:pt x="132587" y="611093"/>
                  </a:lnTo>
                  <a:lnTo>
                    <a:pt x="88391" y="606521"/>
                  </a:lnTo>
                  <a:lnTo>
                    <a:pt x="51815" y="600425"/>
                  </a:lnTo>
                  <a:lnTo>
                    <a:pt x="42671" y="598901"/>
                  </a:lnTo>
                  <a:lnTo>
                    <a:pt x="35051" y="597377"/>
                  </a:lnTo>
                  <a:lnTo>
                    <a:pt x="28954" y="595853"/>
                  </a:lnTo>
                  <a:lnTo>
                    <a:pt x="21334" y="594329"/>
                  </a:lnTo>
                  <a:lnTo>
                    <a:pt x="15239" y="592805"/>
                  </a:lnTo>
                  <a:lnTo>
                    <a:pt x="7619" y="591281"/>
                  </a:lnTo>
                  <a:lnTo>
                    <a:pt x="4571" y="591281"/>
                  </a:lnTo>
                  <a:lnTo>
                    <a:pt x="4571" y="108204"/>
                  </a:lnTo>
                  <a:lnTo>
                    <a:pt x="9144" y="108204"/>
                  </a:lnTo>
                  <a:lnTo>
                    <a:pt x="53340" y="108204"/>
                  </a:lnTo>
                  <a:lnTo>
                    <a:pt x="53340" y="103632"/>
                  </a:lnTo>
                  <a:close/>
                </a:path>
                <a:path w="771525" h="617219">
                  <a:moveTo>
                    <a:pt x="664403" y="465551"/>
                  </a:moveTo>
                  <a:lnTo>
                    <a:pt x="659831" y="466313"/>
                  </a:lnTo>
                  <a:lnTo>
                    <a:pt x="659830" y="513557"/>
                  </a:lnTo>
                  <a:lnTo>
                    <a:pt x="620206" y="513557"/>
                  </a:lnTo>
                  <a:lnTo>
                    <a:pt x="574517" y="516605"/>
                  </a:lnTo>
                  <a:lnTo>
                    <a:pt x="527273" y="522701"/>
                  </a:lnTo>
                  <a:lnTo>
                    <a:pt x="487649" y="530321"/>
                  </a:lnTo>
                  <a:lnTo>
                    <a:pt x="452597" y="539465"/>
                  </a:lnTo>
                  <a:lnTo>
                    <a:pt x="446501" y="540989"/>
                  </a:lnTo>
                  <a:lnTo>
                    <a:pt x="437357" y="544037"/>
                  </a:lnTo>
                  <a:lnTo>
                    <a:pt x="431261" y="545561"/>
                  </a:lnTo>
                  <a:lnTo>
                    <a:pt x="399257" y="556229"/>
                  </a:lnTo>
                  <a:lnTo>
                    <a:pt x="396209" y="557753"/>
                  </a:lnTo>
                  <a:lnTo>
                    <a:pt x="382493" y="562325"/>
                  </a:lnTo>
                  <a:lnTo>
                    <a:pt x="379445" y="563849"/>
                  </a:lnTo>
                  <a:lnTo>
                    <a:pt x="365729" y="568421"/>
                  </a:lnTo>
                  <a:lnTo>
                    <a:pt x="362681" y="569945"/>
                  </a:lnTo>
                  <a:lnTo>
                    <a:pt x="348965" y="574517"/>
                  </a:lnTo>
                  <a:lnTo>
                    <a:pt x="345917" y="576041"/>
                  </a:lnTo>
                  <a:lnTo>
                    <a:pt x="336773" y="579089"/>
                  </a:lnTo>
                  <a:lnTo>
                    <a:pt x="333725" y="580613"/>
                  </a:lnTo>
                  <a:lnTo>
                    <a:pt x="301751" y="591281"/>
                  </a:lnTo>
                  <a:lnTo>
                    <a:pt x="295655" y="592805"/>
                  </a:lnTo>
                  <a:lnTo>
                    <a:pt x="291083" y="594329"/>
                  </a:lnTo>
                  <a:lnTo>
                    <a:pt x="278891" y="597377"/>
                  </a:lnTo>
                  <a:lnTo>
                    <a:pt x="274319" y="598901"/>
                  </a:lnTo>
                  <a:lnTo>
                    <a:pt x="262127" y="601949"/>
                  </a:lnTo>
                  <a:lnTo>
                    <a:pt x="239267" y="606521"/>
                  </a:lnTo>
                  <a:lnTo>
                    <a:pt x="228599" y="608045"/>
                  </a:lnTo>
                  <a:lnTo>
                    <a:pt x="216407" y="609569"/>
                  </a:lnTo>
                  <a:lnTo>
                    <a:pt x="199643" y="611093"/>
                  </a:lnTo>
                  <a:lnTo>
                    <a:pt x="199643" y="612617"/>
                  </a:lnTo>
                  <a:lnTo>
                    <a:pt x="254508" y="609569"/>
                  </a:lnTo>
                  <a:lnTo>
                    <a:pt x="303276" y="595853"/>
                  </a:lnTo>
                  <a:lnTo>
                    <a:pt x="364205" y="574517"/>
                  </a:lnTo>
                  <a:lnTo>
                    <a:pt x="396209" y="562325"/>
                  </a:lnTo>
                  <a:lnTo>
                    <a:pt x="412973" y="557753"/>
                  </a:lnTo>
                  <a:lnTo>
                    <a:pt x="431261" y="551657"/>
                  </a:lnTo>
                  <a:lnTo>
                    <a:pt x="429737" y="551657"/>
                  </a:lnTo>
                  <a:lnTo>
                    <a:pt x="448025" y="545561"/>
                  </a:lnTo>
                  <a:lnTo>
                    <a:pt x="486125" y="536417"/>
                  </a:lnTo>
                  <a:lnTo>
                    <a:pt x="528797" y="527273"/>
                  </a:lnTo>
                  <a:lnTo>
                    <a:pt x="577565" y="521177"/>
                  </a:lnTo>
                  <a:lnTo>
                    <a:pt x="576041" y="521177"/>
                  </a:lnTo>
                  <a:lnTo>
                    <a:pt x="630875" y="518129"/>
                  </a:lnTo>
                  <a:lnTo>
                    <a:pt x="664403" y="518129"/>
                  </a:lnTo>
                  <a:lnTo>
                    <a:pt x="664403" y="465551"/>
                  </a:lnTo>
                  <a:close/>
                </a:path>
                <a:path w="771525" h="617219">
                  <a:moveTo>
                    <a:pt x="659831" y="466313"/>
                  </a:moveTo>
                  <a:lnTo>
                    <a:pt x="659830" y="470885"/>
                  </a:lnTo>
                  <a:lnTo>
                    <a:pt x="659831" y="466313"/>
                  </a:lnTo>
                  <a:close/>
                </a:path>
                <a:path w="771525" h="617219">
                  <a:moveTo>
                    <a:pt x="714695" y="412465"/>
                  </a:moveTo>
                  <a:lnTo>
                    <a:pt x="710123" y="412973"/>
                  </a:lnTo>
                  <a:lnTo>
                    <a:pt x="710122" y="458693"/>
                  </a:lnTo>
                  <a:lnTo>
                    <a:pt x="710122" y="463265"/>
                  </a:lnTo>
                  <a:lnTo>
                    <a:pt x="690310" y="463265"/>
                  </a:lnTo>
                  <a:lnTo>
                    <a:pt x="668974" y="464789"/>
                  </a:lnTo>
                  <a:lnTo>
                    <a:pt x="664403" y="465551"/>
                  </a:lnTo>
                  <a:lnTo>
                    <a:pt x="664403" y="470885"/>
                  </a:lnTo>
                  <a:lnTo>
                    <a:pt x="670499" y="470885"/>
                  </a:lnTo>
                  <a:lnTo>
                    <a:pt x="676595" y="469361"/>
                  </a:lnTo>
                  <a:lnTo>
                    <a:pt x="691835" y="469361"/>
                  </a:lnTo>
                  <a:lnTo>
                    <a:pt x="700979" y="467837"/>
                  </a:lnTo>
                  <a:lnTo>
                    <a:pt x="714695" y="467837"/>
                  </a:lnTo>
                  <a:lnTo>
                    <a:pt x="714695" y="412465"/>
                  </a:lnTo>
                  <a:close/>
                </a:path>
                <a:path w="771525" h="617219">
                  <a:moveTo>
                    <a:pt x="710123" y="412973"/>
                  </a:moveTo>
                  <a:lnTo>
                    <a:pt x="710122" y="417545"/>
                  </a:lnTo>
                  <a:lnTo>
                    <a:pt x="710123" y="412973"/>
                  </a:lnTo>
                  <a:close/>
                </a:path>
                <a:path w="771525" h="617219">
                  <a:moveTo>
                    <a:pt x="771083" y="4572"/>
                  </a:moveTo>
                  <a:lnTo>
                    <a:pt x="766510" y="406877"/>
                  </a:lnTo>
                  <a:lnTo>
                    <a:pt x="766510" y="411449"/>
                  </a:lnTo>
                  <a:lnTo>
                    <a:pt x="723838" y="411449"/>
                  </a:lnTo>
                  <a:lnTo>
                    <a:pt x="714695" y="412465"/>
                  </a:lnTo>
                  <a:lnTo>
                    <a:pt x="714695" y="417545"/>
                  </a:lnTo>
                  <a:lnTo>
                    <a:pt x="720791" y="417545"/>
                  </a:lnTo>
                  <a:lnTo>
                    <a:pt x="728411" y="416021"/>
                  </a:lnTo>
                  <a:lnTo>
                    <a:pt x="771083" y="416021"/>
                  </a:lnTo>
                  <a:lnTo>
                    <a:pt x="771083" y="4572"/>
                  </a:lnTo>
                  <a:close/>
                </a:path>
                <a:path w="771525" h="617219">
                  <a:moveTo>
                    <a:pt x="105156" y="51816"/>
                  </a:moveTo>
                  <a:lnTo>
                    <a:pt x="53340" y="51816"/>
                  </a:lnTo>
                  <a:lnTo>
                    <a:pt x="53340" y="108204"/>
                  </a:lnTo>
                  <a:lnTo>
                    <a:pt x="9144" y="108204"/>
                  </a:lnTo>
                  <a:lnTo>
                    <a:pt x="57911" y="108204"/>
                  </a:lnTo>
                  <a:lnTo>
                    <a:pt x="57911" y="56388"/>
                  </a:lnTo>
                  <a:lnTo>
                    <a:pt x="64010" y="56388"/>
                  </a:lnTo>
                  <a:lnTo>
                    <a:pt x="105156" y="52273"/>
                  </a:lnTo>
                  <a:lnTo>
                    <a:pt x="105156" y="51816"/>
                  </a:lnTo>
                  <a:close/>
                </a:path>
                <a:path w="771525" h="617219">
                  <a:moveTo>
                    <a:pt x="64008" y="56388"/>
                  </a:moveTo>
                  <a:close/>
                </a:path>
                <a:path w="771525" h="617219">
                  <a:moveTo>
                    <a:pt x="109727" y="51816"/>
                  </a:moveTo>
                  <a:lnTo>
                    <a:pt x="105156" y="52273"/>
                  </a:lnTo>
                  <a:lnTo>
                    <a:pt x="105156" y="56388"/>
                  </a:lnTo>
                  <a:lnTo>
                    <a:pt x="109727" y="56388"/>
                  </a:lnTo>
                  <a:lnTo>
                    <a:pt x="109727" y="51816"/>
                  </a:lnTo>
                  <a:close/>
                </a:path>
                <a:path w="771525" h="617219">
                  <a:moveTo>
                    <a:pt x="771083" y="0"/>
                  </a:moveTo>
                  <a:lnTo>
                    <a:pt x="105156" y="0"/>
                  </a:lnTo>
                  <a:lnTo>
                    <a:pt x="105156" y="52273"/>
                  </a:lnTo>
                  <a:lnTo>
                    <a:pt x="109727" y="51816"/>
                  </a:lnTo>
                  <a:lnTo>
                    <a:pt x="109727" y="4572"/>
                  </a:lnTo>
                  <a:lnTo>
                    <a:pt x="114300" y="4572"/>
                  </a:lnTo>
                  <a:lnTo>
                    <a:pt x="771083" y="4572"/>
                  </a:lnTo>
                  <a:lnTo>
                    <a:pt x="771083" y="0"/>
                  </a:lnTo>
                  <a:close/>
                </a:path>
                <a:path w="771525" h="617219">
                  <a:moveTo>
                    <a:pt x="114300" y="4572"/>
                  </a:moveTo>
                  <a:close/>
                </a:path>
                <a:path w="771525" h="617219">
                  <a:moveTo>
                    <a:pt x="771083" y="4572"/>
                  </a:moveTo>
                  <a:lnTo>
                    <a:pt x="114300" y="4572"/>
                  </a:lnTo>
                  <a:lnTo>
                    <a:pt x="771083" y="457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6804599" y="2088215"/>
              <a:ext cx="762000" cy="608965"/>
            </a:xfrm>
            <a:custGeom>
              <a:avLst/>
              <a:gdLst/>
              <a:ahLst/>
              <a:cxnLst/>
              <a:rect l="l" t="t" r="r" b="b"/>
              <a:pathLst>
                <a:path w="762000" h="608964">
                  <a:moveTo>
                    <a:pt x="655259" y="103632"/>
                  </a:moveTo>
                  <a:lnTo>
                    <a:pt x="0" y="103632"/>
                  </a:lnTo>
                  <a:lnTo>
                    <a:pt x="0" y="586709"/>
                  </a:lnTo>
                  <a:lnTo>
                    <a:pt x="57751" y="598640"/>
                  </a:lnTo>
                  <a:lnTo>
                    <a:pt x="108783" y="605676"/>
                  </a:lnTo>
                  <a:lnTo>
                    <a:pt x="154056" y="608387"/>
                  </a:lnTo>
                  <a:lnTo>
                    <a:pt x="194530" y="607342"/>
                  </a:lnTo>
                  <a:lnTo>
                    <a:pt x="264919" y="596259"/>
                  </a:lnTo>
                  <a:lnTo>
                    <a:pt x="327629" y="576982"/>
                  </a:lnTo>
                  <a:lnTo>
                    <a:pt x="390339" y="554063"/>
                  </a:lnTo>
                  <a:lnTo>
                    <a:pt x="424094" y="542661"/>
                  </a:lnTo>
                  <a:lnTo>
                    <a:pt x="460729" y="532055"/>
                  </a:lnTo>
                  <a:lnTo>
                    <a:pt x="501202" y="522816"/>
                  </a:lnTo>
                  <a:lnTo>
                    <a:pt x="546475" y="515511"/>
                  </a:lnTo>
                  <a:lnTo>
                    <a:pt x="597507" y="510711"/>
                  </a:lnTo>
                  <a:lnTo>
                    <a:pt x="655259" y="508985"/>
                  </a:lnTo>
                  <a:lnTo>
                    <a:pt x="655259" y="103632"/>
                  </a:lnTo>
                  <a:close/>
                </a:path>
                <a:path w="762000" h="608964">
                  <a:moveTo>
                    <a:pt x="705551" y="51816"/>
                  </a:moveTo>
                  <a:lnTo>
                    <a:pt x="53340" y="51816"/>
                  </a:lnTo>
                  <a:lnTo>
                    <a:pt x="53340" y="103632"/>
                  </a:lnTo>
                  <a:lnTo>
                    <a:pt x="655259" y="103632"/>
                  </a:lnTo>
                  <a:lnTo>
                    <a:pt x="655259" y="461741"/>
                  </a:lnTo>
                  <a:lnTo>
                    <a:pt x="659688" y="461265"/>
                  </a:lnTo>
                  <a:lnTo>
                    <a:pt x="671261" y="460217"/>
                  </a:lnTo>
                  <a:lnTo>
                    <a:pt x="687405" y="459169"/>
                  </a:lnTo>
                  <a:lnTo>
                    <a:pt x="705551" y="458693"/>
                  </a:lnTo>
                  <a:lnTo>
                    <a:pt x="705551" y="51816"/>
                  </a:lnTo>
                  <a:close/>
                </a:path>
                <a:path w="762000" h="608964">
                  <a:moveTo>
                    <a:pt x="761939" y="0"/>
                  </a:moveTo>
                  <a:lnTo>
                    <a:pt x="105156" y="0"/>
                  </a:lnTo>
                  <a:lnTo>
                    <a:pt x="105156" y="51816"/>
                  </a:lnTo>
                  <a:lnTo>
                    <a:pt x="705551" y="51816"/>
                  </a:lnTo>
                  <a:lnTo>
                    <a:pt x="705551" y="408401"/>
                  </a:lnTo>
                  <a:lnTo>
                    <a:pt x="722886" y="407639"/>
                  </a:lnTo>
                  <a:lnTo>
                    <a:pt x="740912" y="407115"/>
                  </a:lnTo>
                  <a:lnTo>
                    <a:pt x="761939" y="406877"/>
                  </a:lnTo>
                  <a:lnTo>
                    <a:pt x="761939" y="0"/>
                  </a:lnTo>
                  <a:close/>
                </a:path>
              </a:pathLst>
            </a:custGeom>
            <a:solidFill>
              <a:srgbClr val="FFFF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6800027" y="2083643"/>
              <a:ext cx="771525" cy="617220"/>
            </a:xfrm>
            <a:custGeom>
              <a:avLst/>
              <a:gdLst/>
              <a:ahLst/>
              <a:cxnLst/>
              <a:rect l="l" t="t" r="r" b="b"/>
              <a:pathLst>
                <a:path w="771525" h="617219">
                  <a:moveTo>
                    <a:pt x="53340" y="103632"/>
                  </a:moveTo>
                  <a:lnTo>
                    <a:pt x="0" y="103632"/>
                  </a:lnTo>
                  <a:lnTo>
                    <a:pt x="0" y="594329"/>
                  </a:lnTo>
                  <a:lnTo>
                    <a:pt x="60960" y="608045"/>
                  </a:lnTo>
                  <a:lnTo>
                    <a:pt x="88392" y="612617"/>
                  </a:lnTo>
                  <a:lnTo>
                    <a:pt x="112776" y="615635"/>
                  </a:lnTo>
                  <a:lnTo>
                    <a:pt x="135636" y="617159"/>
                  </a:lnTo>
                  <a:lnTo>
                    <a:pt x="199644" y="617159"/>
                  </a:lnTo>
                  <a:lnTo>
                    <a:pt x="217932" y="615635"/>
                  </a:lnTo>
                  <a:lnTo>
                    <a:pt x="254508" y="609569"/>
                  </a:lnTo>
                  <a:lnTo>
                    <a:pt x="260096" y="608045"/>
                  </a:lnTo>
                  <a:lnTo>
                    <a:pt x="137160" y="608045"/>
                  </a:lnTo>
                  <a:lnTo>
                    <a:pt x="114300" y="604997"/>
                  </a:lnTo>
                  <a:lnTo>
                    <a:pt x="88392" y="601949"/>
                  </a:lnTo>
                  <a:lnTo>
                    <a:pt x="89916" y="601949"/>
                  </a:lnTo>
                  <a:lnTo>
                    <a:pt x="62484" y="598901"/>
                  </a:lnTo>
                  <a:lnTo>
                    <a:pt x="35052" y="592805"/>
                  </a:lnTo>
                  <a:lnTo>
                    <a:pt x="27813" y="591281"/>
                  </a:lnTo>
                  <a:lnTo>
                    <a:pt x="9144" y="591281"/>
                  </a:lnTo>
                  <a:lnTo>
                    <a:pt x="6096" y="586709"/>
                  </a:lnTo>
                  <a:lnTo>
                    <a:pt x="9144" y="586709"/>
                  </a:lnTo>
                  <a:lnTo>
                    <a:pt x="9144" y="112776"/>
                  </a:lnTo>
                  <a:lnTo>
                    <a:pt x="4572" y="112776"/>
                  </a:lnTo>
                  <a:lnTo>
                    <a:pt x="9144" y="108204"/>
                  </a:lnTo>
                  <a:lnTo>
                    <a:pt x="53340" y="108204"/>
                  </a:lnTo>
                  <a:lnTo>
                    <a:pt x="53340" y="103632"/>
                  </a:lnTo>
                  <a:close/>
                </a:path>
                <a:path w="771525" h="617219">
                  <a:moveTo>
                    <a:pt x="655259" y="508985"/>
                  </a:moveTo>
                  <a:lnTo>
                    <a:pt x="630875" y="508985"/>
                  </a:lnTo>
                  <a:lnTo>
                    <a:pt x="576041" y="512033"/>
                  </a:lnTo>
                  <a:lnTo>
                    <a:pt x="527273" y="518129"/>
                  </a:lnTo>
                  <a:lnTo>
                    <a:pt x="484601" y="527273"/>
                  </a:lnTo>
                  <a:lnTo>
                    <a:pt x="444977" y="536417"/>
                  </a:lnTo>
                  <a:lnTo>
                    <a:pt x="428213" y="542513"/>
                  </a:lnTo>
                  <a:lnTo>
                    <a:pt x="409925" y="548609"/>
                  </a:lnTo>
                  <a:lnTo>
                    <a:pt x="393161" y="554705"/>
                  </a:lnTo>
                  <a:lnTo>
                    <a:pt x="361157" y="565373"/>
                  </a:lnTo>
                  <a:lnTo>
                    <a:pt x="330677" y="577565"/>
                  </a:lnTo>
                  <a:lnTo>
                    <a:pt x="268224" y="595853"/>
                  </a:lnTo>
                  <a:lnTo>
                    <a:pt x="217932" y="604997"/>
                  </a:lnTo>
                  <a:lnTo>
                    <a:pt x="198120" y="606521"/>
                  </a:lnTo>
                  <a:lnTo>
                    <a:pt x="199644" y="606521"/>
                  </a:lnTo>
                  <a:lnTo>
                    <a:pt x="179832" y="608045"/>
                  </a:lnTo>
                  <a:lnTo>
                    <a:pt x="260096" y="608045"/>
                  </a:lnTo>
                  <a:lnTo>
                    <a:pt x="271272" y="604997"/>
                  </a:lnTo>
                  <a:lnTo>
                    <a:pt x="303276" y="595853"/>
                  </a:lnTo>
                  <a:lnTo>
                    <a:pt x="333725" y="586709"/>
                  </a:lnTo>
                  <a:lnTo>
                    <a:pt x="364205" y="574517"/>
                  </a:lnTo>
                  <a:lnTo>
                    <a:pt x="396209" y="562325"/>
                  </a:lnTo>
                  <a:lnTo>
                    <a:pt x="412973" y="557753"/>
                  </a:lnTo>
                  <a:lnTo>
                    <a:pt x="431261" y="551657"/>
                  </a:lnTo>
                  <a:lnTo>
                    <a:pt x="429737" y="551657"/>
                  </a:lnTo>
                  <a:lnTo>
                    <a:pt x="448025" y="545561"/>
                  </a:lnTo>
                  <a:lnTo>
                    <a:pt x="486125" y="536417"/>
                  </a:lnTo>
                  <a:lnTo>
                    <a:pt x="528797" y="527273"/>
                  </a:lnTo>
                  <a:lnTo>
                    <a:pt x="577565" y="521177"/>
                  </a:lnTo>
                  <a:lnTo>
                    <a:pt x="576041" y="521177"/>
                  </a:lnTo>
                  <a:lnTo>
                    <a:pt x="630875" y="518129"/>
                  </a:lnTo>
                  <a:lnTo>
                    <a:pt x="664403" y="518129"/>
                  </a:lnTo>
                  <a:lnTo>
                    <a:pt x="664403" y="513557"/>
                  </a:lnTo>
                  <a:lnTo>
                    <a:pt x="655259" y="513557"/>
                  </a:lnTo>
                  <a:lnTo>
                    <a:pt x="655259" y="508985"/>
                  </a:lnTo>
                  <a:close/>
                </a:path>
                <a:path w="771525" h="617219">
                  <a:moveTo>
                    <a:pt x="6096" y="586709"/>
                  </a:moveTo>
                  <a:lnTo>
                    <a:pt x="9144" y="591281"/>
                  </a:lnTo>
                  <a:lnTo>
                    <a:pt x="9144" y="587351"/>
                  </a:lnTo>
                  <a:lnTo>
                    <a:pt x="6096" y="586709"/>
                  </a:lnTo>
                  <a:close/>
                </a:path>
                <a:path w="771525" h="617219">
                  <a:moveTo>
                    <a:pt x="9144" y="587351"/>
                  </a:moveTo>
                  <a:lnTo>
                    <a:pt x="9144" y="591281"/>
                  </a:lnTo>
                  <a:lnTo>
                    <a:pt x="27813" y="591281"/>
                  </a:lnTo>
                  <a:lnTo>
                    <a:pt x="9144" y="587351"/>
                  </a:lnTo>
                  <a:close/>
                </a:path>
                <a:path w="771525" h="617219">
                  <a:moveTo>
                    <a:pt x="9144" y="586709"/>
                  </a:moveTo>
                  <a:lnTo>
                    <a:pt x="6096" y="586709"/>
                  </a:lnTo>
                  <a:lnTo>
                    <a:pt x="9144" y="587351"/>
                  </a:lnTo>
                  <a:lnTo>
                    <a:pt x="9144" y="586709"/>
                  </a:lnTo>
                  <a:close/>
                </a:path>
                <a:path w="771525" h="617219">
                  <a:moveTo>
                    <a:pt x="655259" y="108204"/>
                  </a:moveTo>
                  <a:lnTo>
                    <a:pt x="655259" y="513557"/>
                  </a:lnTo>
                  <a:lnTo>
                    <a:pt x="659831" y="508985"/>
                  </a:lnTo>
                  <a:lnTo>
                    <a:pt x="664403" y="508985"/>
                  </a:lnTo>
                  <a:lnTo>
                    <a:pt x="664403" y="470885"/>
                  </a:lnTo>
                  <a:lnTo>
                    <a:pt x="659831" y="470885"/>
                  </a:lnTo>
                  <a:lnTo>
                    <a:pt x="659831" y="461741"/>
                  </a:lnTo>
                  <a:lnTo>
                    <a:pt x="664403" y="461741"/>
                  </a:lnTo>
                  <a:lnTo>
                    <a:pt x="664403" y="112776"/>
                  </a:lnTo>
                  <a:lnTo>
                    <a:pt x="659831" y="112776"/>
                  </a:lnTo>
                  <a:lnTo>
                    <a:pt x="655259" y="108204"/>
                  </a:lnTo>
                  <a:close/>
                </a:path>
                <a:path w="771525" h="617219">
                  <a:moveTo>
                    <a:pt x="664403" y="508985"/>
                  </a:moveTo>
                  <a:lnTo>
                    <a:pt x="659831" y="508985"/>
                  </a:lnTo>
                  <a:lnTo>
                    <a:pt x="655259" y="513557"/>
                  </a:lnTo>
                  <a:lnTo>
                    <a:pt x="664403" y="513557"/>
                  </a:lnTo>
                  <a:lnTo>
                    <a:pt x="664403" y="508985"/>
                  </a:lnTo>
                  <a:close/>
                </a:path>
                <a:path w="771525" h="617219">
                  <a:moveTo>
                    <a:pt x="664403" y="461741"/>
                  </a:moveTo>
                  <a:lnTo>
                    <a:pt x="659831" y="461741"/>
                  </a:lnTo>
                  <a:lnTo>
                    <a:pt x="659831" y="470885"/>
                  </a:lnTo>
                  <a:lnTo>
                    <a:pt x="664403" y="470885"/>
                  </a:lnTo>
                  <a:lnTo>
                    <a:pt x="664403" y="461741"/>
                  </a:lnTo>
                  <a:close/>
                </a:path>
                <a:path w="771525" h="617219">
                  <a:moveTo>
                    <a:pt x="705551" y="458693"/>
                  </a:moveTo>
                  <a:lnTo>
                    <a:pt x="691835" y="458693"/>
                  </a:lnTo>
                  <a:lnTo>
                    <a:pt x="682691" y="460217"/>
                  </a:lnTo>
                  <a:lnTo>
                    <a:pt x="668975" y="460217"/>
                  </a:lnTo>
                  <a:lnTo>
                    <a:pt x="664403" y="461741"/>
                  </a:lnTo>
                  <a:lnTo>
                    <a:pt x="664403" y="470885"/>
                  </a:lnTo>
                  <a:lnTo>
                    <a:pt x="670499" y="470885"/>
                  </a:lnTo>
                  <a:lnTo>
                    <a:pt x="676595" y="469361"/>
                  </a:lnTo>
                  <a:lnTo>
                    <a:pt x="691835" y="469361"/>
                  </a:lnTo>
                  <a:lnTo>
                    <a:pt x="700979" y="467837"/>
                  </a:lnTo>
                  <a:lnTo>
                    <a:pt x="714695" y="467837"/>
                  </a:lnTo>
                  <a:lnTo>
                    <a:pt x="714695" y="463265"/>
                  </a:lnTo>
                  <a:lnTo>
                    <a:pt x="705551" y="463265"/>
                  </a:lnTo>
                  <a:lnTo>
                    <a:pt x="705551" y="458693"/>
                  </a:lnTo>
                  <a:close/>
                </a:path>
                <a:path w="771525" h="617219">
                  <a:moveTo>
                    <a:pt x="705551" y="56388"/>
                  </a:moveTo>
                  <a:lnTo>
                    <a:pt x="705551" y="463265"/>
                  </a:lnTo>
                  <a:lnTo>
                    <a:pt x="710123" y="458693"/>
                  </a:lnTo>
                  <a:lnTo>
                    <a:pt x="714695" y="458693"/>
                  </a:lnTo>
                  <a:lnTo>
                    <a:pt x="714695" y="417545"/>
                  </a:lnTo>
                  <a:lnTo>
                    <a:pt x="710123" y="417545"/>
                  </a:lnTo>
                  <a:lnTo>
                    <a:pt x="710123" y="408401"/>
                  </a:lnTo>
                  <a:lnTo>
                    <a:pt x="714695" y="408401"/>
                  </a:lnTo>
                  <a:lnTo>
                    <a:pt x="714695" y="60960"/>
                  </a:lnTo>
                  <a:lnTo>
                    <a:pt x="710123" y="60960"/>
                  </a:lnTo>
                  <a:lnTo>
                    <a:pt x="705551" y="56388"/>
                  </a:lnTo>
                  <a:close/>
                </a:path>
                <a:path w="771525" h="617219">
                  <a:moveTo>
                    <a:pt x="714695" y="458693"/>
                  </a:moveTo>
                  <a:lnTo>
                    <a:pt x="710123" y="458693"/>
                  </a:lnTo>
                  <a:lnTo>
                    <a:pt x="705551" y="463265"/>
                  </a:lnTo>
                  <a:lnTo>
                    <a:pt x="714695" y="463265"/>
                  </a:lnTo>
                  <a:lnTo>
                    <a:pt x="714695" y="458693"/>
                  </a:lnTo>
                  <a:close/>
                </a:path>
                <a:path w="771525" h="617219">
                  <a:moveTo>
                    <a:pt x="714695" y="408401"/>
                  </a:moveTo>
                  <a:lnTo>
                    <a:pt x="710123" y="408401"/>
                  </a:lnTo>
                  <a:lnTo>
                    <a:pt x="710123" y="417545"/>
                  </a:lnTo>
                  <a:lnTo>
                    <a:pt x="714695" y="417545"/>
                  </a:lnTo>
                  <a:lnTo>
                    <a:pt x="714695" y="408401"/>
                  </a:lnTo>
                  <a:close/>
                </a:path>
                <a:path w="771525" h="617219">
                  <a:moveTo>
                    <a:pt x="761939" y="406877"/>
                  </a:moveTo>
                  <a:lnTo>
                    <a:pt x="720791" y="406877"/>
                  </a:lnTo>
                  <a:lnTo>
                    <a:pt x="714695" y="408401"/>
                  </a:lnTo>
                  <a:lnTo>
                    <a:pt x="714695" y="417545"/>
                  </a:lnTo>
                  <a:lnTo>
                    <a:pt x="720791" y="417545"/>
                  </a:lnTo>
                  <a:lnTo>
                    <a:pt x="728411" y="416021"/>
                  </a:lnTo>
                  <a:lnTo>
                    <a:pt x="771083" y="416021"/>
                  </a:lnTo>
                  <a:lnTo>
                    <a:pt x="771083" y="411449"/>
                  </a:lnTo>
                  <a:lnTo>
                    <a:pt x="761939" y="411449"/>
                  </a:lnTo>
                  <a:lnTo>
                    <a:pt x="761939" y="406877"/>
                  </a:lnTo>
                  <a:close/>
                </a:path>
                <a:path w="771525" h="617219">
                  <a:moveTo>
                    <a:pt x="761939" y="4572"/>
                  </a:moveTo>
                  <a:lnTo>
                    <a:pt x="761939" y="411449"/>
                  </a:lnTo>
                  <a:lnTo>
                    <a:pt x="766511" y="406877"/>
                  </a:lnTo>
                  <a:lnTo>
                    <a:pt x="771083" y="406877"/>
                  </a:lnTo>
                  <a:lnTo>
                    <a:pt x="771083" y="9144"/>
                  </a:lnTo>
                  <a:lnTo>
                    <a:pt x="766511" y="9144"/>
                  </a:lnTo>
                  <a:lnTo>
                    <a:pt x="761939" y="4572"/>
                  </a:lnTo>
                  <a:close/>
                </a:path>
                <a:path w="771525" h="617219">
                  <a:moveTo>
                    <a:pt x="771083" y="406877"/>
                  </a:moveTo>
                  <a:lnTo>
                    <a:pt x="766511" y="406877"/>
                  </a:lnTo>
                  <a:lnTo>
                    <a:pt x="761939" y="411449"/>
                  </a:lnTo>
                  <a:lnTo>
                    <a:pt x="771083" y="411449"/>
                  </a:lnTo>
                  <a:lnTo>
                    <a:pt x="771083" y="406877"/>
                  </a:lnTo>
                  <a:close/>
                </a:path>
                <a:path w="771525" h="617219">
                  <a:moveTo>
                    <a:pt x="9144" y="108204"/>
                  </a:moveTo>
                  <a:lnTo>
                    <a:pt x="4572" y="112776"/>
                  </a:lnTo>
                  <a:lnTo>
                    <a:pt x="9144" y="112776"/>
                  </a:lnTo>
                  <a:lnTo>
                    <a:pt x="9144" y="108204"/>
                  </a:lnTo>
                  <a:close/>
                </a:path>
                <a:path w="771525" h="617219">
                  <a:moveTo>
                    <a:pt x="655259" y="108204"/>
                  </a:moveTo>
                  <a:lnTo>
                    <a:pt x="9144" y="108204"/>
                  </a:lnTo>
                  <a:lnTo>
                    <a:pt x="9144" y="112776"/>
                  </a:lnTo>
                  <a:lnTo>
                    <a:pt x="655259" y="112776"/>
                  </a:lnTo>
                  <a:lnTo>
                    <a:pt x="655259" y="108204"/>
                  </a:lnTo>
                  <a:close/>
                </a:path>
                <a:path w="771525" h="617219">
                  <a:moveTo>
                    <a:pt x="664403" y="103632"/>
                  </a:moveTo>
                  <a:lnTo>
                    <a:pt x="64008" y="103632"/>
                  </a:lnTo>
                  <a:lnTo>
                    <a:pt x="64008" y="108204"/>
                  </a:lnTo>
                  <a:lnTo>
                    <a:pt x="655259" y="108204"/>
                  </a:lnTo>
                  <a:lnTo>
                    <a:pt x="659831" y="112776"/>
                  </a:lnTo>
                  <a:lnTo>
                    <a:pt x="664403" y="112776"/>
                  </a:lnTo>
                  <a:lnTo>
                    <a:pt x="664403" y="103632"/>
                  </a:lnTo>
                  <a:close/>
                </a:path>
                <a:path w="771525" h="617219">
                  <a:moveTo>
                    <a:pt x="105156" y="51816"/>
                  </a:moveTo>
                  <a:lnTo>
                    <a:pt x="53340" y="51816"/>
                  </a:lnTo>
                  <a:lnTo>
                    <a:pt x="53340" y="108204"/>
                  </a:lnTo>
                  <a:lnTo>
                    <a:pt x="64008" y="108204"/>
                  </a:lnTo>
                  <a:lnTo>
                    <a:pt x="64008" y="60960"/>
                  </a:lnTo>
                  <a:lnTo>
                    <a:pt x="57912" y="60960"/>
                  </a:lnTo>
                  <a:lnTo>
                    <a:pt x="64008" y="56388"/>
                  </a:lnTo>
                  <a:lnTo>
                    <a:pt x="105156" y="56388"/>
                  </a:lnTo>
                  <a:lnTo>
                    <a:pt x="105156" y="51816"/>
                  </a:lnTo>
                  <a:close/>
                </a:path>
                <a:path w="771525" h="617219">
                  <a:moveTo>
                    <a:pt x="64008" y="56388"/>
                  </a:moveTo>
                  <a:lnTo>
                    <a:pt x="57912" y="60960"/>
                  </a:lnTo>
                  <a:lnTo>
                    <a:pt x="64008" y="60960"/>
                  </a:lnTo>
                  <a:lnTo>
                    <a:pt x="64008" y="56388"/>
                  </a:lnTo>
                  <a:close/>
                </a:path>
                <a:path w="771525" h="617219">
                  <a:moveTo>
                    <a:pt x="705551" y="56388"/>
                  </a:moveTo>
                  <a:lnTo>
                    <a:pt x="64008" y="56388"/>
                  </a:lnTo>
                  <a:lnTo>
                    <a:pt x="64008" y="60960"/>
                  </a:lnTo>
                  <a:lnTo>
                    <a:pt x="705551" y="60960"/>
                  </a:lnTo>
                  <a:lnTo>
                    <a:pt x="705551" y="56388"/>
                  </a:lnTo>
                  <a:close/>
                </a:path>
                <a:path w="771525" h="617219">
                  <a:moveTo>
                    <a:pt x="714695" y="51816"/>
                  </a:moveTo>
                  <a:lnTo>
                    <a:pt x="114300" y="51816"/>
                  </a:lnTo>
                  <a:lnTo>
                    <a:pt x="114300" y="56388"/>
                  </a:lnTo>
                  <a:lnTo>
                    <a:pt x="705551" y="56388"/>
                  </a:lnTo>
                  <a:lnTo>
                    <a:pt x="710123" y="60960"/>
                  </a:lnTo>
                  <a:lnTo>
                    <a:pt x="714695" y="60960"/>
                  </a:lnTo>
                  <a:lnTo>
                    <a:pt x="714695" y="51816"/>
                  </a:lnTo>
                  <a:close/>
                </a:path>
                <a:path w="771525" h="617219">
                  <a:moveTo>
                    <a:pt x="771083" y="0"/>
                  </a:moveTo>
                  <a:lnTo>
                    <a:pt x="105156" y="0"/>
                  </a:lnTo>
                  <a:lnTo>
                    <a:pt x="105156" y="56388"/>
                  </a:lnTo>
                  <a:lnTo>
                    <a:pt x="114300" y="56388"/>
                  </a:lnTo>
                  <a:lnTo>
                    <a:pt x="114300" y="9144"/>
                  </a:lnTo>
                  <a:lnTo>
                    <a:pt x="109728" y="9144"/>
                  </a:lnTo>
                  <a:lnTo>
                    <a:pt x="114300" y="4572"/>
                  </a:lnTo>
                  <a:lnTo>
                    <a:pt x="771083" y="4572"/>
                  </a:lnTo>
                  <a:lnTo>
                    <a:pt x="771083" y="0"/>
                  </a:lnTo>
                  <a:close/>
                </a:path>
                <a:path w="771525" h="617219">
                  <a:moveTo>
                    <a:pt x="114300" y="4572"/>
                  </a:moveTo>
                  <a:lnTo>
                    <a:pt x="109728" y="9144"/>
                  </a:lnTo>
                  <a:lnTo>
                    <a:pt x="114300" y="9144"/>
                  </a:lnTo>
                  <a:lnTo>
                    <a:pt x="114300" y="4572"/>
                  </a:lnTo>
                  <a:close/>
                </a:path>
                <a:path w="771525" h="617219">
                  <a:moveTo>
                    <a:pt x="761939" y="4572"/>
                  </a:moveTo>
                  <a:lnTo>
                    <a:pt x="114300" y="4572"/>
                  </a:lnTo>
                  <a:lnTo>
                    <a:pt x="114300" y="9144"/>
                  </a:lnTo>
                  <a:lnTo>
                    <a:pt x="761939" y="9144"/>
                  </a:lnTo>
                  <a:lnTo>
                    <a:pt x="761939" y="4572"/>
                  </a:lnTo>
                  <a:close/>
                </a:path>
                <a:path w="771525" h="617219">
                  <a:moveTo>
                    <a:pt x="771083" y="4572"/>
                  </a:moveTo>
                  <a:lnTo>
                    <a:pt x="761939" y="4572"/>
                  </a:lnTo>
                  <a:lnTo>
                    <a:pt x="766511" y="9144"/>
                  </a:lnTo>
                  <a:lnTo>
                    <a:pt x="771083" y="9144"/>
                  </a:lnTo>
                  <a:lnTo>
                    <a:pt x="771083" y="457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8" name="object 28"/>
          <p:cNvSpPr txBox="1"/>
          <p:nvPr/>
        </p:nvSpPr>
        <p:spPr>
          <a:xfrm>
            <a:off x="6945826" y="2342188"/>
            <a:ext cx="369570" cy="2698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4135" marR="5080" indent="-52069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latin typeface="Verdana"/>
                <a:cs typeface="Verdana"/>
              </a:rPr>
              <a:t>M</a:t>
            </a:r>
            <a:r>
              <a:rPr sz="800" spc="-5" dirty="0">
                <a:latin typeface="Verdana"/>
                <a:cs typeface="Verdana"/>
              </a:rPr>
              <a:t>a</a:t>
            </a:r>
            <a:r>
              <a:rPr sz="800" dirty="0">
                <a:latin typeface="Verdana"/>
                <a:cs typeface="Verdana"/>
              </a:rPr>
              <a:t>s</a:t>
            </a:r>
            <a:r>
              <a:rPr sz="800" spc="-5" dirty="0">
                <a:latin typeface="Verdana"/>
                <a:cs typeface="Verdana"/>
              </a:rPr>
              <a:t>t</a:t>
            </a:r>
            <a:r>
              <a:rPr sz="800" dirty="0">
                <a:latin typeface="Verdana"/>
                <a:cs typeface="Verdana"/>
              </a:rPr>
              <a:t>er  </a:t>
            </a:r>
            <a:r>
              <a:rPr sz="800" spc="-5" dirty="0">
                <a:latin typeface="Verdana"/>
                <a:cs typeface="Verdana"/>
              </a:rPr>
              <a:t>Data</a:t>
            </a:r>
            <a:endParaRPr sz="800">
              <a:latin typeface="Verdana"/>
              <a:cs typeface="Verdana"/>
            </a:endParaRPr>
          </a:p>
        </p:txBody>
      </p:sp>
      <p:grpSp>
        <p:nvGrpSpPr>
          <p:cNvPr id="29" name="object 29"/>
          <p:cNvGrpSpPr/>
          <p:nvPr/>
        </p:nvGrpSpPr>
        <p:grpSpPr>
          <a:xfrm>
            <a:off x="5725698" y="3349995"/>
            <a:ext cx="715010" cy="448309"/>
            <a:chOff x="5725698" y="3349995"/>
            <a:chExt cx="715010" cy="448309"/>
          </a:xfrm>
        </p:grpSpPr>
        <p:sp>
          <p:nvSpPr>
            <p:cNvPr id="30" name="object 30"/>
            <p:cNvSpPr/>
            <p:nvPr/>
          </p:nvSpPr>
          <p:spPr>
            <a:xfrm>
              <a:off x="5737890" y="3383523"/>
              <a:ext cx="685800" cy="381000"/>
            </a:xfrm>
            <a:custGeom>
              <a:avLst/>
              <a:gdLst/>
              <a:ahLst/>
              <a:cxnLst/>
              <a:rect l="l" t="t" r="r" b="b"/>
              <a:pathLst>
                <a:path w="685800" h="381000">
                  <a:moveTo>
                    <a:pt x="513557" y="0"/>
                  </a:moveTo>
                  <a:lnTo>
                    <a:pt x="513557" y="95981"/>
                  </a:lnTo>
                  <a:lnTo>
                    <a:pt x="0" y="95981"/>
                  </a:lnTo>
                  <a:lnTo>
                    <a:pt x="0" y="286481"/>
                  </a:lnTo>
                  <a:lnTo>
                    <a:pt x="513557" y="286481"/>
                  </a:lnTo>
                  <a:lnTo>
                    <a:pt x="513557" y="380969"/>
                  </a:lnTo>
                  <a:lnTo>
                    <a:pt x="685739" y="190469"/>
                  </a:lnTo>
                  <a:lnTo>
                    <a:pt x="513557" y="0"/>
                  </a:lnTo>
                  <a:close/>
                </a:path>
              </a:pathLst>
            </a:custGeom>
            <a:solidFill>
              <a:srgbClr val="3232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5725698" y="3349995"/>
              <a:ext cx="715010" cy="448309"/>
            </a:xfrm>
            <a:custGeom>
              <a:avLst/>
              <a:gdLst/>
              <a:ahLst/>
              <a:cxnLst/>
              <a:rect l="l" t="t" r="r" b="b"/>
              <a:pathLst>
                <a:path w="715010" h="448310">
                  <a:moveTo>
                    <a:pt x="513557" y="320009"/>
                  </a:moveTo>
                  <a:lnTo>
                    <a:pt x="513557" y="448025"/>
                  </a:lnTo>
                  <a:lnTo>
                    <a:pt x="543659" y="414497"/>
                  </a:lnTo>
                  <a:lnTo>
                    <a:pt x="539465" y="414497"/>
                  </a:lnTo>
                  <a:lnTo>
                    <a:pt x="516605" y="406877"/>
                  </a:lnTo>
                  <a:lnTo>
                    <a:pt x="539465" y="381589"/>
                  </a:lnTo>
                  <a:lnTo>
                    <a:pt x="539465" y="332201"/>
                  </a:lnTo>
                  <a:lnTo>
                    <a:pt x="525749" y="332201"/>
                  </a:lnTo>
                  <a:lnTo>
                    <a:pt x="513557" y="320009"/>
                  </a:lnTo>
                  <a:close/>
                </a:path>
                <a:path w="715010" h="448310">
                  <a:moveTo>
                    <a:pt x="539465" y="381589"/>
                  </a:moveTo>
                  <a:lnTo>
                    <a:pt x="516605" y="406877"/>
                  </a:lnTo>
                  <a:lnTo>
                    <a:pt x="539465" y="414497"/>
                  </a:lnTo>
                  <a:lnTo>
                    <a:pt x="539465" y="381589"/>
                  </a:lnTo>
                  <a:close/>
                </a:path>
                <a:path w="715010" h="448310">
                  <a:moveTo>
                    <a:pt x="681239" y="224760"/>
                  </a:moveTo>
                  <a:lnTo>
                    <a:pt x="539465" y="381589"/>
                  </a:lnTo>
                  <a:lnTo>
                    <a:pt x="539465" y="414497"/>
                  </a:lnTo>
                  <a:lnTo>
                    <a:pt x="543659" y="414497"/>
                  </a:lnTo>
                  <a:lnTo>
                    <a:pt x="706485" y="233141"/>
                  </a:lnTo>
                  <a:lnTo>
                    <a:pt x="688817" y="233141"/>
                  </a:lnTo>
                  <a:lnTo>
                    <a:pt x="681239" y="224760"/>
                  </a:lnTo>
                  <a:close/>
                </a:path>
                <a:path w="715010" h="448310">
                  <a:moveTo>
                    <a:pt x="513557" y="115793"/>
                  </a:moveTo>
                  <a:lnTo>
                    <a:pt x="0" y="115793"/>
                  </a:lnTo>
                  <a:lnTo>
                    <a:pt x="0" y="332201"/>
                  </a:lnTo>
                  <a:lnTo>
                    <a:pt x="513557" y="332201"/>
                  </a:lnTo>
                  <a:lnTo>
                    <a:pt x="513557" y="320009"/>
                  </a:lnTo>
                  <a:lnTo>
                    <a:pt x="24384" y="320009"/>
                  </a:lnTo>
                  <a:lnTo>
                    <a:pt x="12192" y="306293"/>
                  </a:lnTo>
                  <a:lnTo>
                    <a:pt x="24384" y="306293"/>
                  </a:lnTo>
                  <a:lnTo>
                    <a:pt x="24384" y="141701"/>
                  </a:lnTo>
                  <a:lnTo>
                    <a:pt x="12192" y="141701"/>
                  </a:lnTo>
                  <a:lnTo>
                    <a:pt x="24384" y="129509"/>
                  </a:lnTo>
                  <a:lnTo>
                    <a:pt x="513557" y="129509"/>
                  </a:lnTo>
                  <a:lnTo>
                    <a:pt x="513557" y="115793"/>
                  </a:lnTo>
                  <a:close/>
                </a:path>
                <a:path w="715010" h="448310">
                  <a:moveTo>
                    <a:pt x="539465" y="306293"/>
                  </a:moveTo>
                  <a:lnTo>
                    <a:pt x="24384" y="306293"/>
                  </a:lnTo>
                  <a:lnTo>
                    <a:pt x="24384" y="320009"/>
                  </a:lnTo>
                  <a:lnTo>
                    <a:pt x="513557" y="320009"/>
                  </a:lnTo>
                  <a:lnTo>
                    <a:pt x="525749" y="332201"/>
                  </a:lnTo>
                  <a:lnTo>
                    <a:pt x="539465" y="332201"/>
                  </a:lnTo>
                  <a:lnTo>
                    <a:pt x="539465" y="306293"/>
                  </a:lnTo>
                  <a:close/>
                </a:path>
                <a:path w="715010" h="448310">
                  <a:moveTo>
                    <a:pt x="24384" y="306293"/>
                  </a:moveTo>
                  <a:lnTo>
                    <a:pt x="12192" y="306293"/>
                  </a:lnTo>
                  <a:lnTo>
                    <a:pt x="24384" y="320009"/>
                  </a:lnTo>
                  <a:lnTo>
                    <a:pt x="24384" y="306293"/>
                  </a:lnTo>
                  <a:close/>
                </a:path>
                <a:path w="715010" h="448310">
                  <a:moveTo>
                    <a:pt x="688817" y="216377"/>
                  </a:moveTo>
                  <a:lnTo>
                    <a:pt x="681239" y="224760"/>
                  </a:lnTo>
                  <a:lnTo>
                    <a:pt x="688817" y="233141"/>
                  </a:lnTo>
                  <a:lnTo>
                    <a:pt x="688817" y="216377"/>
                  </a:lnTo>
                  <a:close/>
                </a:path>
                <a:path w="715010" h="448310">
                  <a:moveTo>
                    <a:pt x="707852" y="216377"/>
                  </a:moveTo>
                  <a:lnTo>
                    <a:pt x="688817" y="216377"/>
                  </a:lnTo>
                  <a:lnTo>
                    <a:pt x="688817" y="233141"/>
                  </a:lnTo>
                  <a:lnTo>
                    <a:pt x="706485" y="233141"/>
                  </a:lnTo>
                  <a:lnTo>
                    <a:pt x="714695" y="223997"/>
                  </a:lnTo>
                  <a:lnTo>
                    <a:pt x="707852" y="216377"/>
                  </a:lnTo>
                  <a:close/>
                </a:path>
                <a:path w="715010" h="448310">
                  <a:moveTo>
                    <a:pt x="543663" y="33528"/>
                  </a:moveTo>
                  <a:lnTo>
                    <a:pt x="539465" y="33528"/>
                  </a:lnTo>
                  <a:lnTo>
                    <a:pt x="539465" y="67955"/>
                  </a:lnTo>
                  <a:lnTo>
                    <a:pt x="681239" y="224760"/>
                  </a:lnTo>
                  <a:lnTo>
                    <a:pt x="688817" y="216377"/>
                  </a:lnTo>
                  <a:lnTo>
                    <a:pt x="707852" y="216377"/>
                  </a:lnTo>
                  <a:lnTo>
                    <a:pt x="543663" y="33528"/>
                  </a:lnTo>
                  <a:close/>
                </a:path>
                <a:path w="715010" h="448310">
                  <a:moveTo>
                    <a:pt x="24384" y="129509"/>
                  </a:moveTo>
                  <a:lnTo>
                    <a:pt x="12192" y="141701"/>
                  </a:lnTo>
                  <a:lnTo>
                    <a:pt x="24384" y="141701"/>
                  </a:lnTo>
                  <a:lnTo>
                    <a:pt x="24384" y="129509"/>
                  </a:lnTo>
                  <a:close/>
                </a:path>
                <a:path w="715010" h="448310">
                  <a:moveTo>
                    <a:pt x="539465" y="115793"/>
                  </a:moveTo>
                  <a:lnTo>
                    <a:pt x="525749" y="115793"/>
                  </a:lnTo>
                  <a:lnTo>
                    <a:pt x="513557" y="129509"/>
                  </a:lnTo>
                  <a:lnTo>
                    <a:pt x="24384" y="129509"/>
                  </a:lnTo>
                  <a:lnTo>
                    <a:pt x="24384" y="141701"/>
                  </a:lnTo>
                  <a:lnTo>
                    <a:pt x="539465" y="141701"/>
                  </a:lnTo>
                  <a:lnTo>
                    <a:pt x="539465" y="115793"/>
                  </a:lnTo>
                  <a:close/>
                </a:path>
                <a:path w="715010" h="448310">
                  <a:moveTo>
                    <a:pt x="513557" y="0"/>
                  </a:moveTo>
                  <a:lnTo>
                    <a:pt x="513557" y="129509"/>
                  </a:lnTo>
                  <a:lnTo>
                    <a:pt x="525749" y="115793"/>
                  </a:lnTo>
                  <a:lnTo>
                    <a:pt x="539465" y="115793"/>
                  </a:lnTo>
                  <a:lnTo>
                    <a:pt x="539465" y="67955"/>
                  </a:lnTo>
                  <a:lnTo>
                    <a:pt x="516605" y="42672"/>
                  </a:lnTo>
                  <a:lnTo>
                    <a:pt x="539465" y="33528"/>
                  </a:lnTo>
                  <a:lnTo>
                    <a:pt x="543663" y="33528"/>
                  </a:lnTo>
                  <a:lnTo>
                    <a:pt x="513557" y="0"/>
                  </a:lnTo>
                  <a:close/>
                </a:path>
                <a:path w="715010" h="448310">
                  <a:moveTo>
                    <a:pt x="539465" y="33528"/>
                  </a:moveTo>
                  <a:lnTo>
                    <a:pt x="516605" y="42672"/>
                  </a:lnTo>
                  <a:lnTo>
                    <a:pt x="539465" y="67955"/>
                  </a:lnTo>
                  <a:lnTo>
                    <a:pt x="539465" y="33528"/>
                  </a:lnTo>
                  <a:close/>
                </a:path>
              </a:pathLst>
            </a:custGeom>
            <a:solidFill>
              <a:srgbClr val="375D8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2" name="object 32"/>
          <p:cNvSpPr txBox="1"/>
          <p:nvPr/>
        </p:nvSpPr>
        <p:spPr>
          <a:xfrm>
            <a:off x="5865398" y="3453095"/>
            <a:ext cx="346075" cy="2387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6830">
              <a:lnSpc>
                <a:spcPct val="100000"/>
              </a:lnSpc>
              <a:spcBef>
                <a:spcPts val="95"/>
              </a:spcBef>
            </a:pPr>
            <a:r>
              <a:rPr sz="700" spc="-10" dirty="0">
                <a:solidFill>
                  <a:srgbClr val="FFFFFF"/>
                </a:solidFill>
                <a:latin typeface="Arial"/>
                <a:cs typeface="Arial"/>
              </a:rPr>
              <a:t>LSMW</a:t>
            </a:r>
            <a:endParaRPr sz="7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700" spc="-10" dirty="0">
                <a:solidFill>
                  <a:srgbClr val="FFFFFF"/>
                </a:solidFill>
                <a:latin typeface="Arial"/>
                <a:cs typeface="Arial"/>
              </a:rPr>
              <a:t>/</a:t>
            </a:r>
            <a:r>
              <a:rPr sz="700" spc="-5" dirty="0">
                <a:solidFill>
                  <a:srgbClr val="FFFFFF"/>
                </a:solidFill>
                <a:latin typeface="Arial"/>
                <a:cs typeface="Arial"/>
              </a:rPr>
              <a:t>BDC</a:t>
            </a:r>
            <a:r>
              <a:rPr sz="700" spc="-10" dirty="0">
                <a:solidFill>
                  <a:srgbClr val="FFFFFF"/>
                </a:solidFill>
                <a:latin typeface="Arial"/>
                <a:cs typeface="Arial"/>
              </a:rPr>
              <a:t>/</a:t>
            </a:r>
            <a:r>
              <a:rPr sz="700" spc="-5" dirty="0">
                <a:solidFill>
                  <a:srgbClr val="FFFFFF"/>
                </a:solidFill>
                <a:latin typeface="Arial"/>
                <a:cs typeface="Arial"/>
              </a:rPr>
              <a:t>PI</a:t>
            </a:r>
            <a:endParaRPr sz="700">
              <a:latin typeface="Arial"/>
              <a:cs typeface="Arial"/>
            </a:endParaRPr>
          </a:p>
        </p:txBody>
      </p:sp>
      <p:grpSp>
        <p:nvGrpSpPr>
          <p:cNvPr id="33" name="object 33"/>
          <p:cNvGrpSpPr/>
          <p:nvPr/>
        </p:nvGrpSpPr>
        <p:grpSpPr>
          <a:xfrm>
            <a:off x="4049450" y="3270747"/>
            <a:ext cx="638810" cy="454659"/>
            <a:chOff x="4049450" y="3270747"/>
            <a:chExt cx="638810" cy="454659"/>
          </a:xfrm>
        </p:grpSpPr>
        <p:sp>
          <p:nvSpPr>
            <p:cNvPr id="34" name="object 34"/>
            <p:cNvSpPr/>
            <p:nvPr/>
          </p:nvSpPr>
          <p:spPr>
            <a:xfrm>
              <a:off x="4061642" y="3307323"/>
              <a:ext cx="609600" cy="381000"/>
            </a:xfrm>
            <a:custGeom>
              <a:avLst/>
              <a:gdLst/>
              <a:ahLst/>
              <a:cxnLst/>
              <a:rect l="l" t="t" r="r" b="b"/>
              <a:pathLst>
                <a:path w="609600" h="381000">
                  <a:moveTo>
                    <a:pt x="457169" y="0"/>
                  </a:moveTo>
                  <a:lnTo>
                    <a:pt x="457169" y="96011"/>
                  </a:lnTo>
                  <a:lnTo>
                    <a:pt x="0" y="96011"/>
                  </a:lnTo>
                  <a:lnTo>
                    <a:pt x="0" y="286481"/>
                  </a:lnTo>
                  <a:lnTo>
                    <a:pt x="457169" y="286481"/>
                  </a:lnTo>
                  <a:lnTo>
                    <a:pt x="457169" y="380969"/>
                  </a:lnTo>
                  <a:lnTo>
                    <a:pt x="609539" y="190469"/>
                  </a:lnTo>
                  <a:lnTo>
                    <a:pt x="457169" y="0"/>
                  </a:lnTo>
                  <a:close/>
                </a:path>
              </a:pathLst>
            </a:custGeom>
            <a:solidFill>
              <a:srgbClr val="3232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4049450" y="3270747"/>
              <a:ext cx="638810" cy="454659"/>
            </a:xfrm>
            <a:custGeom>
              <a:avLst/>
              <a:gdLst/>
              <a:ahLst/>
              <a:cxnLst/>
              <a:rect l="l" t="t" r="r" b="b"/>
              <a:pathLst>
                <a:path w="638810" h="454660">
                  <a:moveTo>
                    <a:pt x="457169" y="323057"/>
                  </a:moveTo>
                  <a:lnTo>
                    <a:pt x="457169" y="454121"/>
                  </a:lnTo>
                  <a:lnTo>
                    <a:pt x="486376" y="417545"/>
                  </a:lnTo>
                  <a:lnTo>
                    <a:pt x="481553" y="417545"/>
                  </a:lnTo>
                  <a:lnTo>
                    <a:pt x="458693" y="409925"/>
                  </a:lnTo>
                  <a:lnTo>
                    <a:pt x="481553" y="381344"/>
                  </a:lnTo>
                  <a:lnTo>
                    <a:pt x="481553" y="335249"/>
                  </a:lnTo>
                  <a:lnTo>
                    <a:pt x="469361" y="335249"/>
                  </a:lnTo>
                  <a:lnTo>
                    <a:pt x="457169" y="323057"/>
                  </a:lnTo>
                  <a:close/>
                </a:path>
                <a:path w="638810" h="454660">
                  <a:moveTo>
                    <a:pt x="481553" y="381344"/>
                  </a:moveTo>
                  <a:lnTo>
                    <a:pt x="458693" y="409925"/>
                  </a:lnTo>
                  <a:lnTo>
                    <a:pt x="481553" y="417545"/>
                  </a:lnTo>
                  <a:lnTo>
                    <a:pt x="481553" y="381344"/>
                  </a:lnTo>
                  <a:close/>
                </a:path>
                <a:path w="638810" h="454660">
                  <a:moveTo>
                    <a:pt x="604967" y="227046"/>
                  </a:moveTo>
                  <a:lnTo>
                    <a:pt x="481553" y="381344"/>
                  </a:lnTo>
                  <a:lnTo>
                    <a:pt x="481553" y="417545"/>
                  </a:lnTo>
                  <a:lnTo>
                    <a:pt x="486376" y="417545"/>
                  </a:lnTo>
                  <a:lnTo>
                    <a:pt x="632410" y="234665"/>
                  </a:lnTo>
                  <a:lnTo>
                    <a:pt x="611063" y="234665"/>
                  </a:lnTo>
                  <a:lnTo>
                    <a:pt x="604967" y="227046"/>
                  </a:lnTo>
                  <a:close/>
                </a:path>
                <a:path w="638810" h="454660">
                  <a:moveTo>
                    <a:pt x="457169" y="118872"/>
                  </a:moveTo>
                  <a:lnTo>
                    <a:pt x="0" y="118872"/>
                  </a:lnTo>
                  <a:lnTo>
                    <a:pt x="0" y="335249"/>
                  </a:lnTo>
                  <a:lnTo>
                    <a:pt x="457169" y="335249"/>
                  </a:lnTo>
                  <a:lnTo>
                    <a:pt x="457169" y="323057"/>
                  </a:lnTo>
                  <a:lnTo>
                    <a:pt x="24384" y="323057"/>
                  </a:lnTo>
                  <a:lnTo>
                    <a:pt x="12192" y="309341"/>
                  </a:lnTo>
                  <a:lnTo>
                    <a:pt x="24384" y="309341"/>
                  </a:lnTo>
                  <a:lnTo>
                    <a:pt x="24384" y="144749"/>
                  </a:lnTo>
                  <a:lnTo>
                    <a:pt x="12192" y="144749"/>
                  </a:lnTo>
                  <a:lnTo>
                    <a:pt x="24384" y="132588"/>
                  </a:lnTo>
                  <a:lnTo>
                    <a:pt x="457169" y="132588"/>
                  </a:lnTo>
                  <a:lnTo>
                    <a:pt x="457169" y="118872"/>
                  </a:lnTo>
                  <a:close/>
                </a:path>
                <a:path w="638810" h="454660">
                  <a:moveTo>
                    <a:pt x="481553" y="309341"/>
                  </a:moveTo>
                  <a:lnTo>
                    <a:pt x="24384" y="309341"/>
                  </a:lnTo>
                  <a:lnTo>
                    <a:pt x="24384" y="323057"/>
                  </a:lnTo>
                  <a:lnTo>
                    <a:pt x="457169" y="323057"/>
                  </a:lnTo>
                  <a:lnTo>
                    <a:pt x="469361" y="335249"/>
                  </a:lnTo>
                  <a:lnTo>
                    <a:pt x="481553" y="335249"/>
                  </a:lnTo>
                  <a:lnTo>
                    <a:pt x="481553" y="309341"/>
                  </a:lnTo>
                  <a:close/>
                </a:path>
                <a:path w="638810" h="454660">
                  <a:moveTo>
                    <a:pt x="24384" y="309341"/>
                  </a:moveTo>
                  <a:lnTo>
                    <a:pt x="12192" y="309341"/>
                  </a:lnTo>
                  <a:lnTo>
                    <a:pt x="24384" y="323057"/>
                  </a:lnTo>
                  <a:lnTo>
                    <a:pt x="24384" y="309341"/>
                  </a:lnTo>
                  <a:close/>
                </a:path>
                <a:path w="638810" h="454660">
                  <a:moveTo>
                    <a:pt x="611063" y="219425"/>
                  </a:moveTo>
                  <a:lnTo>
                    <a:pt x="604967" y="227046"/>
                  </a:lnTo>
                  <a:lnTo>
                    <a:pt x="611063" y="234665"/>
                  </a:lnTo>
                  <a:lnTo>
                    <a:pt x="611063" y="219425"/>
                  </a:lnTo>
                  <a:close/>
                </a:path>
                <a:path w="638810" h="454660">
                  <a:moveTo>
                    <a:pt x="632409" y="219425"/>
                  </a:moveTo>
                  <a:lnTo>
                    <a:pt x="611063" y="219425"/>
                  </a:lnTo>
                  <a:lnTo>
                    <a:pt x="611063" y="234665"/>
                  </a:lnTo>
                  <a:lnTo>
                    <a:pt x="632410" y="234665"/>
                  </a:lnTo>
                  <a:lnTo>
                    <a:pt x="638495" y="227045"/>
                  </a:lnTo>
                  <a:lnTo>
                    <a:pt x="632409" y="219425"/>
                  </a:lnTo>
                  <a:close/>
                </a:path>
                <a:path w="638810" h="454660">
                  <a:moveTo>
                    <a:pt x="486380" y="36576"/>
                  </a:moveTo>
                  <a:lnTo>
                    <a:pt x="481553" y="36576"/>
                  </a:lnTo>
                  <a:lnTo>
                    <a:pt x="481553" y="72772"/>
                  </a:lnTo>
                  <a:lnTo>
                    <a:pt x="604967" y="227046"/>
                  </a:lnTo>
                  <a:lnTo>
                    <a:pt x="611063" y="219425"/>
                  </a:lnTo>
                  <a:lnTo>
                    <a:pt x="632409" y="219425"/>
                  </a:lnTo>
                  <a:lnTo>
                    <a:pt x="486380" y="36576"/>
                  </a:lnTo>
                  <a:close/>
                </a:path>
                <a:path w="638810" h="454660">
                  <a:moveTo>
                    <a:pt x="24384" y="132588"/>
                  </a:moveTo>
                  <a:lnTo>
                    <a:pt x="12192" y="144749"/>
                  </a:lnTo>
                  <a:lnTo>
                    <a:pt x="24384" y="144749"/>
                  </a:lnTo>
                  <a:lnTo>
                    <a:pt x="24384" y="132588"/>
                  </a:lnTo>
                  <a:close/>
                </a:path>
                <a:path w="638810" h="454660">
                  <a:moveTo>
                    <a:pt x="481553" y="118872"/>
                  </a:moveTo>
                  <a:lnTo>
                    <a:pt x="469361" y="118872"/>
                  </a:lnTo>
                  <a:lnTo>
                    <a:pt x="457169" y="132588"/>
                  </a:lnTo>
                  <a:lnTo>
                    <a:pt x="24384" y="132588"/>
                  </a:lnTo>
                  <a:lnTo>
                    <a:pt x="24384" y="144749"/>
                  </a:lnTo>
                  <a:lnTo>
                    <a:pt x="481553" y="144749"/>
                  </a:lnTo>
                  <a:lnTo>
                    <a:pt x="481553" y="118872"/>
                  </a:lnTo>
                  <a:close/>
                </a:path>
                <a:path w="638810" h="454660">
                  <a:moveTo>
                    <a:pt x="457169" y="0"/>
                  </a:moveTo>
                  <a:lnTo>
                    <a:pt x="457169" y="132588"/>
                  </a:lnTo>
                  <a:lnTo>
                    <a:pt x="469361" y="118872"/>
                  </a:lnTo>
                  <a:lnTo>
                    <a:pt x="481553" y="118872"/>
                  </a:lnTo>
                  <a:lnTo>
                    <a:pt x="481553" y="72772"/>
                  </a:lnTo>
                  <a:lnTo>
                    <a:pt x="458693" y="44196"/>
                  </a:lnTo>
                  <a:lnTo>
                    <a:pt x="481553" y="36576"/>
                  </a:lnTo>
                  <a:lnTo>
                    <a:pt x="486380" y="36576"/>
                  </a:lnTo>
                  <a:lnTo>
                    <a:pt x="457169" y="0"/>
                  </a:lnTo>
                  <a:close/>
                </a:path>
                <a:path w="638810" h="454660">
                  <a:moveTo>
                    <a:pt x="481553" y="36576"/>
                  </a:moveTo>
                  <a:lnTo>
                    <a:pt x="458693" y="44196"/>
                  </a:lnTo>
                  <a:lnTo>
                    <a:pt x="481553" y="72772"/>
                  </a:lnTo>
                  <a:lnTo>
                    <a:pt x="481553" y="36576"/>
                  </a:lnTo>
                  <a:close/>
                </a:path>
              </a:pathLst>
            </a:custGeom>
            <a:solidFill>
              <a:srgbClr val="375D8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6" name="object 36"/>
          <p:cNvGrpSpPr/>
          <p:nvPr/>
        </p:nvGrpSpPr>
        <p:grpSpPr>
          <a:xfrm>
            <a:off x="4031162" y="2127839"/>
            <a:ext cx="638810" cy="454659"/>
            <a:chOff x="4031162" y="2127839"/>
            <a:chExt cx="638810" cy="454659"/>
          </a:xfrm>
        </p:grpSpPr>
        <p:sp>
          <p:nvSpPr>
            <p:cNvPr id="37" name="object 37"/>
            <p:cNvSpPr/>
            <p:nvPr/>
          </p:nvSpPr>
          <p:spPr>
            <a:xfrm>
              <a:off x="4047926" y="2164415"/>
              <a:ext cx="609600" cy="381000"/>
            </a:xfrm>
            <a:custGeom>
              <a:avLst/>
              <a:gdLst/>
              <a:ahLst/>
              <a:cxnLst/>
              <a:rect l="l" t="t" r="r" b="b"/>
              <a:pathLst>
                <a:path w="609600" h="381000">
                  <a:moveTo>
                    <a:pt x="152369" y="0"/>
                  </a:moveTo>
                  <a:lnTo>
                    <a:pt x="0" y="190499"/>
                  </a:lnTo>
                  <a:lnTo>
                    <a:pt x="152369" y="380969"/>
                  </a:lnTo>
                  <a:lnTo>
                    <a:pt x="152369" y="286481"/>
                  </a:lnTo>
                  <a:lnTo>
                    <a:pt x="609539" y="286481"/>
                  </a:lnTo>
                  <a:lnTo>
                    <a:pt x="609539" y="96011"/>
                  </a:lnTo>
                  <a:lnTo>
                    <a:pt x="152369" y="96011"/>
                  </a:lnTo>
                  <a:lnTo>
                    <a:pt x="152369" y="0"/>
                  </a:lnTo>
                  <a:close/>
                </a:path>
              </a:pathLst>
            </a:custGeom>
            <a:solidFill>
              <a:srgbClr val="3232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4031162" y="2127839"/>
              <a:ext cx="638810" cy="454659"/>
            </a:xfrm>
            <a:custGeom>
              <a:avLst/>
              <a:gdLst/>
              <a:ahLst/>
              <a:cxnLst/>
              <a:rect l="l" t="t" r="r" b="b"/>
              <a:pathLst>
                <a:path w="638810" h="454660">
                  <a:moveTo>
                    <a:pt x="181325" y="0"/>
                  </a:moveTo>
                  <a:lnTo>
                    <a:pt x="0" y="227076"/>
                  </a:lnTo>
                  <a:lnTo>
                    <a:pt x="181325" y="454121"/>
                  </a:lnTo>
                  <a:lnTo>
                    <a:pt x="181325" y="417545"/>
                  </a:lnTo>
                  <a:lnTo>
                    <a:pt x="155417" y="417545"/>
                  </a:lnTo>
                  <a:lnTo>
                    <a:pt x="155417" y="381349"/>
                  </a:lnTo>
                  <a:lnTo>
                    <a:pt x="38099" y="234696"/>
                  </a:lnTo>
                  <a:lnTo>
                    <a:pt x="25908" y="234696"/>
                  </a:lnTo>
                  <a:lnTo>
                    <a:pt x="25908" y="219456"/>
                  </a:lnTo>
                  <a:lnTo>
                    <a:pt x="38097" y="219456"/>
                  </a:lnTo>
                  <a:lnTo>
                    <a:pt x="155417" y="72776"/>
                  </a:lnTo>
                  <a:lnTo>
                    <a:pt x="155417" y="36576"/>
                  </a:lnTo>
                  <a:lnTo>
                    <a:pt x="181325" y="36576"/>
                  </a:lnTo>
                  <a:lnTo>
                    <a:pt x="181325" y="0"/>
                  </a:lnTo>
                  <a:close/>
                </a:path>
                <a:path w="638810" h="454660">
                  <a:moveTo>
                    <a:pt x="155417" y="381349"/>
                  </a:moveTo>
                  <a:lnTo>
                    <a:pt x="155417" y="417545"/>
                  </a:lnTo>
                  <a:lnTo>
                    <a:pt x="178277" y="409925"/>
                  </a:lnTo>
                  <a:lnTo>
                    <a:pt x="155417" y="381349"/>
                  </a:lnTo>
                  <a:close/>
                </a:path>
                <a:path w="638810" h="454660">
                  <a:moveTo>
                    <a:pt x="612587" y="309341"/>
                  </a:moveTo>
                  <a:lnTo>
                    <a:pt x="155417" y="309341"/>
                  </a:lnTo>
                  <a:lnTo>
                    <a:pt x="155417" y="381349"/>
                  </a:lnTo>
                  <a:lnTo>
                    <a:pt x="178277" y="409925"/>
                  </a:lnTo>
                  <a:lnTo>
                    <a:pt x="155417" y="417545"/>
                  </a:lnTo>
                  <a:lnTo>
                    <a:pt x="181325" y="417545"/>
                  </a:lnTo>
                  <a:lnTo>
                    <a:pt x="181325" y="335249"/>
                  </a:lnTo>
                  <a:lnTo>
                    <a:pt x="169133" y="335249"/>
                  </a:lnTo>
                  <a:lnTo>
                    <a:pt x="181325" y="323057"/>
                  </a:lnTo>
                  <a:lnTo>
                    <a:pt x="612587" y="323057"/>
                  </a:lnTo>
                  <a:lnTo>
                    <a:pt x="612587" y="309341"/>
                  </a:lnTo>
                  <a:close/>
                </a:path>
                <a:path w="638810" h="454660">
                  <a:moveTo>
                    <a:pt x="181325" y="323057"/>
                  </a:moveTo>
                  <a:lnTo>
                    <a:pt x="169133" y="335249"/>
                  </a:lnTo>
                  <a:lnTo>
                    <a:pt x="181325" y="335249"/>
                  </a:lnTo>
                  <a:lnTo>
                    <a:pt x="181325" y="323057"/>
                  </a:lnTo>
                  <a:close/>
                </a:path>
                <a:path w="638810" h="454660">
                  <a:moveTo>
                    <a:pt x="638495" y="309341"/>
                  </a:moveTo>
                  <a:lnTo>
                    <a:pt x="626303" y="309341"/>
                  </a:lnTo>
                  <a:lnTo>
                    <a:pt x="612587" y="323057"/>
                  </a:lnTo>
                  <a:lnTo>
                    <a:pt x="181325" y="323057"/>
                  </a:lnTo>
                  <a:lnTo>
                    <a:pt x="181325" y="335249"/>
                  </a:lnTo>
                  <a:lnTo>
                    <a:pt x="638495" y="335249"/>
                  </a:lnTo>
                  <a:lnTo>
                    <a:pt x="638495" y="309341"/>
                  </a:lnTo>
                  <a:close/>
                </a:path>
                <a:path w="638810" h="454660">
                  <a:moveTo>
                    <a:pt x="612587" y="132588"/>
                  </a:moveTo>
                  <a:lnTo>
                    <a:pt x="612587" y="323057"/>
                  </a:lnTo>
                  <a:lnTo>
                    <a:pt x="626303" y="309341"/>
                  </a:lnTo>
                  <a:lnTo>
                    <a:pt x="638495" y="309341"/>
                  </a:lnTo>
                  <a:lnTo>
                    <a:pt x="638495" y="144780"/>
                  </a:lnTo>
                  <a:lnTo>
                    <a:pt x="626303" y="144780"/>
                  </a:lnTo>
                  <a:lnTo>
                    <a:pt x="612587" y="132588"/>
                  </a:lnTo>
                  <a:close/>
                </a:path>
                <a:path w="638810" h="454660">
                  <a:moveTo>
                    <a:pt x="25908" y="219456"/>
                  </a:moveTo>
                  <a:lnTo>
                    <a:pt x="25908" y="234696"/>
                  </a:lnTo>
                  <a:lnTo>
                    <a:pt x="32003" y="227075"/>
                  </a:lnTo>
                  <a:lnTo>
                    <a:pt x="25908" y="219456"/>
                  </a:lnTo>
                  <a:close/>
                </a:path>
                <a:path w="638810" h="454660">
                  <a:moveTo>
                    <a:pt x="32003" y="227075"/>
                  </a:moveTo>
                  <a:lnTo>
                    <a:pt x="25908" y="234696"/>
                  </a:lnTo>
                  <a:lnTo>
                    <a:pt x="38099" y="234696"/>
                  </a:lnTo>
                  <a:lnTo>
                    <a:pt x="32003" y="227075"/>
                  </a:lnTo>
                  <a:close/>
                </a:path>
                <a:path w="638810" h="454660">
                  <a:moveTo>
                    <a:pt x="38097" y="219456"/>
                  </a:moveTo>
                  <a:lnTo>
                    <a:pt x="25908" y="219456"/>
                  </a:lnTo>
                  <a:lnTo>
                    <a:pt x="32003" y="227075"/>
                  </a:lnTo>
                  <a:lnTo>
                    <a:pt x="38097" y="219456"/>
                  </a:lnTo>
                  <a:close/>
                </a:path>
                <a:path w="638810" h="454660">
                  <a:moveTo>
                    <a:pt x="181325" y="36576"/>
                  </a:moveTo>
                  <a:lnTo>
                    <a:pt x="155417" y="36576"/>
                  </a:lnTo>
                  <a:lnTo>
                    <a:pt x="178277" y="44196"/>
                  </a:lnTo>
                  <a:lnTo>
                    <a:pt x="155417" y="72776"/>
                  </a:lnTo>
                  <a:lnTo>
                    <a:pt x="155417" y="144780"/>
                  </a:lnTo>
                  <a:lnTo>
                    <a:pt x="612587" y="144780"/>
                  </a:lnTo>
                  <a:lnTo>
                    <a:pt x="612587" y="132588"/>
                  </a:lnTo>
                  <a:lnTo>
                    <a:pt x="181325" y="132588"/>
                  </a:lnTo>
                  <a:lnTo>
                    <a:pt x="169133" y="118872"/>
                  </a:lnTo>
                  <a:lnTo>
                    <a:pt x="181325" y="118872"/>
                  </a:lnTo>
                  <a:lnTo>
                    <a:pt x="181325" y="36576"/>
                  </a:lnTo>
                  <a:close/>
                </a:path>
                <a:path w="638810" h="454660">
                  <a:moveTo>
                    <a:pt x="638495" y="118872"/>
                  </a:moveTo>
                  <a:lnTo>
                    <a:pt x="181325" y="118872"/>
                  </a:lnTo>
                  <a:lnTo>
                    <a:pt x="181325" y="132588"/>
                  </a:lnTo>
                  <a:lnTo>
                    <a:pt x="612587" y="132588"/>
                  </a:lnTo>
                  <a:lnTo>
                    <a:pt x="626303" y="144780"/>
                  </a:lnTo>
                  <a:lnTo>
                    <a:pt x="638495" y="144780"/>
                  </a:lnTo>
                  <a:lnTo>
                    <a:pt x="638495" y="118872"/>
                  </a:lnTo>
                  <a:close/>
                </a:path>
                <a:path w="638810" h="454660">
                  <a:moveTo>
                    <a:pt x="181325" y="118872"/>
                  </a:moveTo>
                  <a:lnTo>
                    <a:pt x="169133" y="118872"/>
                  </a:lnTo>
                  <a:lnTo>
                    <a:pt x="181325" y="132588"/>
                  </a:lnTo>
                  <a:lnTo>
                    <a:pt x="181325" y="118872"/>
                  </a:lnTo>
                  <a:close/>
                </a:path>
                <a:path w="638810" h="454660">
                  <a:moveTo>
                    <a:pt x="155417" y="36576"/>
                  </a:moveTo>
                  <a:lnTo>
                    <a:pt x="155417" y="72776"/>
                  </a:lnTo>
                  <a:lnTo>
                    <a:pt x="178277" y="44196"/>
                  </a:lnTo>
                  <a:lnTo>
                    <a:pt x="155417" y="36576"/>
                  </a:lnTo>
                  <a:close/>
                </a:path>
              </a:pathLst>
            </a:custGeom>
            <a:solidFill>
              <a:srgbClr val="375D8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9" name="object 39"/>
          <p:cNvGrpSpPr/>
          <p:nvPr/>
        </p:nvGrpSpPr>
        <p:grpSpPr>
          <a:xfrm>
            <a:off x="1314093" y="2207087"/>
            <a:ext cx="7171690" cy="2019300"/>
            <a:chOff x="1314093" y="2207087"/>
            <a:chExt cx="7171690" cy="2019300"/>
          </a:xfrm>
        </p:grpSpPr>
        <p:sp>
          <p:nvSpPr>
            <p:cNvPr id="40" name="object 40"/>
            <p:cNvSpPr/>
            <p:nvPr/>
          </p:nvSpPr>
          <p:spPr>
            <a:xfrm>
              <a:off x="5661720" y="2240615"/>
              <a:ext cx="685800" cy="381000"/>
            </a:xfrm>
            <a:custGeom>
              <a:avLst/>
              <a:gdLst/>
              <a:ahLst/>
              <a:cxnLst/>
              <a:rect l="l" t="t" r="r" b="b"/>
              <a:pathLst>
                <a:path w="685800" h="381000">
                  <a:moveTo>
                    <a:pt x="170657" y="0"/>
                  </a:moveTo>
                  <a:lnTo>
                    <a:pt x="0" y="190469"/>
                  </a:lnTo>
                  <a:lnTo>
                    <a:pt x="170657" y="380969"/>
                  </a:lnTo>
                  <a:lnTo>
                    <a:pt x="170657" y="286481"/>
                  </a:lnTo>
                  <a:lnTo>
                    <a:pt x="685739" y="286481"/>
                  </a:lnTo>
                  <a:lnTo>
                    <a:pt x="685739" y="96011"/>
                  </a:lnTo>
                  <a:lnTo>
                    <a:pt x="170657" y="96011"/>
                  </a:lnTo>
                  <a:lnTo>
                    <a:pt x="170657" y="0"/>
                  </a:lnTo>
                  <a:close/>
                </a:path>
              </a:pathLst>
            </a:custGeom>
            <a:solidFill>
              <a:srgbClr val="3232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/>
            <p:cNvSpPr/>
            <p:nvPr/>
          </p:nvSpPr>
          <p:spPr>
            <a:xfrm>
              <a:off x="5644956" y="2207087"/>
              <a:ext cx="715010" cy="448309"/>
            </a:xfrm>
            <a:custGeom>
              <a:avLst/>
              <a:gdLst/>
              <a:ahLst/>
              <a:cxnLst/>
              <a:rect l="l" t="t" r="r" b="b"/>
              <a:pathLst>
                <a:path w="715010" h="448310">
                  <a:moveTo>
                    <a:pt x="201137" y="0"/>
                  </a:moveTo>
                  <a:lnTo>
                    <a:pt x="0" y="223997"/>
                  </a:lnTo>
                  <a:lnTo>
                    <a:pt x="201137" y="448025"/>
                  </a:lnTo>
                  <a:lnTo>
                    <a:pt x="201137" y="414497"/>
                  </a:lnTo>
                  <a:lnTo>
                    <a:pt x="175229" y="414497"/>
                  </a:lnTo>
                  <a:lnTo>
                    <a:pt x="175229" y="381585"/>
                  </a:lnTo>
                  <a:lnTo>
                    <a:pt x="41059" y="233141"/>
                  </a:lnTo>
                  <a:lnTo>
                    <a:pt x="25908" y="233141"/>
                  </a:lnTo>
                  <a:lnTo>
                    <a:pt x="25908" y="216377"/>
                  </a:lnTo>
                  <a:lnTo>
                    <a:pt x="41062" y="216377"/>
                  </a:lnTo>
                  <a:lnTo>
                    <a:pt x="175229" y="67960"/>
                  </a:lnTo>
                  <a:lnTo>
                    <a:pt x="175229" y="33528"/>
                  </a:lnTo>
                  <a:lnTo>
                    <a:pt x="201137" y="33528"/>
                  </a:lnTo>
                  <a:lnTo>
                    <a:pt x="201137" y="0"/>
                  </a:lnTo>
                  <a:close/>
                </a:path>
                <a:path w="715010" h="448310">
                  <a:moveTo>
                    <a:pt x="175229" y="381585"/>
                  </a:moveTo>
                  <a:lnTo>
                    <a:pt x="175229" y="414497"/>
                  </a:lnTo>
                  <a:lnTo>
                    <a:pt x="198089" y="406877"/>
                  </a:lnTo>
                  <a:lnTo>
                    <a:pt x="175229" y="381585"/>
                  </a:lnTo>
                  <a:close/>
                </a:path>
                <a:path w="715010" h="448310">
                  <a:moveTo>
                    <a:pt x="690311" y="306293"/>
                  </a:moveTo>
                  <a:lnTo>
                    <a:pt x="175229" y="306293"/>
                  </a:lnTo>
                  <a:lnTo>
                    <a:pt x="175229" y="381585"/>
                  </a:lnTo>
                  <a:lnTo>
                    <a:pt x="198089" y="406877"/>
                  </a:lnTo>
                  <a:lnTo>
                    <a:pt x="175229" y="414497"/>
                  </a:lnTo>
                  <a:lnTo>
                    <a:pt x="201137" y="414497"/>
                  </a:lnTo>
                  <a:lnTo>
                    <a:pt x="201137" y="332201"/>
                  </a:lnTo>
                  <a:lnTo>
                    <a:pt x="187421" y="332201"/>
                  </a:lnTo>
                  <a:lnTo>
                    <a:pt x="201137" y="320009"/>
                  </a:lnTo>
                  <a:lnTo>
                    <a:pt x="690311" y="320009"/>
                  </a:lnTo>
                  <a:lnTo>
                    <a:pt x="690311" y="306293"/>
                  </a:lnTo>
                  <a:close/>
                </a:path>
                <a:path w="715010" h="448310">
                  <a:moveTo>
                    <a:pt x="201137" y="320009"/>
                  </a:moveTo>
                  <a:lnTo>
                    <a:pt x="187421" y="332201"/>
                  </a:lnTo>
                  <a:lnTo>
                    <a:pt x="201137" y="332201"/>
                  </a:lnTo>
                  <a:lnTo>
                    <a:pt x="201137" y="320009"/>
                  </a:lnTo>
                  <a:close/>
                </a:path>
                <a:path w="715010" h="448310">
                  <a:moveTo>
                    <a:pt x="714695" y="306293"/>
                  </a:moveTo>
                  <a:lnTo>
                    <a:pt x="702503" y="306293"/>
                  </a:lnTo>
                  <a:lnTo>
                    <a:pt x="690311" y="320009"/>
                  </a:lnTo>
                  <a:lnTo>
                    <a:pt x="201137" y="320009"/>
                  </a:lnTo>
                  <a:lnTo>
                    <a:pt x="201137" y="332201"/>
                  </a:lnTo>
                  <a:lnTo>
                    <a:pt x="714695" y="332201"/>
                  </a:lnTo>
                  <a:lnTo>
                    <a:pt x="714695" y="306293"/>
                  </a:lnTo>
                  <a:close/>
                </a:path>
                <a:path w="715010" h="448310">
                  <a:moveTo>
                    <a:pt x="690311" y="129540"/>
                  </a:moveTo>
                  <a:lnTo>
                    <a:pt x="690311" y="320009"/>
                  </a:lnTo>
                  <a:lnTo>
                    <a:pt x="702503" y="306293"/>
                  </a:lnTo>
                  <a:lnTo>
                    <a:pt x="714695" y="306293"/>
                  </a:lnTo>
                  <a:lnTo>
                    <a:pt x="714695" y="141732"/>
                  </a:lnTo>
                  <a:lnTo>
                    <a:pt x="702503" y="141732"/>
                  </a:lnTo>
                  <a:lnTo>
                    <a:pt x="690311" y="129540"/>
                  </a:lnTo>
                  <a:close/>
                </a:path>
                <a:path w="715010" h="448310">
                  <a:moveTo>
                    <a:pt x="25908" y="216377"/>
                  </a:moveTo>
                  <a:lnTo>
                    <a:pt x="25908" y="233141"/>
                  </a:lnTo>
                  <a:lnTo>
                    <a:pt x="33484" y="224760"/>
                  </a:lnTo>
                  <a:lnTo>
                    <a:pt x="25908" y="216377"/>
                  </a:lnTo>
                  <a:close/>
                </a:path>
                <a:path w="715010" h="448310">
                  <a:moveTo>
                    <a:pt x="33484" y="224760"/>
                  </a:moveTo>
                  <a:lnTo>
                    <a:pt x="25908" y="233141"/>
                  </a:lnTo>
                  <a:lnTo>
                    <a:pt x="41059" y="233141"/>
                  </a:lnTo>
                  <a:lnTo>
                    <a:pt x="33484" y="224760"/>
                  </a:lnTo>
                  <a:close/>
                </a:path>
                <a:path w="715010" h="448310">
                  <a:moveTo>
                    <a:pt x="41062" y="216377"/>
                  </a:moveTo>
                  <a:lnTo>
                    <a:pt x="25908" y="216377"/>
                  </a:lnTo>
                  <a:lnTo>
                    <a:pt x="33484" y="224760"/>
                  </a:lnTo>
                  <a:lnTo>
                    <a:pt x="41062" y="216377"/>
                  </a:lnTo>
                  <a:close/>
                </a:path>
                <a:path w="715010" h="448310">
                  <a:moveTo>
                    <a:pt x="201137" y="33528"/>
                  </a:moveTo>
                  <a:lnTo>
                    <a:pt x="175229" y="33528"/>
                  </a:lnTo>
                  <a:lnTo>
                    <a:pt x="198089" y="42672"/>
                  </a:lnTo>
                  <a:lnTo>
                    <a:pt x="175229" y="67960"/>
                  </a:lnTo>
                  <a:lnTo>
                    <a:pt x="175229" y="141732"/>
                  </a:lnTo>
                  <a:lnTo>
                    <a:pt x="690311" y="141732"/>
                  </a:lnTo>
                  <a:lnTo>
                    <a:pt x="690311" y="129540"/>
                  </a:lnTo>
                  <a:lnTo>
                    <a:pt x="201137" y="129540"/>
                  </a:lnTo>
                  <a:lnTo>
                    <a:pt x="187421" y="115824"/>
                  </a:lnTo>
                  <a:lnTo>
                    <a:pt x="201137" y="115824"/>
                  </a:lnTo>
                  <a:lnTo>
                    <a:pt x="201137" y="33528"/>
                  </a:lnTo>
                  <a:close/>
                </a:path>
                <a:path w="715010" h="448310">
                  <a:moveTo>
                    <a:pt x="714695" y="115824"/>
                  </a:moveTo>
                  <a:lnTo>
                    <a:pt x="201137" y="115824"/>
                  </a:lnTo>
                  <a:lnTo>
                    <a:pt x="201137" y="129540"/>
                  </a:lnTo>
                  <a:lnTo>
                    <a:pt x="690311" y="129540"/>
                  </a:lnTo>
                  <a:lnTo>
                    <a:pt x="702503" y="141732"/>
                  </a:lnTo>
                  <a:lnTo>
                    <a:pt x="714695" y="141732"/>
                  </a:lnTo>
                  <a:lnTo>
                    <a:pt x="714695" y="115824"/>
                  </a:lnTo>
                  <a:close/>
                </a:path>
                <a:path w="715010" h="448310">
                  <a:moveTo>
                    <a:pt x="201137" y="115824"/>
                  </a:moveTo>
                  <a:lnTo>
                    <a:pt x="187421" y="115824"/>
                  </a:lnTo>
                  <a:lnTo>
                    <a:pt x="201137" y="129540"/>
                  </a:lnTo>
                  <a:lnTo>
                    <a:pt x="201137" y="115824"/>
                  </a:lnTo>
                  <a:close/>
                </a:path>
                <a:path w="715010" h="448310">
                  <a:moveTo>
                    <a:pt x="175229" y="33528"/>
                  </a:moveTo>
                  <a:lnTo>
                    <a:pt x="175229" y="67960"/>
                  </a:lnTo>
                  <a:lnTo>
                    <a:pt x="198089" y="42672"/>
                  </a:lnTo>
                  <a:lnTo>
                    <a:pt x="175229" y="33528"/>
                  </a:lnTo>
                  <a:close/>
                </a:path>
              </a:pathLst>
            </a:custGeom>
            <a:solidFill>
              <a:srgbClr val="375D8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6995098" y="2773954"/>
              <a:ext cx="457200" cy="304800"/>
            </a:xfrm>
            <a:custGeom>
              <a:avLst/>
              <a:gdLst/>
              <a:ahLst/>
              <a:cxnLst/>
              <a:rect l="l" t="t" r="r" b="b"/>
              <a:pathLst>
                <a:path w="457200" h="304800">
                  <a:moveTo>
                    <a:pt x="228569" y="0"/>
                  </a:moveTo>
                  <a:lnTo>
                    <a:pt x="0" y="76199"/>
                  </a:lnTo>
                  <a:lnTo>
                    <a:pt x="114299" y="76199"/>
                  </a:lnTo>
                  <a:lnTo>
                    <a:pt x="114299" y="304799"/>
                  </a:lnTo>
                  <a:lnTo>
                    <a:pt x="342869" y="304799"/>
                  </a:lnTo>
                  <a:lnTo>
                    <a:pt x="342869" y="76199"/>
                  </a:lnTo>
                  <a:lnTo>
                    <a:pt x="457139" y="76199"/>
                  </a:lnTo>
                  <a:lnTo>
                    <a:pt x="228569" y="0"/>
                  </a:lnTo>
                  <a:close/>
                </a:path>
              </a:pathLst>
            </a:custGeom>
            <a:solidFill>
              <a:srgbClr val="3232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3"/>
            <p:cNvSpPr/>
            <p:nvPr/>
          </p:nvSpPr>
          <p:spPr>
            <a:xfrm>
              <a:off x="6917375" y="2760238"/>
              <a:ext cx="612775" cy="330835"/>
            </a:xfrm>
            <a:custGeom>
              <a:avLst/>
              <a:gdLst/>
              <a:ahLst/>
              <a:cxnLst/>
              <a:rect l="l" t="t" r="r" b="b"/>
              <a:pathLst>
                <a:path w="612775" h="330835">
                  <a:moveTo>
                    <a:pt x="179832" y="89916"/>
                  </a:moveTo>
                  <a:lnTo>
                    <a:pt x="179832" y="330708"/>
                  </a:lnTo>
                  <a:lnTo>
                    <a:pt x="432785" y="330708"/>
                  </a:lnTo>
                  <a:lnTo>
                    <a:pt x="432785" y="318516"/>
                  </a:lnTo>
                  <a:lnTo>
                    <a:pt x="204216" y="318516"/>
                  </a:lnTo>
                  <a:lnTo>
                    <a:pt x="192024" y="306324"/>
                  </a:lnTo>
                  <a:lnTo>
                    <a:pt x="204216" y="306324"/>
                  </a:lnTo>
                  <a:lnTo>
                    <a:pt x="204216" y="102108"/>
                  </a:lnTo>
                  <a:lnTo>
                    <a:pt x="192024" y="102108"/>
                  </a:lnTo>
                  <a:lnTo>
                    <a:pt x="179832" y="89916"/>
                  </a:lnTo>
                  <a:close/>
                </a:path>
                <a:path w="612775" h="330835">
                  <a:moveTo>
                    <a:pt x="204216" y="306324"/>
                  </a:moveTo>
                  <a:lnTo>
                    <a:pt x="192024" y="306324"/>
                  </a:lnTo>
                  <a:lnTo>
                    <a:pt x="204216" y="318516"/>
                  </a:lnTo>
                  <a:lnTo>
                    <a:pt x="204216" y="306324"/>
                  </a:lnTo>
                  <a:close/>
                </a:path>
                <a:path w="612775" h="330835">
                  <a:moveTo>
                    <a:pt x="408401" y="306324"/>
                  </a:moveTo>
                  <a:lnTo>
                    <a:pt x="204216" y="306324"/>
                  </a:lnTo>
                  <a:lnTo>
                    <a:pt x="204216" y="318516"/>
                  </a:lnTo>
                  <a:lnTo>
                    <a:pt x="408401" y="318516"/>
                  </a:lnTo>
                  <a:lnTo>
                    <a:pt x="408401" y="306324"/>
                  </a:lnTo>
                  <a:close/>
                </a:path>
                <a:path w="612775" h="330835">
                  <a:moveTo>
                    <a:pt x="457148" y="77724"/>
                  </a:moveTo>
                  <a:lnTo>
                    <a:pt x="408401" y="77724"/>
                  </a:lnTo>
                  <a:lnTo>
                    <a:pt x="408401" y="318516"/>
                  </a:lnTo>
                  <a:lnTo>
                    <a:pt x="420593" y="306324"/>
                  </a:lnTo>
                  <a:lnTo>
                    <a:pt x="432785" y="306324"/>
                  </a:lnTo>
                  <a:lnTo>
                    <a:pt x="432785" y="102108"/>
                  </a:lnTo>
                  <a:lnTo>
                    <a:pt x="420593" y="102108"/>
                  </a:lnTo>
                  <a:lnTo>
                    <a:pt x="432785" y="89916"/>
                  </a:lnTo>
                  <a:lnTo>
                    <a:pt x="493719" y="89916"/>
                  </a:lnTo>
                  <a:lnTo>
                    <a:pt x="457148" y="77724"/>
                  </a:lnTo>
                  <a:close/>
                </a:path>
                <a:path w="612775" h="330835">
                  <a:moveTo>
                    <a:pt x="432785" y="306324"/>
                  </a:moveTo>
                  <a:lnTo>
                    <a:pt x="420593" y="306324"/>
                  </a:lnTo>
                  <a:lnTo>
                    <a:pt x="408401" y="318516"/>
                  </a:lnTo>
                  <a:lnTo>
                    <a:pt x="432785" y="318516"/>
                  </a:lnTo>
                  <a:lnTo>
                    <a:pt x="432785" y="306324"/>
                  </a:lnTo>
                  <a:close/>
                </a:path>
                <a:path w="612775" h="330835">
                  <a:moveTo>
                    <a:pt x="306293" y="0"/>
                  </a:moveTo>
                  <a:lnTo>
                    <a:pt x="0" y="102108"/>
                  </a:lnTo>
                  <a:lnTo>
                    <a:pt x="82296" y="102108"/>
                  </a:lnTo>
                  <a:lnTo>
                    <a:pt x="77724" y="77724"/>
                  </a:lnTo>
                  <a:lnTo>
                    <a:pt x="155438" y="77724"/>
                  </a:lnTo>
                  <a:lnTo>
                    <a:pt x="306293" y="27432"/>
                  </a:lnTo>
                  <a:lnTo>
                    <a:pt x="301721" y="25908"/>
                  </a:lnTo>
                  <a:lnTo>
                    <a:pt x="384009" y="25908"/>
                  </a:lnTo>
                  <a:lnTo>
                    <a:pt x="306293" y="0"/>
                  </a:lnTo>
                  <a:close/>
                </a:path>
                <a:path w="612775" h="330835">
                  <a:moveTo>
                    <a:pt x="155438" y="77724"/>
                  </a:moveTo>
                  <a:lnTo>
                    <a:pt x="77724" y="77724"/>
                  </a:lnTo>
                  <a:lnTo>
                    <a:pt x="82296" y="102108"/>
                  </a:lnTo>
                  <a:lnTo>
                    <a:pt x="155438" y="77724"/>
                  </a:lnTo>
                  <a:close/>
                </a:path>
                <a:path w="612775" h="330835">
                  <a:moveTo>
                    <a:pt x="204216" y="77724"/>
                  </a:moveTo>
                  <a:lnTo>
                    <a:pt x="155438" y="77724"/>
                  </a:lnTo>
                  <a:lnTo>
                    <a:pt x="82296" y="102108"/>
                  </a:lnTo>
                  <a:lnTo>
                    <a:pt x="179832" y="102108"/>
                  </a:lnTo>
                  <a:lnTo>
                    <a:pt x="179832" y="89916"/>
                  </a:lnTo>
                  <a:lnTo>
                    <a:pt x="204216" y="89916"/>
                  </a:lnTo>
                  <a:lnTo>
                    <a:pt x="204216" y="77724"/>
                  </a:lnTo>
                  <a:close/>
                </a:path>
                <a:path w="612775" h="330835">
                  <a:moveTo>
                    <a:pt x="204216" y="89916"/>
                  </a:moveTo>
                  <a:lnTo>
                    <a:pt x="179832" y="89916"/>
                  </a:lnTo>
                  <a:lnTo>
                    <a:pt x="192024" y="102108"/>
                  </a:lnTo>
                  <a:lnTo>
                    <a:pt x="204216" y="102108"/>
                  </a:lnTo>
                  <a:lnTo>
                    <a:pt x="204216" y="89916"/>
                  </a:lnTo>
                  <a:close/>
                </a:path>
                <a:path w="612775" h="330835">
                  <a:moveTo>
                    <a:pt x="432785" y="89916"/>
                  </a:moveTo>
                  <a:lnTo>
                    <a:pt x="420593" y="102108"/>
                  </a:lnTo>
                  <a:lnTo>
                    <a:pt x="432785" y="102108"/>
                  </a:lnTo>
                  <a:lnTo>
                    <a:pt x="432785" y="89916"/>
                  </a:lnTo>
                  <a:close/>
                </a:path>
                <a:path w="612775" h="330835">
                  <a:moveTo>
                    <a:pt x="493719" y="89916"/>
                  </a:moveTo>
                  <a:lnTo>
                    <a:pt x="432785" y="89916"/>
                  </a:lnTo>
                  <a:lnTo>
                    <a:pt x="432785" y="102108"/>
                  </a:lnTo>
                  <a:lnTo>
                    <a:pt x="530291" y="102108"/>
                  </a:lnTo>
                  <a:lnTo>
                    <a:pt x="493719" y="89916"/>
                  </a:lnTo>
                  <a:close/>
                </a:path>
                <a:path w="612775" h="330835">
                  <a:moveTo>
                    <a:pt x="384009" y="25908"/>
                  </a:moveTo>
                  <a:lnTo>
                    <a:pt x="310865" y="25908"/>
                  </a:lnTo>
                  <a:lnTo>
                    <a:pt x="306293" y="27432"/>
                  </a:lnTo>
                  <a:lnTo>
                    <a:pt x="530291" y="102108"/>
                  </a:lnTo>
                  <a:lnTo>
                    <a:pt x="534863" y="77724"/>
                  </a:lnTo>
                  <a:lnTo>
                    <a:pt x="539442" y="77724"/>
                  </a:lnTo>
                  <a:lnTo>
                    <a:pt x="384009" y="25908"/>
                  </a:lnTo>
                  <a:close/>
                </a:path>
                <a:path w="612775" h="330835">
                  <a:moveTo>
                    <a:pt x="539442" y="77724"/>
                  </a:moveTo>
                  <a:lnTo>
                    <a:pt x="534863" y="77724"/>
                  </a:lnTo>
                  <a:lnTo>
                    <a:pt x="530291" y="102108"/>
                  </a:lnTo>
                  <a:lnTo>
                    <a:pt x="612587" y="102108"/>
                  </a:lnTo>
                  <a:lnTo>
                    <a:pt x="539442" y="77724"/>
                  </a:lnTo>
                  <a:close/>
                </a:path>
                <a:path w="612775" h="330835">
                  <a:moveTo>
                    <a:pt x="310865" y="25908"/>
                  </a:moveTo>
                  <a:lnTo>
                    <a:pt x="301721" y="25908"/>
                  </a:lnTo>
                  <a:lnTo>
                    <a:pt x="306293" y="27432"/>
                  </a:lnTo>
                  <a:lnTo>
                    <a:pt x="310865" y="25908"/>
                  </a:lnTo>
                  <a:close/>
                </a:path>
              </a:pathLst>
            </a:custGeom>
            <a:solidFill>
              <a:srgbClr val="375D8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4"/>
            <p:cNvSpPr/>
            <p:nvPr/>
          </p:nvSpPr>
          <p:spPr>
            <a:xfrm>
              <a:off x="1314081" y="3892486"/>
              <a:ext cx="7171690" cy="334010"/>
            </a:xfrm>
            <a:custGeom>
              <a:avLst/>
              <a:gdLst/>
              <a:ahLst/>
              <a:cxnLst/>
              <a:rect l="l" t="t" r="r" b="b"/>
              <a:pathLst>
                <a:path w="7171690" h="334010">
                  <a:moveTo>
                    <a:pt x="9144" y="252945"/>
                  </a:moveTo>
                  <a:lnTo>
                    <a:pt x="0" y="252945"/>
                  </a:lnTo>
                  <a:lnTo>
                    <a:pt x="0" y="262089"/>
                  </a:lnTo>
                  <a:lnTo>
                    <a:pt x="9144" y="262089"/>
                  </a:lnTo>
                  <a:lnTo>
                    <a:pt x="9144" y="252945"/>
                  </a:lnTo>
                  <a:close/>
                </a:path>
                <a:path w="7171690" h="334010">
                  <a:moveTo>
                    <a:pt x="9144" y="185928"/>
                  </a:moveTo>
                  <a:lnTo>
                    <a:pt x="0" y="185928"/>
                  </a:lnTo>
                  <a:lnTo>
                    <a:pt x="0" y="224028"/>
                  </a:lnTo>
                  <a:lnTo>
                    <a:pt x="9144" y="224028"/>
                  </a:lnTo>
                  <a:lnTo>
                    <a:pt x="9144" y="185928"/>
                  </a:lnTo>
                  <a:close/>
                </a:path>
                <a:path w="7171690" h="334010">
                  <a:moveTo>
                    <a:pt x="9144" y="147828"/>
                  </a:moveTo>
                  <a:lnTo>
                    <a:pt x="0" y="147828"/>
                  </a:lnTo>
                  <a:lnTo>
                    <a:pt x="0" y="158496"/>
                  </a:lnTo>
                  <a:lnTo>
                    <a:pt x="9144" y="158496"/>
                  </a:lnTo>
                  <a:lnTo>
                    <a:pt x="9144" y="147828"/>
                  </a:lnTo>
                  <a:close/>
                </a:path>
                <a:path w="7171690" h="334010">
                  <a:moveTo>
                    <a:pt x="9144" y="82296"/>
                  </a:moveTo>
                  <a:lnTo>
                    <a:pt x="0" y="82296"/>
                  </a:lnTo>
                  <a:lnTo>
                    <a:pt x="0" y="120396"/>
                  </a:lnTo>
                  <a:lnTo>
                    <a:pt x="9144" y="120396"/>
                  </a:lnTo>
                  <a:lnTo>
                    <a:pt x="9144" y="82296"/>
                  </a:lnTo>
                  <a:close/>
                </a:path>
                <a:path w="7171690" h="334010">
                  <a:moveTo>
                    <a:pt x="9144" y="44196"/>
                  </a:moveTo>
                  <a:lnTo>
                    <a:pt x="0" y="44196"/>
                  </a:lnTo>
                  <a:lnTo>
                    <a:pt x="0" y="53340"/>
                  </a:lnTo>
                  <a:lnTo>
                    <a:pt x="9144" y="53340"/>
                  </a:lnTo>
                  <a:lnTo>
                    <a:pt x="9144" y="44196"/>
                  </a:lnTo>
                  <a:close/>
                </a:path>
                <a:path w="7171690" h="334010">
                  <a:moveTo>
                    <a:pt x="9144" y="0"/>
                  </a:moveTo>
                  <a:lnTo>
                    <a:pt x="0" y="0"/>
                  </a:lnTo>
                  <a:lnTo>
                    <a:pt x="0" y="15240"/>
                  </a:lnTo>
                  <a:lnTo>
                    <a:pt x="9144" y="15240"/>
                  </a:lnTo>
                  <a:lnTo>
                    <a:pt x="9144" y="0"/>
                  </a:lnTo>
                  <a:close/>
                </a:path>
                <a:path w="7171690" h="334010">
                  <a:moveTo>
                    <a:pt x="33528" y="324573"/>
                  </a:moveTo>
                  <a:lnTo>
                    <a:pt x="9144" y="324573"/>
                  </a:lnTo>
                  <a:lnTo>
                    <a:pt x="9144" y="291045"/>
                  </a:lnTo>
                  <a:lnTo>
                    <a:pt x="0" y="291045"/>
                  </a:lnTo>
                  <a:lnTo>
                    <a:pt x="0" y="329145"/>
                  </a:lnTo>
                  <a:lnTo>
                    <a:pt x="4572" y="329145"/>
                  </a:lnTo>
                  <a:lnTo>
                    <a:pt x="4572" y="333717"/>
                  </a:lnTo>
                  <a:lnTo>
                    <a:pt x="33528" y="333717"/>
                  </a:lnTo>
                  <a:lnTo>
                    <a:pt x="33528" y="329145"/>
                  </a:lnTo>
                  <a:lnTo>
                    <a:pt x="33528" y="324573"/>
                  </a:lnTo>
                  <a:close/>
                </a:path>
                <a:path w="7171690" h="334010">
                  <a:moveTo>
                    <a:pt x="71628" y="324573"/>
                  </a:moveTo>
                  <a:lnTo>
                    <a:pt x="60960" y="324573"/>
                  </a:lnTo>
                  <a:lnTo>
                    <a:pt x="60960" y="333717"/>
                  </a:lnTo>
                  <a:lnTo>
                    <a:pt x="71628" y="333717"/>
                  </a:lnTo>
                  <a:lnTo>
                    <a:pt x="71628" y="324573"/>
                  </a:lnTo>
                  <a:close/>
                </a:path>
                <a:path w="7171690" h="334010">
                  <a:moveTo>
                    <a:pt x="137147" y="324573"/>
                  </a:moveTo>
                  <a:lnTo>
                    <a:pt x="99060" y="324573"/>
                  </a:lnTo>
                  <a:lnTo>
                    <a:pt x="99060" y="333717"/>
                  </a:lnTo>
                  <a:lnTo>
                    <a:pt x="137147" y="333717"/>
                  </a:lnTo>
                  <a:lnTo>
                    <a:pt x="137147" y="324573"/>
                  </a:lnTo>
                  <a:close/>
                </a:path>
                <a:path w="7171690" h="334010">
                  <a:moveTo>
                    <a:pt x="175247" y="324573"/>
                  </a:moveTo>
                  <a:lnTo>
                    <a:pt x="166103" y="324573"/>
                  </a:lnTo>
                  <a:lnTo>
                    <a:pt x="166103" y="333717"/>
                  </a:lnTo>
                  <a:lnTo>
                    <a:pt x="175247" y="333717"/>
                  </a:lnTo>
                  <a:lnTo>
                    <a:pt x="175247" y="324573"/>
                  </a:lnTo>
                  <a:close/>
                </a:path>
                <a:path w="7171690" h="334010">
                  <a:moveTo>
                    <a:pt x="242303" y="324573"/>
                  </a:moveTo>
                  <a:lnTo>
                    <a:pt x="204203" y="324573"/>
                  </a:lnTo>
                  <a:lnTo>
                    <a:pt x="204203" y="333717"/>
                  </a:lnTo>
                  <a:lnTo>
                    <a:pt x="242303" y="333717"/>
                  </a:lnTo>
                  <a:lnTo>
                    <a:pt x="242303" y="324573"/>
                  </a:lnTo>
                  <a:close/>
                </a:path>
                <a:path w="7171690" h="334010">
                  <a:moveTo>
                    <a:pt x="280403" y="324573"/>
                  </a:moveTo>
                  <a:lnTo>
                    <a:pt x="271259" y="324573"/>
                  </a:lnTo>
                  <a:lnTo>
                    <a:pt x="271259" y="333717"/>
                  </a:lnTo>
                  <a:lnTo>
                    <a:pt x="280403" y="333717"/>
                  </a:lnTo>
                  <a:lnTo>
                    <a:pt x="280403" y="324573"/>
                  </a:lnTo>
                  <a:close/>
                </a:path>
                <a:path w="7171690" h="334010">
                  <a:moveTo>
                    <a:pt x="347459" y="324573"/>
                  </a:moveTo>
                  <a:lnTo>
                    <a:pt x="309359" y="324573"/>
                  </a:lnTo>
                  <a:lnTo>
                    <a:pt x="309359" y="333717"/>
                  </a:lnTo>
                  <a:lnTo>
                    <a:pt x="347459" y="333717"/>
                  </a:lnTo>
                  <a:lnTo>
                    <a:pt x="347459" y="324573"/>
                  </a:lnTo>
                  <a:close/>
                </a:path>
                <a:path w="7171690" h="334010">
                  <a:moveTo>
                    <a:pt x="385559" y="324573"/>
                  </a:moveTo>
                  <a:lnTo>
                    <a:pt x="376415" y="324573"/>
                  </a:lnTo>
                  <a:lnTo>
                    <a:pt x="376415" y="333717"/>
                  </a:lnTo>
                  <a:lnTo>
                    <a:pt x="385559" y="333717"/>
                  </a:lnTo>
                  <a:lnTo>
                    <a:pt x="385559" y="324573"/>
                  </a:lnTo>
                  <a:close/>
                </a:path>
                <a:path w="7171690" h="334010">
                  <a:moveTo>
                    <a:pt x="452602" y="324573"/>
                  </a:moveTo>
                  <a:lnTo>
                    <a:pt x="414502" y="324573"/>
                  </a:lnTo>
                  <a:lnTo>
                    <a:pt x="414502" y="333717"/>
                  </a:lnTo>
                  <a:lnTo>
                    <a:pt x="452602" y="333717"/>
                  </a:lnTo>
                  <a:lnTo>
                    <a:pt x="452602" y="324573"/>
                  </a:lnTo>
                  <a:close/>
                </a:path>
                <a:path w="7171690" h="334010">
                  <a:moveTo>
                    <a:pt x="490702" y="324573"/>
                  </a:moveTo>
                  <a:lnTo>
                    <a:pt x="480034" y="324573"/>
                  </a:lnTo>
                  <a:lnTo>
                    <a:pt x="480034" y="333717"/>
                  </a:lnTo>
                  <a:lnTo>
                    <a:pt x="490702" y="333717"/>
                  </a:lnTo>
                  <a:lnTo>
                    <a:pt x="490702" y="324573"/>
                  </a:lnTo>
                  <a:close/>
                </a:path>
                <a:path w="7171690" h="334010">
                  <a:moveTo>
                    <a:pt x="556221" y="324573"/>
                  </a:moveTo>
                  <a:lnTo>
                    <a:pt x="518134" y="324573"/>
                  </a:lnTo>
                  <a:lnTo>
                    <a:pt x="518134" y="333717"/>
                  </a:lnTo>
                  <a:lnTo>
                    <a:pt x="556221" y="333717"/>
                  </a:lnTo>
                  <a:lnTo>
                    <a:pt x="556221" y="324573"/>
                  </a:lnTo>
                  <a:close/>
                </a:path>
                <a:path w="7171690" h="334010">
                  <a:moveTo>
                    <a:pt x="594321" y="324573"/>
                  </a:moveTo>
                  <a:lnTo>
                    <a:pt x="585177" y="324573"/>
                  </a:lnTo>
                  <a:lnTo>
                    <a:pt x="585177" y="333717"/>
                  </a:lnTo>
                  <a:lnTo>
                    <a:pt x="594321" y="333717"/>
                  </a:lnTo>
                  <a:lnTo>
                    <a:pt x="594321" y="324573"/>
                  </a:lnTo>
                  <a:close/>
                </a:path>
                <a:path w="7171690" h="334010">
                  <a:moveTo>
                    <a:pt x="661377" y="324573"/>
                  </a:moveTo>
                  <a:lnTo>
                    <a:pt x="623277" y="324573"/>
                  </a:lnTo>
                  <a:lnTo>
                    <a:pt x="623277" y="333717"/>
                  </a:lnTo>
                  <a:lnTo>
                    <a:pt x="661377" y="333717"/>
                  </a:lnTo>
                  <a:lnTo>
                    <a:pt x="661377" y="324573"/>
                  </a:lnTo>
                  <a:close/>
                </a:path>
                <a:path w="7171690" h="334010">
                  <a:moveTo>
                    <a:pt x="699465" y="324573"/>
                  </a:moveTo>
                  <a:lnTo>
                    <a:pt x="690321" y="324573"/>
                  </a:lnTo>
                  <a:lnTo>
                    <a:pt x="690321" y="333717"/>
                  </a:lnTo>
                  <a:lnTo>
                    <a:pt x="699465" y="333717"/>
                  </a:lnTo>
                  <a:lnTo>
                    <a:pt x="699465" y="324573"/>
                  </a:lnTo>
                  <a:close/>
                </a:path>
                <a:path w="7171690" h="334010">
                  <a:moveTo>
                    <a:pt x="766521" y="324573"/>
                  </a:moveTo>
                  <a:lnTo>
                    <a:pt x="728421" y="324573"/>
                  </a:lnTo>
                  <a:lnTo>
                    <a:pt x="728421" y="333717"/>
                  </a:lnTo>
                  <a:lnTo>
                    <a:pt x="766521" y="333717"/>
                  </a:lnTo>
                  <a:lnTo>
                    <a:pt x="766521" y="324573"/>
                  </a:lnTo>
                  <a:close/>
                </a:path>
                <a:path w="7171690" h="334010">
                  <a:moveTo>
                    <a:pt x="804621" y="324573"/>
                  </a:moveTo>
                  <a:lnTo>
                    <a:pt x="795477" y="324573"/>
                  </a:lnTo>
                  <a:lnTo>
                    <a:pt x="795477" y="333717"/>
                  </a:lnTo>
                  <a:lnTo>
                    <a:pt x="804621" y="333717"/>
                  </a:lnTo>
                  <a:lnTo>
                    <a:pt x="804621" y="324573"/>
                  </a:lnTo>
                  <a:close/>
                </a:path>
                <a:path w="7171690" h="334010">
                  <a:moveTo>
                    <a:pt x="871664" y="324573"/>
                  </a:moveTo>
                  <a:lnTo>
                    <a:pt x="833564" y="324573"/>
                  </a:lnTo>
                  <a:lnTo>
                    <a:pt x="833564" y="333717"/>
                  </a:lnTo>
                  <a:lnTo>
                    <a:pt x="871664" y="333717"/>
                  </a:lnTo>
                  <a:lnTo>
                    <a:pt x="871664" y="324573"/>
                  </a:lnTo>
                  <a:close/>
                </a:path>
                <a:path w="7171690" h="334010">
                  <a:moveTo>
                    <a:pt x="909764" y="324573"/>
                  </a:moveTo>
                  <a:lnTo>
                    <a:pt x="899096" y="324573"/>
                  </a:lnTo>
                  <a:lnTo>
                    <a:pt x="899096" y="333717"/>
                  </a:lnTo>
                  <a:lnTo>
                    <a:pt x="909764" y="333717"/>
                  </a:lnTo>
                  <a:lnTo>
                    <a:pt x="909764" y="324573"/>
                  </a:lnTo>
                  <a:close/>
                </a:path>
                <a:path w="7171690" h="334010">
                  <a:moveTo>
                    <a:pt x="975283" y="324573"/>
                  </a:moveTo>
                  <a:lnTo>
                    <a:pt x="937196" y="324573"/>
                  </a:lnTo>
                  <a:lnTo>
                    <a:pt x="937196" y="333717"/>
                  </a:lnTo>
                  <a:lnTo>
                    <a:pt x="975283" y="333717"/>
                  </a:lnTo>
                  <a:lnTo>
                    <a:pt x="975283" y="324573"/>
                  </a:lnTo>
                  <a:close/>
                </a:path>
                <a:path w="7171690" h="334010">
                  <a:moveTo>
                    <a:pt x="1013383" y="324573"/>
                  </a:moveTo>
                  <a:lnTo>
                    <a:pt x="1004239" y="324573"/>
                  </a:lnTo>
                  <a:lnTo>
                    <a:pt x="1004239" y="333717"/>
                  </a:lnTo>
                  <a:lnTo>
                    <a:pt x="1013383" y="333717"/>
                  </a:lnTo>
                  <a:lnTo>
                    <a:pt x="1013383" y="324573"/>
                  </a:lnTo>
                  <a:close/>
                </a:path>
                <a:path w="7171690" h="334010">
                  <a:moveTo>
                    <a:pt x="1080439" y="324573"/>
                  </a:moveTo>
                  <a:lnTo>
                    <a:pt x="1042339" y="324573"/>
                  </a:lnTo>
                  <a:lnTo>
                    <a:pt x="1042339" y="333717"/>
                  </a:lnTo>
                  <a:lnTo>
                    <a:pt x="1080439" y="333717"/>
                  </a:lnTo>
                  <a:lnTo>
                    <a:pt x="1080439" y="324573"/>
                  </a:lnTo>
                  <a:close/>
                </a:path>
                <a:path w="7171690" h="334010">
                  <a:moveTo>
                    <a:pt x="1118527" y="324573"/>
                  </a:moveTo>
                  <a:lnTo>
                    <a:pt x="1109383" y="324573"/>
                  </a:lnTo>
                  <a:lnTo>
                    <a:pt x="1109383" y="333717"/>
                  </a:lnTo>
                  <a:lnTo>
                    <a:pt x="1118527" y="333717"/>
                  </a:lnTo>
                  <a:lnTo>
                    <a:pt x="1118527" y="324573"/>
                  </a:lnTo>
                  <a:close/>
                </a:path>
                <a:path w="7171690" h="334010">
                  <a:moveTo>
                    <a:pt x="1185583" y="324573"/>
                  </a:moveTo>
                  <a:lnTo>
                    <a:pt x="1147483" y="324573"/>
                  </a:lnTo>
                  <a:lnTo>
                    <a:pt x="1147483" y="333717"/>
                  </a:lnTo>
                  <a:lnTo>
                    <a:pt x="1185583" y="333717"/>
                  </a:lnTo>
                  <a:lnTo>
                    <a:pt x="1185583" y="324573"/>
                  </a:lnTo>
                  <a:close/>
                </a:path>
                <a:path w="7171690" h="334010">
                  <a:moveTo>
                    <a:pt x="1223683" y="324573"/>
                  </a:moveTo>
                  <a:lnTo>
                    <a:pt x="1214539" y="324573"/>
                  </a:lnTo>
                  <a:lnTo>
                    <a:pt x="1214539" y="333717"/>
                  </a:lnTo>
                  <a:lnTo>
                    <a:pt x="1223683" y="333717"/>
                  </a:lnTo>
                  <a:lnTo>
                    <a:pt x="1223683" y="324573"/>
                  </a:lnTo>
                  <a:close/>
                </a:path>
                <a:path w="7171690" h="334010">
                  <a:moveTo>
                    <a:pt x="1290726" y="324573"/>
                  </a:moveTo>
                  <a:lnTo>
                    <a:pt x="1252626" y="324573"/>
                  </a:lnTo>
                  <a:lnTo>
                    <a:pt x="1252626" y="333717"/>
                  </a:lnTo>
                  <a:lnTo>
                    <a:pt x="1290726" y="333717"/>
                  </a:lnTo>
                  <a:lnTo>
                    <a:pt x="1290726" y="324573"/>
                  </a:lnTo>
                  <a:close/>
                </a:path>
                <a:path w="7171690" h="334010">
                  <a:moveTo>
                    <a:pt x="1328826" y="324573"/>
                  </a:moveTo>
                  <a:lnTo>
                    <a:pt x="1318158" y="324573"/>
                  </a:lnTo>
                  <a:lnTo>
                    <a:pt x="1318158" y="333717"/>
                  </a:lnTo>
                  <a:lnTo>
                    <a:pt x="1328826" y="333717"/>
                  </a:lnTo>
                  <a:lnTo>
                    <a:pt x="1328826" y="324573"/>
                  </a:lnTo>
                  <a:close/>
                </a:path>
                <a:path w="7171690" h="334010">
                  <a:moveTo>
                    <a:pt x="1394345" y="324573"/>
                  </a:moveTo>
                  <a:lnTo>
                    <a:pt x="1356258" y="324573"/>
                  </a:lnTo>
                  <a:lnTo>
                    <a:pt x="1356258" y="333717"/>
                  </a:lnTo>
                  <a:lnTo>
                    <a:pt x="1394345" y="333717"/>
                  </a:lnTo>
                  <a:lnTo>
                    <a:pt x="1394345" y="324573"/>
                  </a:lnTo>
                  <a:close/>
                </a:path>
                <a:path w="7171690" h="334010">
                  <a:moveTo>
                    <a:pt x="1432445" y="324573"/>
                  </a:moveTo>
                  <a:lnTo>
                    <a:pt x="1423301" y="324573"/>
                  </a:lnTo>
                  <a:lnTo>
                    <a:pt x="1423301" y="333717"/>
                  </a:lnTo>
                  <a:lnTo>
                    <a:pt x="1432445" y="333717"/>
                  </a:lnTo>
                  <a:lnTo>
                    <a:pt x="1432445" y="324573"/>
                  </a:lnTo>
                  <a:close/>
                </a:path>
                <a:path w="7171690" h="334010">
                  <a:moveTo>
                    <a:pt x="1499501" y="324573"/>
                  </a:moveTo>
                  <a:lnTo>
                    <a:pt x="1461401" y="324573"/>
                  </a:lnTo>
                  <a:lnTo>
                    <a:pt x="1461401" y="333717"/>
                  </a:lnTo>
                  <a:lnTo>
                    <a:pt x="1499501" y="333717"/>
                  </a:lnTo>
                  <a:lnTo>
                    <a:pt x="1499501" y="324573"/>
                  </a:lnTo>
                  <a:close/>
                </a:path>
                <a:path w="7171690" h="334010">
                  <a:moveTo>
                    <a:pt x="1537589" y="324573"/>
                  </a:moveTo>
                  <a:lnTo>
                    <a:pt x="1528445" y="324573"/>
                  </a:lnTo>
                  <a:lnTo>
                    <a:pt x="1528445" y="333717"/>
                  </a:lnTo>
                  <a:lnTo>
                    <a:pt x="1537589" y="333717"/>
                  </a:lnTo>
                  <a:lnTo>
                    <a:pt x="1537589" y="324573"/>
                  </a:lnTo>
                  <a:close/>
                </a:path>
                <a:path w="7171690" h="334010">
                  <a:moveTo>
                    <a:pt x="1604645" y="324573"/>
                  </a:moveTo>
                  <a:lnTo>
                    <a:pt x="1566545" y="324573"/>
                  </a:lnTo>
                  <a:lnTo>
                    <a:pt x="1566545" y="333717"/>
                  </a:lnTo>
                  <a:lnTo>
                    <a:pt x="1604645" y="333717"/>
                  </a:lnTo>
                  <a:lnTo>
                    <a:pt x="1604645" y="324573"/>
                  </a:lnTo>
                  <a:close/>
                </a:path>
                <a:path w="7171690" h="334010">
                  <a:moveTo>
                    <a:pt x="1642745" y="324573"/>
                  </a:moveTo>
                  <a:lnTo>
                    <a:pt x="1633601" y="324573"/>
                  </a:lnTo>
                  <a:lnTo>
                    <a:pt x="1633601" y="333717"/>
                  </a:lnTo>
                  <a:lnTo>
                    <a:pt x="1642745" y="333717"/>
                  </a:lnTo>
                  <a:lnTo>
                    <a:pt x="1642745" y="324573"/>
                  </a:lnTo>
                  <a:close/>
                </a:path>
                <a:path w="7171690" h="334010">
                  <a:moveTo>
                    <a:pt x="1709788" y="324573"/>
                  </a:moveTo>
                  <a:lnTo>
                    <a:pt x="1671688" y="324573"/>
                  </a:lnTo>
                  <a:lnTo>
                    <a:pt x="1671688" y="333717"/>
                  </a:lnTo>
                  <a:lnTo>
                    <a:pt x="1709788" y="333717"/>
                  </a:lnTo>
                  <a:lnTo>
                    <a:pt x="1709788" y="324573"/>
                  </a:lnTo>
                  <a:close/>
                </a:path>
                <a:path w="7171690" h="334010">
                  <a:moveTo>
                    <a:pt x="1747901" y="324573"/>
                  </a:moveTo>
                  <a:lnTo>
                    <a:pt x="1737233" y="324573"/>
                  </a:lnTo>
                  <a:lnTo>
                    <a:pt x="1737233" y="333717"/>
                  </a:lnTo>
                  <a:lnTo>
                    <a:pt x="1747901" y="333717"/>
                  </a:lnTo>
                  <a:lnTo>
                    <a:pt x="1747901" y="324573"/>
                  </a:lnTo>
                  <a:close/>
                </a:path>
                <a:path w="7171690" h="334010">
                  <a:moveTo>
                    <a:pt x="1813433" y="324573"/>
                  </a:moveTo>
                  <a:lnTo>
                    <a:pt x="1775333" y="324573"/>
                  </a:lnTo>
                  <a:lnTo>
                    <a:pt x="1775333" y="333717"/>
                  </a:lnTo>
                  <a:lnTo>
                    <a:pt x="1813433" y="333717"/>
                  </a:lnTo>
                  <a:lnTo>
                    <a:pt x="1813433" y="324573"/>
                  </a:lnTo>
                  <a:close/>
                </a:path>
                <a:path w="7171690" h="334010">
                  <a:moveTo>
                    <a:pt x="1851507" y="324573"/>
                  </a:moveTo>
                  <a:lnTo>
                    <a:pt x="1842363" y="324573"/>
                  </a:lnTo>
                  <a:lnTo>
                    <a:pt x="1842363" y="333717"/>
                  </a:lnTo>
                  <a:lnTo>
                    <a:pt x="1851507" y="333717"/>
                  </a:lnTo>
                  <a:lnTo>
                    <a:pt x="1851507" y="324573"/>
                  </a:lnTo>
                  <a:close/>
                </a:path>
                <a:path w="7171690" h="334010">
                  <a:moveTo>
                    <a:pt x="1918563" y="324573"/>
                  </a:moveTo>
                  <a:lnTo>
                    <a:pt x="1880463" y="324573"/>
                  </a:lnTo>
                  <a:lnTo>
                    <a:pt x="1880463" y="333717"/>
                  </a:lnTo>
                  <a:lnTo>
                    <a:pt x="1918563" y="333717"/>
                  </a:lnTo>
                  <a:lnTo>
                    <a:pt x="1918563" y="324573"/>
                  </a:lnTo>
                  <a:close/>
                </a:path>
                <a:path w="7171690" h="334010">
                  <a:moveTo>
                    <a:pt x="1956663" y="324573"/>
                  </a:moveTo>
                  <a:lnTo>
                    <a:pt x="1947519" y="324573"/>
                  </a:lnTo>
                  <a:lnTo>
                    <a:pt x="1947519" y="333717"/>
                  </a:lnTo>
                  <a:lnTo>
                    <a:pt x="1956663" y="333717"/>
                  </a:lnTo>
                  <a:lnTo>
                    <a:pt x="1956663" y="324573"/>
                  </a:lnTo>
                  <a:close/>
                </a:path>
                <a:path w="7171690" h="334010">
                  <a:moveTo>
                    <a:pt x="2023719" y="324573"/>
                  </a:moveTo>
                  <a:lnTo>
                    <a:pt x="1985619" y="324573"/>
                  </a:lnTo>
                  <a:lnTo>
                    <a:pt x="1985619" y="333717"/>
                  </a:lnTo>
                  <a:lnTo>
                    <a:pt x="2023719" y="333717"/>
                  </a:lnTo>
                  <a:lnTo>
                    <a:pt x="2023719" y="324573"/>
                  </a:lnTo>
                  <a:close/>
                </a:path>
                <a:path w="7171690" h="334010">
                  <a:moveTo>
                    <a:pt x="2061819" y="324573"/>
                  </a:moveTo>
                  <a:lnTo>
                    <a:pt x="2052675" y="324573"/>
                  </a:lnTo>
                  <a:lnTo>
                    <a:pt x="2052675" y="333717"/>
                  </a:lnTo>
                  <a:lnTo>
                    <a:pt x="2061819" y="333717"/>
                  </a:lnTo>
                  <a:lnTo>
                    <a:pt x="2061819" y="324573"/>
                  </a:lnTo>
                  <a:close/>
                </a:path>
                <a:path w="7171690" h="334010">
                  <a:moveTo>
                    <a:pt x="2128837" y="324573"/>
                  </a:moveTo>
                  <a:lnTo>
                    <a:pt x="2090775" y="324573"/>
                  </a:lnTo>
                  <a:lnTo>
                    <a:pt x="2090775" y="333717"/>
                  </a:lnTo>
                  <a:lnTo>
                    <a:pt x="2128837" y="333717"/>
                  </a:lnTo>
                  <a:lnTo>
                    <a:pt x="2128837" y="324573"/>
                  </a:lnTo>
                  <a:close/>
                </a:path>
                <a:path w="7171690" h="334010">
                  <a:moveTo>
                    <a:pt x="2166937" y="324573"/>
                  </a:moveTo>
                  <a:lnTo>
                    <a:pt x="2156269" y="324573"/>
                  </a:lnTo>
                  <a:lnTo>
                    <a:pt x="2156269" y="333717"/>
                  </a:lnTo>
                  <a:lnTo>
                    <a:pt x="2166937" y="333717"/>
                  </a:lnTo>
                  <a:lnTo>
                    <a:pt x="2166937" y="324573"/>
                  </a:lnTo>
                  <a:close/>
                </a:path>
                <a:path w="7171690" h="334010">
                  <a:moveTo>
                    <a:pt x="2232469" y="324573"/>
                  </a:moveTo>
                  <a:lnTo>
                    <a:pt x="2194369" y="324573"/>
                  </a:lnTo>
                  <a:lnTo>
                    <a:pt x="2194369" y="333717"/>
                  </a:lnTo>
                  <a:lnTo>
                    <a:pt x="2232469" y="333717"/>
                  </a:lnTo>
                  <a:lnTo>
                    <a:pt x="2232469" y="324573"/>
                  </a:lnTo>
                  <a:close/>
                </a:path>
                <a:path w="7171690" h="334010">
                  <a:moveTo>
                    <a:pt x="2270569" y="324573"/>
                  </a:moveTo>
                  <a:lnTo>
                    <a:pt x="2261425" y="324573"/>
                  </a:lnTo>
                  <a:lnTo>
                    <a:pt x="2261425" y="333717"/>
                  </a:lnTo>
                  <a:lnTo>
                    <a:pt x="2270569" y="333717"/>
                  </a:lnTo>
                  <a:lnTo>
                    <a:pt x="2270569" y="324573"/>
                  </a:lnTo>
                  <a:close/>
                </a:path>
                <a:path w="7171690" h="334010">
                  <a:moveTo>
                    <a:pt x="2337625" y="324573"/>
                  </a:moveTo>
                  <a:lnTo>
                    <a:pt x="2299525" y="324573"/>
                  </a:lnTo>
                  <a:lnTo>
                    <a:pt x="2299525" y="333717"/>
                  </a:lnTo>
                  <a:lnTo>
                    <a:pt x="2337625" y="333717"/>
                  </a:lnTo>
                  <a:lnTo>
                    <a:pt x="2337625" y="324573"/>
                  </a:lnTo>
                  <a:close/>
                </a:path>
                <a:path w="7171690" h="334010">
                  <a:moveTo>
                    <a:pt x="2375725" y="324573"/>
                  </a:moveTo>
                  <a:lnTo>
                    <a:pt x="2366581" y="324573"/>
                  </a:lnTo>
                  <a:lnTo>
                    <a:pt x="2366581" y="333717"/>
                  </a:lnTo>
                  <a:lnTo>
                    <a:pt x="2375725" y="333717"/>
                  </a:lnTo>
                  <a:lnTo>
                    <a:pt x="2375725" y="324573"/>
                  </a:lnTo>
                  <a:close/>
                </a:path>
                <a:path w="7171690" h="334010">
                  <a:moveTo>
                    <a:pt x="2442781" y="324573"/>
                  </a:moveTo>
                  <a:lnTo>
                    <a:pt x="2404681" y="324573"/>
                  </a:lnTo>
                  <a:lnTo>
                    <a:pt x="2404681" y="333717"/>
                  </a:lnTo>
                  <a:lnTo>
                    <a:pt x="2442781" y="333717"/>
                  </a:lnTo>
                  <a:lnTo>
                    <a:pt x="2442781" y="324573"/>
                  </a:lnTo>
                  <a:close/>
                </a:path>
                <a:path w="7171690" h="334010">
                  <a:moveTo>
                    <a:pt x="2480881" y="324573"/>
                  </a:moveTo>
                  <a:lnTo>
                    <a:pt x="2471737" y="324573"/>
                  </a:lnTo>
                  <a:lnTo>
                    <a:pt x="2471737" y="333717"/>
                  </a:lnTo>
                  <a:lnTo>
                    <a:pt x="2480881" y="333717"/>
                  </a:lnTo>
                  <a:lnTo>
                    <a:pt x="2480881" y="324573"/>
                  </a:lnTo>
                  <a:close/>
                </a:path>
                <a:path w="7171690" h="334010">
                  <a:moveTo>
                    <a:pt x="2547912" y="324573"/>
                  </a:moveTo>
                  <a:lnTo>
                    <a:pt x="2509837" y="324573"/>
                  </a:lnTo>
                  <a:lnTo>
                    <a:pt x="2509837" y="333717"/>
                  </a:lnTo>
                  <a:lnTo>
                    <a:pt x="2547912" y="333717"/>
                  </a:lnTo>
                  <a:lnTo>
                    <a:pt x="2547912" y="324573"/>
                  </a:lnTo>
                  <a:close/>
                </a:path>
                <a:path w="7171690" h="334010">
                  <a:moveTo>
                    <a:pt x="2586012" y="324573"/>
                  </a:moveTo>
                  <a:lnTo>
                    <a:pt x="2575344" y="324573"/>
                  </a:lnTo>
                  <a:lnTo>
                    <a:pt x="2575344" y="333717"/>
                  </a:lnTo>
                  <a:lnTo>
                    <a:pt x="2586012" y="333717"/>
                  </a:lnTo>
                  <a:lnTo>
                    <a:pt x="2586012" y="324573"/>
                  </a:lnTo>
                  <a:close/>
                </a:path>
                <a:path w="7171690" h="334010">
                  <a:moveTo>
                    <a:pt x="2651544" y="324573"/>
                  </a:moveTo>
                  <a:lnTo>
                    <a:pt x="2613444" y="324573"/>
                  </a:lnTo>
                  <a:lnTo>
                    <a:pt x="2613444" y="333717"/>
                  </a:lnTo>
                  <a:lnTo>
                    <a:pt x="2651544" y="333717"/>
                  </a:lnTo>
                  <a:lnTo>
                    <a:pt x="2651544" y="324573"/>
                  </a:lnTo>
                  <a:close/>
                </a:path>
                <a:path w="7171690" h="334010">
                  <a:moveTo>
                    <a:pt x="2689644" y="324573"/>
                  </a:moveTo>
                  <a:lnTo>
                    <a:pt x="2680500" y="324573"/>
                  </a:lnTo>
                  <a:lnTo>
                    <a:pt x="2680500" y="333717"/>
                  </a:lnTo>
                  <a:lnTo>
                    <a:pt x="2689644" y="333717"/>
                  </a:lnTo>
                  <a:lnTo>
                    <a:pt x="2689644" y="324573"/>
                  </a:lnTo>
                  <a:close/>
                </a:path>
                <a:path w="7171690" h="334010">
                  <a:moveTo>
                    <a:pt x="2756700" y="324573"/>
                  </a:moveTo>
                  <a:lnTo>
                    <a:pt x="2718600" y="324573"/>
                  </a:lnTo>
                  <a:lnTo>
                    <a:pt x="2718600" y="333717"/>
                  </a:lnTo>
                  <a:lnTo>
                    <a:pt x="2756700" y="333717"/>
                  </a:lnTo>
                  <a:lnTo>
                    <a:pt x="2756700" y="324573"/>
                  </a:lnTo>
                  <a:close/>
                </a:path>
                <a:path w="7171690" h="334010">
                  <a:moveTo>
                    <a:pt x="2794800" y="324573"/>
                  </a:moveTo>
                  <a:lnTo>
                    <a:pt x="2785656" y="324573"/>
                  </a:lnTo>
                  <a:lnTo>
                    <a:pt x="2785656" y="333717"/>
                  </a:lnTo>
                  <a:lnTo>
                    <a:pt x="2794800" y="333717"/>
                  </a:lnTo>
                  <a:lnTo>
                    <a:pt x="2794800" y="324573"/>
                  </a:lnTo>
                  <a:close/>
                </a:path>
                <a:path w="7171690" h="334010">
                  <a:moveTo>
                    <a:pt x="2861830" y="324573"/>
                  </a:moveTo>
                  <a:lnTo>
                    <a:pt x="2823730" y="324573"/>
                  </a:lnTo>
                  <a:lnTo>
                    <a:pt x="2823730" y="333717"/>
                  </a:lnTo>
                  <a:lnTo>
                    <a:pt x="2861830" y="333717"/>
                  </a:lnTo>
                  <a:lnTo>
                    <a:pt x="2861830" y="324573"/>
                  </a:lnTo>
                  <a:close/>
                </a:path>
                <a:path w="7171690" h="334010">
                  <a:moveTo>
                    <a:pt x="2899930" y="324573"/>
                  </a:moveTo>
                  <a:lnTo>
                    <a:pt x="2890786" y="324573"/>
                  </a:lnTo>
                  <a:lnTo>
                    <a:pt x="2890786" y="333717"/>
                  </a:lnTo>
                  <a:lnTo>
                    <a:pt x="2899930" y="333717"/>
                  </a:lnTo>
                  <a:lnTo>
                    <a:pt x="2899930" y="324573"/>
                  </a:lnTo>
                  <a:close/>
                </a:path>
                <a:path w="7171690" h="334010">
                  <a:moveTo>
                    <a:pt x="2966986" y="324573"/>
                  </a:moveTo>
                  <a:lnTo>
                    <a:pt x="2928886" y="324573"/>
                  </a:lnTo>
                  <a:lnTo>
                    <a:pt x="2928886" y="333717"/>
                  </a:lnTo>
                  <a:lnTo>
                    <a:pt x="2966986" y="333717"/>
                  </a:lnTo>
                  <a:lnTo>
                    <a:pt x="2966986" y="324573"/>
                  </a:lnTo>
                  <a:close/>
                </a:path>
                <a:path w="7171690" h="334010">
                  <a:moveTo>
                    <a:pt x="3005086" y="324573"/>
                  </a:moveTo>
                  <a:lnTo>
                    <a:pt x="2994418" y="324573"/>
                  </a:lnTo>
                  <a:lnTo>
                    <a:pt x="2994418" y="333717"/>
                  </a:lnTo>
                  <a:lnTo>
                    <a:pt x="3005086" y="333717"/>
                  </a:lnTo>
                  <a:lnTo>
                    <a:pt x="3005086" y="324573"/>
                  </a:lnTo>
                  <a:close/>
                </a:path>
                <a:path w="7171690" h="334010">
                  <a:moveTo>
                    <a:pt x="3070618" y="324573"/>
                  </a:moveTo>
                  <a:lnTo>
                    <a:pt x="3032518" y="324573"/>
                  </a:lnTo>
                  <a:lnTo>
                    <a:pt x="3032518" y="333717"/>
                  </a:lnTo>
                  <a:lnTo>
                    <a:pt x="3070618" y="333717"/>
                  </a:lnTo>
                  <a:lnTo>
                    <a:pt x="3070618" y="324573"/>
                  </a:lnTo>
                  <a:close/>
                </a:path>
                <a:path w="7171690" h="334010">
                  <a:moveTo>
                    <a:pt x="3108718" y="324573"/>
                  </a:moveTo>
                  <a:lnTo>
                    <a:pt x="3099574" y="324573"/>
                  </a:lnTo>
                  <a:lnTo>
                    <a:pt x="3099574" y="333717"/>
                  </a:lnTo>
                  <a:lnTo>
                    <a:pt x="3108718" y="333717"/>
                  </a:lnTo>
                  <a:lnTo>
                    <a:pt x="3108718" y="324573"/>
                  </a:lnTo>
                  <a:close/>
                </a:path>
                <a:path w="7171690" h="334010">
                  <a:moveTo>
                    <a:pt x="3175774" y="324573"/>
                  </a:moveTo>
                  <a:lnTo>
                    <a:pt x="3137674" y="324573"/>
                  </a:lnTo>
                  <a:lnTo>
                    <a:pt x="3137674" y="333717"/>
                  </a:lnTo>
                  <a:lnTo>
                    <a:pt x="3175774" y="333717"/>
                  </a:lnTo>
                  <a:lnTo>
                    <a:pt x="3175774" y="324573"/>
                  </a:lnTo>
                  <a:close/>
                </a:path>
                <a:path w="7171690" h="334010">
                  <a:moveTo>
                    <a:pt x="3213874" y="324573"/>
                  </a:moveTo>
                  <a:lnTo>
                    <a:pt x="3204730" y="324573"/>
                  </a:lnTo>
                  <a:lnTo>
                    <a:pt x="3204730" y="333717"/>
                  </a:lnTo>
                  <a:lnTo>
                    <a:pt x="3213874" y="333717"/>
                  </a:lnTo>
                  <a:lnTo>
                    <a:pt x="3213874" y="324573"/>
                  </a:lnTo>
                  <a:close/>
                </a:path>
                <a:path w="7171690" h="334010">
                  <a:moveTo>
                    <a:pt x="3280892" y="324573"/>
                  </a:moveTo>
                  <a:lnTo>
                    <a:pt x="3242792" y="324573"/>
                  </a:lnTo>
                  <a:lnTo>
                    <a:pt x="3242792" y="333717"/>
                  </a:lnTo>
                  <a:lnTo>
                    <a:pt x="3280892" y="333717"/>
                  </a:lnTo>
                  <a:lnTo>
                    <a:pt x="3280892" y="324573"/>
                  </a:lnTo>
                  <a:close/>
                </a:path>
                <a:path w="7171690" h="334010">
                  <a:moveTo>
                    <a:pt x="3318992" y="324573"/>
                  </a:moveTo>
                  <a:lnTo>
                    <a:pt x="3309848" y="324573"/>
                  </a:lnTo>
                  <a:lnTo>
                    <a:pt x="3309848" y="333717"/>
                  </a:lnTo>
                  <a:lnTo>
                    <a:pt x="3318992" y="333717"/>
                  </a:lnTo>
                  <a:lnTo>
                    <a:pt x="3318992" y="324573"/>
                  </a:lnTo>
                  <a:close/>
                </a:path>
                <a:path w="7171690" h="334010">
                  <a:moveTo>
                    <a:pt x="3386048" y="324573"/>
                  </a:moveTo>
                  <a:lnTo>
                    <a:pt x="3347948" y="324573"/>
                  </a:lnTo>
                  <a:lnTo>
                    <a:pt x="3347948" y="333717"/>
                  </a:lnTo>
                  <a:lnTo>
                    <a:pt x="3386048" y="333717"/>
                  </a:lnTo>
                  <a:lnTo>
                    <a:pt x="3386048" y="324573"/>
                  </a:lnTo>
                  <a:close/>
                </a:path>
                <a:path w="7171690" h="334010">
                  <a:moveTo>
                    <a:pt x="3424148" y="324573"/>
                  </a:moveTo>
                  <a:lnTo>
                    <a:pt x="3413480" y="324573"/>
                  </a:lnTo>
                  <a:lnTo>
                    <a:pt x="3413480" y="333717"/>
                  </a:lnTo>
                  <a:lnTo>
                    <a:pt x="3424148" y="333717"/>
                  </a:lnTo>
                  <a:lnTo>
                    <a:pt x="3424148" y="324573"/>
                  </a:lnTo>
                  <a:close/>
                </a:path>
                <a:path w="7171690" h="334010">
                  <a:moveTo>
                    <a:pt x="3489680" y="324573"/>
                  </a:moveTo>
                  <a:lnTo>
                    <a:pt x="3451580" y="324573"/>
                  </a:lnTo>
                  <a:lnTo>
                    <a:pt x="3451580" y="333717"/>
                  </a:lnTo>
                  <a:lnTo>
                    <a:pt x="3489680" y="333717"/>
                  </a:lnTo>
                  <a:lnTo>
                    <a:pt x="3489680" y="324573"/>
                  </a:lnTo>
                  <a:close/>
                </a:path>
                <a:path w="7171690" h="334010">
                  <a:moveTo>
                    <a:pt x="3527780" y="324573"/>
                  </a:moveTo>
                  <a:lnTo>
                    <a:pt x="3518636" y="324573"/>
                  </a:lnTo>
                  <a:lnTo>
                    <a:pt x="3518636" y="333717"/>
                  </a:lnTo>
                  <a:lnTo>
                    <a:pt x="3527780" y="333717"/>
                  </a:lnTo>
                  <a:lnTo>
                    <a:pt x="3527780" y="324573"/>
                  </a:lnTo>
                  <a:close/>
                </a:path>
                <a:path w="7171690" h="334010">
                  <a:moveTo>
                    <a:pt x="3594836" y="324573"/>
                  </a:moveTo>
                  <a:lnTo>
                    <a:pt x="3556736" y="324573"/>
                  </a:lnTo>
                  <a:lnTo>
                    <a:pt x="3556736" y="333717"/>
                  </a:lnTo>
                  <a:lnTo>
                    <a:pt x="3594836" y="333717"/>
                  </a:lnTo>
                  <a:lnTo>
                    <a:pt x="3594836" y="324573"/>
                  </a:lnTo>
                  <a:close/>
                </a:path>
                <a:path w="7171690" h="334010">
                  <a:moveTo>
                    <a:pt x="3632936" y="324573"/>
                  </a:moveTo>
                  <a:lnTo>
                    <a:pt x="3623792" y="324573"/>
                  </a:lnTo>
                  <a:lnTo>
                    <a:pt x="3623792" y="333717"/>
                  </a:lnTo>
                  <a:lnTo>
                    <a:pt x="3632936" y="333717"/>
                  </a:lnTo>
                  <a:lnTo>
                    <a:pt x="3632936" y="324573"/>
                  </a:lnTo>
                  <a:close/>
                </a:path>
                <a:path w="7171690" h="334010">
                  <a:moveTo>
                    <a:pt x="3666464" y="291045"/>
                  </a:moveTo>
                  <a:lnTo>
                    <a:pt x="3657320" y="291045"/>
                  </a:lnTo>
                  <a:lnTo>
                    <a:pt x="3657320" y="329145"/>
                  </a:lnTo>
                  <a:lnTo>
                    <a:pt x="3661892" y="324573"/>
                  </a:lnTo>
                  <a:lnTo>
                    <a:pt x="3661892" y="333717"/>
                  </a:lnTo>
                  <a:lnTo>
                    <a:pt x="3666464" y="333717"/>
                  </a:lnTo>
                  <a:lnTo>
                    <a:pt x="3666464" y="324573"/>
                  </a:lnTo>
                  <a:lnTo>
                    <a:pt x="3666464" y="291045"/>
                  </a:lnTo>
                  <a:close/>
                </a:path>
                <a:path w="7171690" h="334010">
                  <a:moveTo>
                    <a:pt x="3666464" y="252945"/>
                  </a:moveTo>
                  <a:lnTo>
                    <a:pt x="3657320" y="252945"/>
                  </a:lnTo>
                  <a:lnTo>
                    <a:pt x="3657320" y="262089"/>
                  </a:lnTo>
                  <a:lnTo>
                    <a:pt x="3666464" y="262089"/>
                  </a:lnTo>
                  <a:lnTo>
                    <a:pt x="3666464" y="252945"/>
                  </a:lnTo>
                  <a:close/>
                </a:path>
                <a:path w="7171690" h="334010">
                  <a:moveTo>
                    <a:pt x="3666464" y="185928"/>
                  </a:moveTo>
                  <a:lnTo>
                    <a:pt x="3657320" y="185928"/>
                  </a:lnTo>
                  <a:lnTo>
                    <a:pt x="3657320" y="224028"/>
                  </a:lnTo>
                  <a:lnTo>
                    <a:pt x="3666464" y="224028"/>
                  </a:lnTo>
                  <a:lnTo>
                    <a:pt x="3666464" y="185928"/>
                  </a:lnTo>
                  <a:close/>
                </a:path>
                <a:path w="7171690" h="334010">
                  <a:moveTo>
                    <a:pt x="3666464" y="147828"/>
                  </a:moveTo>
                  <a:lnTo>
                    <a:pt x="3657320" y="147828"/>
                  </a:lnTo>
                  <a:lnTo>
                    <a:pt x="3657320" y="158496"/>
                  </a:lnTo>
                  <a:lnTo>
                    <a:pt x="3666464" y="158496"/>
                  </a:lnTo>
                  <a:lnTo>
                    <a:pt x="3666464" y="147828"/>
                  </a:lnTo>
                  <a:close/>
                </a:path>
                <a:path w="7171690" h="334010">
                  <a:moveTo>
                    <a:pt x="3666464" y="82296"/>
                  </a:moveTo>
                  <a:lnTo>
                    <a:pt x="3657320" y="82296"/>
                  </a:lnTo>
                  <a:lnTo>
                    <a:pt x="3657320" y="120396"/>
                  </a:lnTo>
                  <a:lnTo>
                    <a:pt x="3666464" y="120396"/>
                  </a:lnTo>
                  <a:lnTo>
                    <a:pt x="3666464" y="82296"/>
                  </a:lnTo>
                  <a:close/>
                </a:path>
                <a:path w="7171690" h="334010">
                  <a:moveTo>
                    <a:pt x="3666464" y="44196"/>
                  </a:moveTo>
                  <a:lnTo>
                    <a:pt x="3657320" y="44196"/>
                  </a:lnTo>
                  <a:lnTo>
                    <a:pt x="3657320" y="53340"/>
                  </a:lnTo>
                  <a:lnTo>
                    <a:pt x="3666464" y="53340"/>
                  </a:lnTo>
                  <a:lnTo>
                    <a:pt x="3666464" y="44196"/>
                  </a:lnTo>
                  <a:close/>
                </a:path>
                <a:path w="7171690" h="334010">
                  <a:moveTo>
                    <a:pt x="3666464" y="0"/>
                  </a:moveTo>
                  <a:lnTo>
                    <a:pt x="3657320" y="0"/>
                  </a:lnTo>
                  <a:lnTo>
                    <a:pt x="3657320" y="15240"/>
                  </a:lnTo>
                  <a:lnTo>
                    <a:pt x="3666464" y="15240"/>
                  </a:lnTo>
                  <a:lnTo>
                    <a:pt x="3666464" y="0"/>
                  </a:lnTo>
                  <a:close/>
                </a:path>
                <a:path w="7171690" h="334010">
                  <a:moveTo>
                    <a:pt x="3818839" y="291045"/>
                  </a:moveTo>
                  <a:lnTo>
                    <a:pt x="3809695" y="291045"/>
                  </a:lnTo>
                  <a:lnTo>
                    <a:pt x="3809695" y="329145"/>
                  </a:lnTo>
                  <a:lnTo>
                    <a:pt x="3818839" y="329145"/>
                  </a:lnTo>
                  <a:lnTo>
                    <a:pt x="3818839" y="291045"/>
                  </a:lnTo>
                  <a:close/>
                </a:path>
                <a:path w="7171690" h="334010">
                  <a:moveTo>
                    <a:pt x="3818839" y="252945"/>
                  </a:moveTo>
                  <a:lnTo>
                    <a:pt x="3809695" y="252945"/>
                  </a:lnTo>
                  <a:lnTo>
                    <a:pt x="3809695" y="262089"/>
                  </a:lnTo>
                  <a:lnTo>
                    <a:pt x="3818839" y="262089"/>
                  </a:lnTo>
                  <a:lnTo>
                    <a:pt x="3818839" y="252945"/>
                  </a:lnTo>
                  <a:close/>
                </a:path>
                <a:path w="7171690" h="334010">
                  <a:moveTo>
                    <a:pt x="3818839" y="185928"/>
                  </a:moveTo>
                  <a:lnTo>
                    <a:pt x="3809695" y="185928"/>
                  </a:lnTo>
                  <a:lnTo>
                    <a:pt x="3809695" y="224028"/>
                  </a:lnTo>
                  <a:lnTo>
                    <a:pt x="3818839" y="224028"/>
                  </a:lnTo>
                  <a:lnTo>
                    <a:pt x="3818839" y="185928"/>
                  </a:lnTo>
                  <a:close/>
                </a:path>
                <a:path w="7171690" h="334010">
                  <a:moveTo>
                    <a:pt x="3818839" y="147828"/>
                  </a:moveTo>
                  <a:lnTo>
                    <a:pt x="3809695" y="147828"/>
                  </a:lnTo>
                  <a:lnTo>
                    <a:pt x="3809695" y="158496"/>
                  </a:lnTo>
                  <a:lnTo>
                    <a:pt x="3818839" y="158496"/>
                  </a:lnTo>
                  <a:lnTo>
                    <a:pt x="3818839" y="147828"/>
                  </a:lnTo>
                  <a:close/>
                </a:path>
                <a:path w="7171690" h="334010">
                  <a:moveTo>
                    <a:pt x="3818839" y="82296"/>
                  </a:moveTo>
                  <a:lnTo>
                    <a:pt x="3809695" y="82296"/>
                  </a:lnTo>
                  <a:lnTo>
                    <a:pt x="3809695" y="120396"/>
                  </a:lnTo>
                  <a:lnTo>
                    <a:pt x="3818839" y="120396"/>
                  </a:lnTo>
                  <a:lnTo>
                    <a:pt x="3818839" y="82296"/>
                  </a:lnTo>
                  <a:close/>
                </a:path>
                <a:path w="7171690" h="334010">
                  <a:moveTo>
                    <a:pt x="3818839" y="44196"/>
                  </a:moveTo>
                  <a:lnTo>
                    <a:pt x="3809695" y="44196"/>
                  </a:lnTo>
                  <a:lnTo>
                    <a:pt x="3809695" y="53340"/>
                  </a:lnTo>
                  <a:lnTo>
                    <a:pt x="3818839" y="53340"/>
                  </a:lnTo>
                  <a:lnTo>
                    <a:pt x="3818839" y="44196"/>
                  </a:lnTo>
                  <a:close/>
                </a:path>
                <a:path w="7171690" h="334010">
                  <a:moveTo>
                    <a:pt x="3818839" y="0"/>
                  </a:moveTo>
                  <a:lnTo>
                    <a:pt x="3809695" y="0"/>
                  </a:lnTo>
                  <a:lnTo>
                    <a:pt x="3809695" y="15240"/>
                  </a:lnTo>
                  <a:lnTo>
                    <a:pt x="3818839" y="15240"/>
                  </a:lnTo>
                  <a:lnTo>
                    <a:pt x="3818839" y="0"/>
                  </a:lnTo>
                  <a:close/>
                </a:path>
                <a:path w="7171690" h="334010">
                  <a:moveTo>
                    <a:pt x="4280573" y="324573"/>
                  </a:moveTo>
                  <a:lnTo>
                    <a:pt x="4242473" y="324573"/>
                  </a:lnTo>
                  <a:lnTo>
                    <a:pt x="4242473" y="333717"/>
                  </a:lnTo>
                  <a:lnTo>
                    <a:pt x="4280573" y="333717"/>
                  </a:lnTo>
                  <a:lnTo>
                    <a:pt x="4280573" y="324573"/>
                  </a:lnTo>
                  <a:close/>
                </a:path>
                <a:path w="7171690" h="334010">
                  <a:moveTo>
                    <a:pt x="4318673" y="324573"/>
                  </a:moveTo>
                  <a:lnTo>
                    <a:pt x="4309529" y="324573"/>
                  </a:lnTo>
                  <a:lnTo>
                    <a:pt x="4309529" y="333717"/>
                  </a:lnTo>
                  <a:lnTo>
                    <a:pt x="4318673" y="333717"/>
                  </a:lnTo>
                  <a:lnTo>
                    <a:pt x="4318673" y="324573"/>
                  </a:lnTo>
                  <a:close/>
                </a:path>
                <a:path w="7171690" h="334010">
                  <a:moveTo>
                    <a:pt x="4385703" y="324573"/>
                  </a:moveTo>
                  <a:lnTo>
                    <a:pt x="4347629" y="324573"/>
                  </a:lnTo>
                  <a:lnTo>
                    <a:pt x="4347629" y="333717"/>
                  </a:lnTo>
                  <a:lnTo>
                    <a:pt x="4385703" y="333717"/>
                  </a:lnTo>
                  <a:lnTo>
                    <a:pt x="4385703" y="324573"/>
                  </a:lnTo>
                  <a:close/>
                </a:path>
                <a:path w="7171690" h="334010">
                  <a:moveTo>
                    <a:pt x="4423803" y="324573"/>
                  </a:moveTo>
                  <a:lnTo>
                    <a:pt x="4414659" y="324573"/>
                  </a:lnTo>
                  <a:lnTo>
                    <a:pt x="4414659" y="333717"/>
                  </a:lnTo>
                  <a:lnTo>
                    <a:pt x="4423803" y="333717"/>
                  </a:lnTo>
                  <a:lnTo>
                    <a:pt x="4423803" y="324573"/>
                  </a:lnTo>
                  <a:close/>
                </a:path>
                <a:path w="7171690" h="334010">
                  <a:moveTo>
                    <a:pt x="4490859" y="324573"/>
                  </a:moveTo>
                  <a:lnTo>
                    <a:pt x="4452759" y="324573"/>
                  </a:lnTo>
                  <a:lnTo>
                    <a:pt x="4452759" y="333717"/>
                  </a:lnTo>
                  <a:lnTo>
                    <a:pt x="4490859" y="333717"/>
                  </a:lnTo>
                  <a:lnTo>
                    <a:pt x="4490859" y="324573"/>
                  </a:lnTo>
                  <a:close/>
                </a:path>
                <a:path w="7171690" h="334010">
                  <a:moveTo>
                    <a:pt x="4528959" y="324573"/>
                  </a:moveTo>
                  <a:lnTo>
                    <a:pt x="4518291" y="324573"/>
                  </a:lnTo>
                  <a:lnTo>
                    <a:pt x="4518291" y="333717"/>
                  </a:lnTo>
                  <a:lnTo>
                    <a:pt x="4528959" y="333717"/>
                  </a:lnTo>
                  <a:lnTo>
                    <a:pt x="4528959" y="324573"/>
                  </a:lnTo>
                  <a:close/>
                </a:path>
                <a:path w="7171690" h="334010">
                  <a:moveTo>
                    <a:pt x="4594491" y="324573"/>
                  </a:moveTo>
                  <a:lnTo>
                    <a:pt x="4556391" y="324573"/>
                  </a:lnTo>
                  <a:lnTo>
                    <a:pt x="4556391" y="333717"/>
                  </a:lnTo>
                  <a:lnTo>
                    <a:pt x="4594491" y="333717"/>
                  </a:lnTo>
                  <a:lnTo>
                    <a:pt x="4594491" y="324573"/>
                  </a:lnTo>
                  <a:close/>
                </a:path>
                <a:path w="7171690" h="334010">
                  <a:moveTo>
                    <a:pt x="4632591" y="324573"/>
                  </a:moveTo>
                  <a:lnTo>
                    <a:pt x="4623447" y="324573"/>
                  </a:lnTo>
                  <a:lnTo>
                    <a:pt x="4623447" y="333717"/>
                  </a:lnTo>
                  <a:lnTo>
                    <a:pt x="4632591" y="333717"/>
                  </a:lnTo>
                  <a:lnTo>
                    <a:pt x="4632591" y="324573"/>
                  </a:lnTo>
                  <a:close/>
                </a:path>
                <a:path w="7171690" h="334010">
                  <a:moveTo>
                    <a:pt x="4699622" y="324573"/>
                  </a:moveTo>
                  <a:lnTo>
                    <a:pt x="4661547" y="324573"/>
                  </a:lnTo>
                  <a:lnTo>
                    <a:pt x="4661547" y="333717"/>
                  </a:lnTo>
                  <a:lnTo>
                    <a:pt x="4699622" y="333717"/>
                  </a:lnTo>
                  <a:lnTo>
                    <a:pt x="4699622" y="324573"/>
                  </a:lnTo>
                  <a:close/>
                </a:path>
                <a:path w="7171690" h="334010">
                  <a:moveTo>
                    <a:pt x="4737722" y="324573"/>
                  </a:moveTo>
                  <a:lnTo>
                    <a:pt x="4728578" y="324573"/>
                  </a:lnTo>
                  <a:lnTo>
                    <a:pt x="4728578" y="333717"/>
                  </a:lnTo>
                  <a:lnTo>
                    <a:pt x="4737722" y="333717"/>
                  </a:lnTo>
                  <a:lnTo>
                    <a:pt x="4737722" y="324573"/>
                  </a:lnTo>
                  <a:close/>
                </a:path>
                <a:path w="7171690" h="334010">
                  <a:moveTo>
                    <a:pt x="4804778" y="324573"/>
                  </a:moveTo>
                  <a:lnTo>
                    <a:pt x="4766678" y="324573"/>
                  </a:lnTo>
                  <a:lnTo>
                    <a:pt x="4766678" y="333717"/>
                  </a:lnTo>
                  <a:lnTo>
                    <a:pt x="4804778" y="333717"/>
                  </a:lnTo>
                  <a:lnTo>
                    <a:pt x="4804778" y="324573"/>
                  </a:lnTo>
                  <a:close/>
                </a:path>
                <a:path w="7171690" h="334010">
                  <a:moveTo>
                    <a:pt x="4842878" y="324573"/>
                  </a:moveTo>
                  <a:lnTo>
                    <a:pt x="4833734" y="324573"/>
                  </a:lnTo>
                  <a:lnTo>
                    <a:pt x="4833734" y="333717"/>
                  </a:lnTo>
                  <a:lnTo>
                    <a:pt x="4842878" y="333717"/>
                  </a:lnTo>
                  <a:lnTo>
                    <a:pt x="4842878" y="324573"/>
                  </a:lnTo>
                  <a:close/>
                </a:path>
                <a:path w="7171690" h="334010">
                  <a:moveTo>
                    <a:pt x="4909934" y="324573"/>
                  </a:moveTo>
                  <a:lnTo>
                    <a:pt x="4871834" y="324573"/>
                  </a:lnTo>
                  <a:lnTo>
                    <a:pt x="4871834" y="333717"/>
                  </a:lnTo>
                  <a:lnTo>
                    <a:pt x="4909934" y="333717"/>
                  </a:lnTo>
                  <a:lnTo>
                    <a:pt x="4909934" y="324573"/>
                  </a:lnTo>
                  <a:close/>
                </a:path>
                <a:path w="7171690" h="334010">
                  <a:moveTo>
                    <a:pt x="4948034" y="324573"/>
                  </a:moveTo>
                  <a:lnTo>
                    <a:pt x="4937366" y="324573"/>
                  </a:lnTo>
                  <a:lnTo>
                    <a:pt x="4937366" y="333717"/>
                  </a:lnTo>
                  <a:lnTo>
                    <a:pt x="4948034" y="333717"/>
                  </a:lnTo>
                  <a:lnTo>
                    <a:pt x="4948034" y="324573"/>
                  </a:lnTo>
                  <a:close/>
                </a:path>
                <a:path w="7171690" h="334010">
                  <a:moveTo>
                    <a:pt x="5013566" y="324573"/>
                  </a:moveTo>
                  <a:lnTo>
                    <a:pt x="4975466" y="324573"/>
                  </a:lnTo>
                  <a:lnTo>
                    <a:pt x="4975466" y="333717"/>
                  </a:lnTo>
                  <a:lnTo>
                    <a:pt x="5013566" y="333717"/>
                  </a:lnTo>
                  <a:lnTo>
                    <a:pt x="5013566" y="324573"/>
                  </a:lnTo>
                  <a:close/>
                </a:path>
                <a:path w="7171690" h="334010">
                  <a:moveTo>
                    <a:pt x="5051666" y="324573"/>
                  </a:moveTo>
                  <a:lnTo>
                    <a:pt x="5042522" y="324573"/>
                  </a:lnTo>
                  <a:lnTo>
                    <a:pt x="5042522" y="333717"/>
                  </a:lnTo>
                  <a:lnTo>
                    <a:pt x="5051666" y="333717"/>
                  </a:lnTo>
                  <a:lnTo>
                    <a:pt x="5051666" y="324573"/>
                  </a:lnTo>
                  <a:close/>
                </a:path>
                <a:path w="7171690" h="334010">
                  <a:moveTo>
                    <a:pt x="5118684" y="324573"/>
                  </a:moveTo>
                  <a:lnTo>
                    <a:pt x="5080622" y="324573"/>
                  </a:lnTo>
                  <a:lnTo>
                    <a:pt x="5080622" y="333717"/>
                  </a:lnTo>
                  <a:lnTo>
                    <a:pt x="5118684" y="333717"/>
                  </a:lnTo>
                  <a:lnTo>
                    <a:pt x="5118684" y="324573"/>
                  </a:lnTo>
                  <a:close/>
                </a:path>
                <a:path w="7171690" h="334010">
                  <a:moveTo>
                    <a:pt x="5156784" y="324573"/>
                  </a:moveTo>
                  <a:lnTo>
                    <a:pt x="5147640" y="324573"/>
                  </a:lnTo>
                  <a:lnTo>
                    <a:pt x="5147640" y="333717"/>
                  </a:lnTo>
                  <a:lnTo>
                    <a:pt x="5156784" y="333717"/>
                  </a:lnTo>
                  <a:lnTo>
                    <a:pt x="5156784" y="324573"/>
                  </a:lnTo>
                  <a:close/>
                </a:path>
                <a:path w="7171690" h="334010">
                  <a:moveTo>
                    <a:pt x="5223840" y="324573"/>
                  </a:moveTo>
                  <a:lnTo>
                    <a:pt x="5185740" y="324573"/>
                  </a:lnTo>
                  <a:lnTo>
                    <a:pt x="5185740" y="333717"/>
                  </a:lnTo>
                  <a:lnTo>
                    <a:pt x="5223840" y="333717"/>
                  </a:lnTo>
                  <a:lnTo>
                    <a:pt x="5223840" y="324573"/>
                  </a:lnTo>
                  <a:close/>
                </a:path>
                <a:path w="7171690" h="334010">
                  <a:moveTo>
                    <a:pt x="5261940" y="324573"/>
                  </a:moveTo>
                  <a:lnTo>
                    <a:pt x="5252796" y="324573"/>
                  </a:lnTo>
                  <a:lnTo>
                    <a:pt x="5252796" y="333717"/>
                  </a:lnTo>
                  <a:lnTo>
                    <a:pt x="5261940" y="333717"/>
                  </a:lnTo>
                  <a:lnTo>
                    <a:pt x="5261940" y="324573"/>
                  </a:lnTo>
                  <a:close/>
                </a:path>
                <a:path w="7171690" h="334010">
                  <a:moveTo>
                    <a:pt x="5328996" y="324573"/>
                  </a:moveTo>
                  <a:lnTo>
                    <a:pt x="5290896" y="324573"/>
                  </a:lnTo>
                  <a:lnTo>
                    <a:pt x="5290896" y="333717"/>
                  </a:lnTo>
                  <a:lnTo>
                    <a:pt x="5328996" y="333717"/>
                  </a:lnTo>
                  <a:lnTo>
                    <a:pt x="5328996" y="324573"/>
                  </a:lnTo>
                  <a:close/>
                </a:path>
                <a:path w="7171690" h="334010">
                  <a:moveTo>
                    <a:pt x="5367096" y="324573"/>
                  </a:moveTo>
                  <a:lnTo>
                    <a:pt x="5356428" y="324573"/>
                  </a:lnTo>
                  <a:lnTo>
                    <a:pt x="5356428" y="333717"/>
                  </a:lnTo>
                  <a:lnTo>
                    <a:pt x="5367096" y="333717"/>
                  </a:lnTo>
                  <a:lnTo>
                    <a:pt x="5367096" y="324573"/>
                  </a:lnTo>
                  <a:close/>
                </a:path>
                <a:path w="7171690" h="334010">
                  <a:moveTo>
                    <a:pt x="5432603" y="324573"/>
                  </a:moveTo>
                  <a:lnTo>
                    <a:pt x="5394503" y="324573"/>
                  </a:lnTo>
                  <a:lnTo>
                    <a:pt x="5394503" y="333717"/>
                  </a:lnTo>
                  <a:lnTo>
                    <a:pt x="5432603" y="333717"/>
                  </a:lnTo>
                  <a:lnTo>
                    <a:pt x="5432603" y="324573"/>
                  </a:lnTo>
                  <a:close/>
                </a:path>
                <a:path w="7171690" h="334010">
                  <a:moveTo>
                    <a:pt x="5470703" y="324573"/>
                  </a:moveTo>
                  <a:lnTo>
                    <a:pt x="5461559" y="324573"/>
                  </a:lnTo>
                  <a:lnTo>
                    <a:pt x="5461559" y="333717"/>
                  </a:lnTo>
                  <a:lnTo>
                    <a:pt x="5470703" y="333717"/>
                  </a:lnTo>
                  <a:lnTo>
                    <a:pt x="5470703" y="324573"/>
                  </a:lnTo>
                  <a:close/>
                </a:path>
                <a:path w="7171690" h="334010">
                  <a:moveTo>
                    <a:pt x="5537759" y="324573"/>
                  </a:moveTo>
                  <a:lnTo>
                    <a:pt x="5499659" y="324573"/>
                  </a:lnTo>
                  <a:lnTo>
                    <a:pt x="5499659" y="333717"/>
                  </a:lnTo>
                  <a:lnTo>
                    <a:pt x="5537759" y="333717"/>
                  </a:lnTo>
                  <a:lnTo>
                    <a:pt x="5537759" y="324573"/>
                  </a:lnTo>
                  <a:close/>
                </a:path>
                <a:path w="7171690" h="334010">
                  <a:moveTo>
                    <a:pt x="5575859" y="324573"/>
                  </a:moveTo>
                  <a:lnTo>
                    <a:pt x="5566715" y="324573"/>
                  </a:lnTo>
                  <a:lnTo>
                    <a:pt x="5566715" y="333717"/>
                  </a:lnTo>
                  <a:lnTo>
                    <a:pt x="5575859" y="333717"/>
                  </a:lnTo>
                  <a:lnTo>
                    <a:pt x="5575859" y="324573"/>
                  </a:lnTo>
                  <a:close/>
                </a:path>
                <a:path w="7171690" h="334010">
                  <a:moveTo>
                    <a:pt x="5642915" y="324573"/>
                  </a:moveTo>
                  <a:lnTo>
                    <a:pt x="5604815" y="324573"/>
                  </a:lnTo>
                  <a:lnTo>
                    <a:pt x="5604815" y="333717"/>
                  </a:lnTo>
                  <a:lnTo>
                    <a:pt x="5642915" y="333717"/>
                  </a:lnTo>
                  <a:lnTo>
                    <a:pt x="5642915" y="324573"/>
                  </a:lnTo>
                  <a:close/>
                </a:path>
                <a:path w="7171690" h="334010">
                  <a:moveTo>
                    <a:pt x="5681015" y="324573"/>
                  </a:moveTo>
                  <a:lnTo>
                    <a:pt x="5671871" y="324573"/>
                  </a:lnTo>
                  <a:lnTo>
                    <a:pt x="5671871" y="333717"/>
                  </a:lnTo>
                  <a:lnTo>
                    <a:pt x="5681015" y="333717"/>
                  </a:lnTo>
                  <a:lnTo>
                    <a:pt x="5681015" y="324573"/>
                  </a:lnTo>
                  <a:close/>
                </a:path>
                <a:path w="7171690" h="334010">
                  <a:moveTo>
                    <a:pt x="5748071" y="324573"/>
                  </a:moveTo>
                  <a:lnTo>
                    <a:pt x="5709971" y="324573"/>
                  </a:lnTo>
                  <a:lnTo>
                    <a:pt x="5709971" y="333717"/>
                  </a:lnTo>
                  <a:lnTo>
                    <a:pt x="5748071" y="333717"/>
                  </a:lnTo>
                  <a:lnTo>
                    <a:pt x="5748071" y="324573"/>
                  </a:lnTo>
                  <a:close/>
                </a:path>
                <a:path w="7171690" h="334010">
                  <a:moveTo>
                    <a:pt x="5786171" y="324573"/>
                  </a:moveTo>
                  <a:lnTo>
                    <a:pt x="5775503" y="324573"/>
                  </a:lnTo>
                  <a:lnTo>
                    <a:pt x="5775503" y="333717"/>
                  </a:lnTo>
                  <a:lnTo>
                    <a:pt x="5786171" y="333717"/>
                  </a:lnTo>
                  <a:lnTo>
                    <a:pt x="5786171" y="324573"/>
                  </a:lnTo>
                  <a:close/>
                </a:path>
                <a:path w="7171690" h="334010">
                  <a:moveTo>
                    <a:pt x="5851664" y="324573"/>
                  </a:moveTo>
                  <a:lnTo>
                    <a:pt x="5813603" y="324573"/>
                  </a:lnTo>
                  <a:lnTo>
                    <a:pt x="5813603" y="333717"/>
                  </a:lnTo>
                  <a:lnTo>
                    <a:pt x="5851664" y="333717"/>
                  </a:lnTo>
                  <a:lnTo>
                    <a:pt x="5851664" y="324573"/>
                  </a:lnTo>
                  <a:close/>
                </a:path>
                <a:path w="7171690" h="334010">
                  <a:moveTo>
                    <a:pt x="5889764" y="324573"/>
                  </a:moveTo>
                  <a:lnTo>
                    <a:pt x="5880620" y="324573"/>
                  </a:lnTo>
                  <a:lnTo>
                    <a:pt x="5880620" y="333717"/>
                  </a:lnTo>
                  <a:lnTo>
                    <a:pt x="5889764" y="333717"/>
                  </a:lnTo>
                  <a:lnTo>
                    <a:pt x="5889764" y="324573"/>
                  </a:lnTo>
                  <a:close/>
                </a:path>
                <a:path w="7171690" h="334010">
                  <a:moveTo>
                    <a:pt x="5956820" y="324573"/>
                  </a:moveTo>
                  <a:lnTo>
                    <a:pt x="5918720" y="324573"/>
                  </a:lnTo>
                  <a:lnTo>
                    <a:pt x="5918720" y="333717"/>
                  </a:lnTo>
                  <a:lnTo>
                    <a:pt x="5956820" y="333717"/>
                  </a:lnTo>
                  <a:lnTo>
                    <a:pt x="5956820" y="324573"/>
                  </a:lnTo>
                  <a:close/>
                </a:path>
                <a:path w="7171690" h="334010">
                  <a:moveTo>
                    <a:pt x="5994920" y="324573"/>
                  </a:moveTo>
                  <a:lnTo>
                    <a:pt x="5985776" y="324573"/>
                  </a:lnTo>
                  <a:lnTo>
                    <a:pt x="5985776" y="333717"/>
                  </a:lnTo>
                  <a:lnTo>
                    <a:pt x="5994920" y="333717"/>
                  </a:lnTo>
                  <a:lnTo>
                    <a:pt x="5994920" y="324573"/>
                  </a:lnTo>
                  <a:close/>
                </a:path>
                <a:path w="7171690" h="334010">
                  <a:moveTo>
                    <a:pt x="6061976" y="324573"/>
                  </a:moveTo>
                  <a:lnTo>
                    <a:pt x="6023876" y="324573"/>
                  </a:lnTo>
                  <a:lnTo>
                    <a:pt x="6023876" y="333717"/>
                  </a:lnTo>
                  <a:lnTo>
                    <a:pt x="6061976" y="333717"/>
                  </a:lnTo>
                  <a:lnTo>
                    <a:pt x="6061976" y="324573"/>
                  </a:lnTo>
                  <a:close/>
                </a:path>
                <a:path w="7171690" h="334010">
                  <a:moveTo>
                    <a:pt x="6100076" y="324573"/>
                  </a:moveTo>
                  <a:lnTo>
                    <a:pt x="6090932" y="324573"/>
                  </a:lnTo>
                  <a:lnTo>
                    <a:pt x="6090932" y="333717"/>
                  </a:lnTo>
                  <a:lnTo>
                    <a:pt x="6100076" y="333717"/>
                  </a:lnTo>
                  <a:lnTo>
                    <a:pt x="6100076" y="324573"/>
                  </a:lnTo>
                  <a:close/>
                </a:path>
                <a:path w="7171690" h="334010">
                  <a:moveTo>
                    <a:pt x="6167107" y="324573"/>
                  </a:moveTo>
                  <a:lnTo>
                    <a:pt x="6129007" y="324573"/>
                  </a:lnTo>
                  <a:lnTo>
                    <a:pt x="6129007" y="333717"/>
                  </a:lnTo>
                  <a:lnTo>
                    <a:pt x="6167107" y="333717"/>
                  </a:lnTo>
                  <a:lnTo>
                    <a:pt x="6167107" y="324573"/>
                  </a:lnTo>
                  <a:close/>
                </a:path>
                <a:path w="7171690" h="334010">
                  <a:moveTo>
                    <a:pt x="6205207" y="324573"/>
                  </a:moveTo>
                  <a:lnTo>
                    <a:pt x="6194539" y="324573"/>
                  </a:lnTo>
                  <a:lnTo>
                    <a:pt x="6194539" y="333717"/>
                  </a:lnTo>
                  <a:lnTo>
                    <a:pt x="6205207" y="333717"/>
                  </a:lnTo>
                  <a:lnTo>
                    <a:pt x="6205207" y="324573"/>
                  </a:lnTo>
                  <a:close/>
                </a:path>
                <a:path w="7171690" h="334010">
                  <a:moveTo>
                    <a:pt x="6270739" y="324573"/>
                  </a:moveTo>
                  <a:lnTo>
                    <a:pt x="6232639" y="324573"/>
                  </a:lnTo>
                  <a:lnTo>
                    <a:pt x="6232639" y="333717"/>
                  </a:lnTo>
                  <a:lnTo>
                    <a:pt x="6270739" y="333717"/>
                  </a:lnTo>
                  <a:lnTo>
                    <a:pt x="6270739" y="324573"/>
                  </a:lnTo>
                  <a:close/>
                </a:path>
                <a:path w="7171690" h="334010">
                  <a:moveTo>
                    <a:pt x="6308839" y="324573"/>
                  </a:moveTo>
                  <a:lnTo>
                    <a:pt x="6299695" y="324573"/>
                  </a:lnTo>
                  <a:lnTo>
                    <a:pt x="6299695" y="333717"/>
                  </a:lnTo>
                  <a:lnTo>
                    <a:pt x="6308839" y="333717"/>
                  </a:lnTo>
                  <a:lnTo>
                    <a:pt x="6308839" y="324573"/>
                  </a:lnTo>
                  <a:close/>
                </a:path>
                <a:path w="7171690" h="334010">
                  <a:moveTo>
                    <a:pt x="6375895" y="324573"/>
                  </a:moveTo>
                  <a:lnTo>
                    <a:pt x="6337795" y="324573"/>
                  </a:lnTo>
                  <a:lnTo>
                    <a:pt x="6337795" y="333717"/>
                  </a:lnTo>
                  <a:lnTo>
                    <a:pt x="6375895" y="333717"/>
                  </a:lnTo>
                  <a:lnTo>
                    <a:pt x="6375895" y="324573"/>
                  </a:lnTo>
                  <a:close/>
                </a:path>
                <a:path w="7171690" h="334010">
                  <a:moveTo>
                    <a:pt x="6413995" y="324573"/>
                  </a:moveTo>
                  <a:lnTo>
                    <a:pt x="6404851" y="324573"/>
                  </a:lnTo>
                  <a:lnTo>
                    <a:pt x="6404851" y="333717"/>
                  </a:lnTo>
                  <a:lnTo>
                    <a:pt x="6413995" y="333717"/>
                  </a:lnTo>
                  <a:lnTo>
                    <a:pt x="6413995" y="324573"/>
                  </a:lnTo>
                  <a:close/>
                </a:path>
                <a:path w="7171690" h="334010">
                  <a:moveTo>
                    <a:pt x="6481051" y="324573"/>
                  </a:moveTo>
                  <a:lnTo>
                    <a:pt x="6442951" y="324573"/>
                  </a:lnTo>
                  <a:lnTo>
                    <a:pt x="6442951" y="333717"/>
                  </a:lnTo>
                  <a:lnTo>
                    <a:pt x="6481051" y="333717"/>
                  </a:lnTo>
                  <a:lnTo>
                    <a:pt x="6481051" y="324573"/>
                  </a:lnTo>
                  <a:close/>
                </a:path>
                <a:path w="7171690" h="334010">
                  <a:moveTo>
                    <a:pt x="6519151" y="324573"/>
                  </a:moveTo>
                  <a:lnTo>
                    <a:pt x="6510007" y="324573"/>
                  </a:lnTo>
                  <a:lnTo>
                    <a:pt x="6510007" y="333717"/>
                  </a:lnTo>
                  <a:lnTo>
                    <a:pt x="6519151" y="333717"/>
                  </a:lnTo>
                  <a:lnTo>
                    <a:pt x="6519151" y="324573"/>
                  </a:lnTo>
                  <a:close/>
                </a:path>
                <a:path w="7171690" h="334010">
                  <a:moveTo>
                    <a:pt x="6586182" y="324573"/>
                  </a:moveTo>
                  <a:lnTo>
                    <a:pt x="6548082" y="324573"/>
                  </a:lnTo>
                  <a:lnTo>
                    <a:pt x="6548082" y="333717"/>
                  </a:lnTo>
                  <a:lnTo>
                    <a:pt x="6586182" y="333717"/>
                  </a:lnTo>
                  <a:lnTo>
                    <a:pt x="6586182" y="324573"/>
                  </a:lnTo>
                  <a:close/>
                </a:path>
                <a:path w="7171690" h="334010">
                  <a:moveTo>
                    <a:pt x="6624282" y="324573"/>
                  </a:moveTo>
                  <a:lnTo>
                    <a:pt x="6613614" y="324573"/>
                  </a:lnTo>
                  <a:lnTo>
                    <a:pt x="6613614" y="333717"/>
                  </a:lnTo>
                  <a:lnTo>
                    <a:pt x="6624282" y="333717"/>
                  </a:lnTo>
                  <a:lnTo>
                    <a:pt x="6624282" y="324573"/>
                  </a:lnTo>
                  <a:close/>
                </a:path>
                <a:path w="7171690" h="334010">
                  <a:moveTo>
                    <a:pt x="6689814" y="324573"/>
                  </a:moveTo>
                  <a:lnTo>
                    <a:pt x="6651714" y="324573"/>
                  </a:lnTo>
                  <a:lnTo>
                    <a:pt x="6651714" y="333717"/>
                  </a:lnTo>
                  <a:lnTo>
                    <a:pt x="6689814" y="333717"/>
                  </a:lnTo>
                  <a:lnTo>
                    <a:pt x="6689814" y="324573"/>
                  </a:lnTo>
                  <a:close/>
                </a:path>
                <a:path w="7171690" h="334010">
                  <a:moveTo>
                    <a:pt x="6727914" y="324573"/>
                  </a:moveTo>
                  <a:lnTo>
                    <a:pt x="6718770" y="324573"/>
                  </a:lnTo>
                  <a:lnTo>
                    <a:pt x="6718770" y="333717"/>
                  </a:lnTo>
                  <a:lnTo>
                    <a:pt x="6727914" y="333717"/>
                  </a:lnTo>
                  <a:lnTo>
                    <a:pt x="6727914" y="324573"/>
                  </a:lnTo>
                  <a:close/>
                </a:path>
                <a:path w="7171690" h="334010">
                  <a:moveTo>
                    <a:pt x="6794970" y="324573"/>
                  </a:moveTo>
                  <a:lnTo>
                    <a:pt x="6756870" y="324573"/>
                  </a:lnTo>
                  <a:lnTo>
                    <a:pt x="6756870" y="333717"/>
                  </a:lnTo>
                  <a:lnTo>
                    <a:pt x="6794970" y="333717"/>
                  </a:lnTo>
                  <a:lnTo>
                    <a:pt x="6794970" y="324573"/>
                  </a:lnTo>
                  <a:close/>
                </a:path>
                <a:path w="7171690" h="334010">
                  <a:moveTo>
                    <a:pt x="6833070" y="324573"/>
                  </a:moveTo>
                  <a:lnTo>
                    <a:pt x="6823926" y="324573"/>
                  </a:lnTo>
                  <a:lnTo>
                    <a:pt x="6823926" y="333717"/>
                  </a:lnTo>
                  <a:lnTo>
                    <a:pt x="6833070" y="333717"/>
                  </a:lnTo>
                  <a:lnTo>
                    <a:pt x="6833070" y="324573"/>
                  </a:lnTo>
                  <a:close/>
                </a:path>
                <a:path w="7171690" h="334010">
                  <a:moveTo>
                    <a:pt x="6900126" y="324573"/>
                  </a:moveTo>
                  <a:lnTo>
                    <a:pt x="6862026" y="324573"/>
                  </a:lnTo>
                  <a:lnTo>
                    <a:pt x="6862026" y="333717"/>
                  </a:lnTo>
                  <a:lnTo>
                    <a:pt x="6900126" y="333717"/>
                  </a:lnTo>
                  <a:lnTo>
                    <a:pt x="6900126" y="324573"/>
                  </a:lnTo>
                  <a:close/>
                </a:path>
                <a:path w="7171690" h="334010">
                  <a:moveTo>
                    <a:pt x="6938226" y="324573"/>
                  </a:moveTo>
                  <a:lnTo>
                    <a:pt x="6929082" y="324573"/>
                  </a:lnTo>
                  <a:lnTo>
                    <a:pt x="6929082" y="333717"/>
                  </a:lnTo>
                  <a:lnTo>
                    <a:pt x="6938226" y="333717"/>
                  </a:lnTo>
                  <a:lnTo>
                    <a:pt x="6938226" y="324573"/>
                  </a:lnTo>
                  <a:close/>
                </a:path>
                <a:path w="7171690" h="334010">
                  <a:moveTo>
                    <a:pt x="7005244" y="324573"/>
                  </a:moveTo>
                  <a:lnTo>
                    <a:pt x="6967144" y="324573"/>
                  </a:lnTo>
                  <a:lnTo>
                    <a:pt x="6967144" y="333717"/>
                  </a:lnTo>
                  <a:lnTo>
                    <a:pt x="7005244" y="333717"/>
                  </a:lnTo>
                  <a:lnTo>
                    <a:pt x="7005244" y="324573"/>
                  </a:lnTo>
                  <a:close/>
                </a:path>
                <a:path w="7171690" h="334010">
                  <a:moveTo>
                    <a:pt x="7043344" y="324573"/>
                  </a:moveTo>
                  <a:lnTo>
                    <a:pt x="7032676" y="324573"/>
                  </a:lnTo>
                  <a:lnTo>
                    <a:pt x="7032676" y="333717"/>
                  </a:lnTo>
                  <a:lnTo>
                    <a:pt x="7043344" y="333717"/>
                  </a:lnTo>
                  <a:lnTo>
                    <a:pt x="7043344" y="324573"/>
                  </a:lnTo>
                  <a:close/>
                </a:path>
                <a:path w="7171690" h="334010">
                  <a:moveTo>
                    <a:pt x="7108876" y="324573"/>
                  </a:moveTo>
                  <a:lnTo>
                    <a:pt x="7070776" y="324573"/>
                  </a:lnTo>
                  <a:lnTo>
                    <a:pt x="7070776" y="333717"/>
                  </a:lnTo>
                  <a:lnTo>
                    <a:pt x="7108876" y="333717"/>
                  </a:lnTo>
                  <a:lnTo>
                    <a:pt x="7108876" y="324573"/>
                  </a:lnTo>
                  <a:close/>
                </a:path>
                <a:path w="7171690" h="334010">
                  <a:moveTo>
                    <a:pt x="7146976" y="324573"/>
                  </a:moveTo>
                  <a:lnTo>
                    <a:pt x="7137832" y="324573"/>
                  </a:lnTo>
                  <a:lnTo>
                    <a:pt x="7137832" y="333717"/>
                  </a:lnTo>
                  <a:lnTo>
                    <a:pt x="7146976" y="333717"/>
                  </a:lnTo>
                  <a:lnTo>
                    <a:pt x="7146976" y="324573"/>
                  </a:lnTo>
                  <a:close/>
                </a:path>
                <a:path w="7171690" h="334010">
                  <a:moveTo>
                    <a:pt x="7171360" y="281901"/>
                  </a:moveTo>
                  <a:lnTo>
                    <a:pt x="7162216" y="281901"/>
                  </a:lnTo>
                  <a:lnTo>
                    <a:pt x="7162216" y="320001"/>
                  </a:lnTo>
                  <a:lnTo>
                    <a:pt x="7171360" y="320001"/>
                  </a:lnTo>
                  <a:lnTo>
                    <a:pt x="7171360" y="281901"/>
                  </a:lnTo>
                  <a:close/>
                </a:path>
                <a:path w="7171690" h="334010">
                  <a:moveTo>
                    <a:pt x="7171360" y="243801"/>
                  </a:moveTo>
                  <a:lnTo>
                    <a:pt x="7162216" y="243801"/>
                  </a:lnTo>
                  <a:lnTo>
                    <a:pt x="7162216" y="252945"/>
                  </a:lnTo>
                  <a:lnTo>
                    <a:pt x="7171360" y="252945"/>
                  </a:lnTo>
                  <a:lnTo>
                    <a:pt x="7171360" y="243801"/>
                  </a:lnTo>
                  <a:close/>
                </a:path>
                <a:path w="7171690" h="334010">
                  <a:moveTo>
                    <a:pt x="7171360" y="176784"/>
                  </a:moveTo>
                  <a:lnTo>
                    <a:pt x="7162216" y="176784"/>
                  </a:lnTo>
                  <a:lnTo>
                    <a:pt x="7162216" y="214884"/>
                  </a:lnTo>
                  <a:lnTo>
                    <a:pt x="7171360" y="214884"/>
                  </a:lnTo>
                  <a:lnTo>
                    <a:pt x="7171360" y="176784"/>
                  </a:lnTo>
                  <a:close/>
                </a:path>
                <a:path w="7171690" h="334010">
                  <a:moveTo>
                    <a:pt x="7171360" y="138684"/>
                  </a:moveTo>
                  <a:lnTo>
                    <a:pt x="7162216" y="138684"/>
                  </a:lnTo>
                  <a:lnTo>
                    <a:pt x="7162216" y="147828"/>
                  </a:lnTo>
                  <a:lnTo>
                    <a:pt x="7171360" y="147828"/>
                  </a:lnTo>
                  <a:lnTo>
                    <a:pt x="7171360" y="138684"/>
                  </a:lnTo>
                  <a:close/>
                </a:path>
                <a:path w="7171690" h="334010">
                  <a:moveTo>
                    <a:pt x="7171360" y="71628"/>
                  </a:moveTo>
                  <a:lnTo>
                    <a:pt x="7162216" y="71628"/>
                  </a:lnTo>
                  <a:lnTo>
                    <a:pt x="7162216" y="109728"/>
                  </a:lnTo>
                  <a:lnTo>
                    <a:pt x="7171360" y="109728"/>
                  </a:lnTo>
                  <a:lnTo>
                    <a:pt x="7171360" y="71628"/>
                  </a:lnTo>
                  <a:close/>
                </a:path>
                <a:path w="7171690" h="334010">
                  <a:moveTo>
                    <a:pt x="7171360" y="33528"/>
                  </a:moveTo>
                  <a:lnTo>
                    <a:pt x="7162216" y="33528"/>
                  </a:lnTo>
                  <a:lnTo>
                    <a:pt x="7162216" y="44196"/>
                  </a:lnTo>
                  <a:lnTo>
                    <a:pt x="7171360" y="44196"/>
                  </a:lnTo>
                  <a:lnTo>
                    <a:pt x="7171360" y="33528"/>
                  </a:lnTo>
                  <a:close/>
                </a:path>
                <a:path w="7171690" h="334010">
                  <a:moveTo>
                    <a:pt x="7171360" y="0"/>
                  </a:moveTo>
                  <a:lnTo>
                    <a:pt x="7162216" y="0"/>
                  </a:lnTo>
                  <a:lnTo>
                    <a:pt x="7162216" y="6096"/>
                  </a:lnTo>
                  <a:lnTo>
                    <a:pt x="7171360" y="6096"/>
                  </a:lnTo>
                  <a:lnTo>
                    <a:pt x="7171360" y="0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45"/>
            <p:cNvSpPr/>
            <p:nvPr/>
          </p:nvSpPr>
          <p:spPr>
            <a:xfrm>
              <a:off x="5137493" y="4217060"/>
              <a:ext cx="457200" cy="9525"/>
            </a:xfrm>
            <a:custGeom>
              <a:avLst/>
              <a:gdLst/>
              <a:ahLst/>
              <a:cxnLst/>
              <a:rect l="l" t="t" r="r" b="b"/>
              <a:pathLst>
                <a:path w="457200" h="9525">
                  <a:moveTo>
                    <a:pt x="38100" y="0"/>
                  </a:moveTo>
                  <a:lnTo>
                    <a:pt x="0" y="0"/>
                  </a:lnTo>
                  <a:lnTo>
                    <a:pt x="0" y="9144"/>
                  </a:lnTo>
                  <a:lnTo>
                    <a:pt x="38100" y="9144"/>
                  </a:lnTo>
                  <a:lnTo>
                    <a:pt x="38100" y="0"/>
                  </a:lnTo>
                  <a:close/>
                </a:path>
                <a:path w="457200" h="9525">
                  <a:moveTo>
                    <a:pt x="76200" y="0"/>
                  </a:moveTo>
                  <a:lnTo>
                    <a:pt x="67056" y="0"/>
                  </a:lnTo>
                  <a:lnTo>
                    <a:pt x="67056" y="9144"/>
                  </a:lnTo>
                  <a:lnTo>
                    <a:pt x="76200" y="9144"/>
                  </a:lnTo>
                  <a:lnTo>
                    <a:pt x="76200" y="0"/>
                  </a:lnTo>
                  <a:close/>
                </a:path>
                <a:path w="457200" h="9525">
                  <a:moveTo>
                    <a:pt x="143217" y="0"/>
                  </a:moveTo>
                  <a:lnTo>
                    <a:pt x="105156" y="0"/>
                  </a:lnTo>
                  <a:lnTo>
                    <a:pt x="105156" y="9144"/>
                  </a:lnTo>
                  <a:lnTo>
                    <a:pt x="143217" y="9144"/>
                  </a:lnTo>
                  <a:lnTo>
                    <a:pt x="143217" y="0"/>
                  </a:lnTo>
                  <a:close/>
                </a:path>
                <a:path w="457200" h="9525">
                  <a:moveTo>
                    <a:pt x="181317" y="0"/>
                  </a:moveTo>
                  <a:lnTo>
                    <a:pt x="172173" y="0"/>
                  </a:lnTo>
                  <a:lnTo>
                    <a:pt x="172173" y="9144"/>
                  </a:lnTo>
                  <a:lnTo>
                    <a:pt x="181317" y="9144"/>
                  </a:lnTo>
                  <a:lnTo>
                    <a:pt x="181317" y="0"/>
                  </a:lnTo>
                  <a:close/>
                </a:path>
                <a:path w="457200" h="9525">
                  <a:moveTo>
                    <a:pt x="248373" y="0"/>
                  </a:moveTo>
                  <a:lnTo>
                    <a:pt x="210273" y="0"/>
                  </a:lnTo>
                  <a:lnTo>
                    <a:pt x="210273" y="9144"/>
                  </a:lnTo>
                  <a:lnTo>
                    <a:pt x="248373" y="9144"/>
                  </a:lnTo>
                  <a:lnTo>
                    <a:pt x="248373" y="0"/>
                  </a:lnTo>
                  <a:close/>
                </a:path>
                <a:path w="457200" h="9525">
                  <a:moveTo>
                    <a:pt x="286473" y="0"/>
                  </a:moveTo>
                  <a:lnTo>
                    <a:pt x="275805" y="0"/>
                  </a:lnTo>
                  <a:lnTo>
                    <a:pt x="275805" y="9144"/>
                  </a:lnTo>
                  <a:lnTo>
                    <a:pt x="286473" y="9144"/>
                  </a:lnTo>
                  <a:lnTo>
                    <a:pt x="286473" y="0"/>
                  </a:lnTo>
                  <a:close/>
                </a:path>
                <a:path w="457200" h="9525">
                  <a:moveTo>
                    <a:pt x="352005" y="0"/>
                  </a:moveTo>
                  <a:lnTo>
                    <a:pt x="313905" y="0"/>
                  </a:lnTo>
                  <a:lnTo>
                    <a:pt x="313905" y="9144"/>
                  </a:lnTo>
                  <a:lnTo>
                    <a:pt x="352005" y="9144"/>
                  </a:lnTo>
                  <a:lnTo>
                    <a:pt x="352005" y="0"/>
                  </a:lnTo>
                  <a:close/>
                </a:path>
                <a:path w="457200" h="9525">
                  <a:moveTo>
                    <a:pt x="390105" y="0"/>
                  </a:moveTo>
                  <a:lnTo>
                    <a:pt x="380961" y="0"/>
                  </a:lnTo>
                  <a:lnTo>
                    <a:pt x="380961" y="9144"/>
                  </a:lnTo>
                  <a:lnTo>
                    <a:pt x="390105" y="9144"/>
                  </a:lnTo>
                  <a:lnTo>
                    <a:pt x="390105" y="0"/>
                  </a:lnTo>
                  <a:close/>
                </a:path>
                <a:path w="457200" h="9525">
                  <a:moveTo>
                    <a:pt x="457161" y="0"/>
                  </a:moveTo>
                  <a:lnTo>
                    <a:pt x="419061" y="0"/>
                  </a:lnTo>
                  <a:lnTo>
                    <a:pt x="419061" y="9144"/>
                  </a:lnTo>
                  <a:lnTo>
                    <a:pt x="457161" y="9144"/>
                  </a:lnTo>
                  <a:lnTo>
                    <a:pt x="457161" y="0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6"/>
            <p:cNvSpPr/>
            <p:nvPr/>
          </p:nvSpPr>
          <p:spPr>
            <a:xfrm>
              <a:off x="6652229" y="3892479"/>
              <a:ext cx="1143000" cy="100965"/>
            </a:xfrm>
            <a:custGeom>
              <a:avLst/>
              <a:gdLst/>
              <a:ahLst/>
              <a:cxnLst/>
              <a:rect l="l" t="t" r="r" b="b"/>
              <a:pathLst>
                <a:path w="1143000" h="100964">
                  <a:moveTo>
                    <a:pt x="1142908" y="0"/>
                  </a:moveTo>
                  <a:lnTo>
                    <a:pt x="0" y="0"/>
                  </a:lnTo>
                  <a:lnTo>
                    <a:pt x="0" y="9143"/>
                  </a:lnTo>
                  <a:lnTo>
                    <a:pt x="44928" y="44648"/>
                  </a:lnTo>
                  <a:lnTo>
                    <a:pt x="119114" y="64931"/>
                  </a:lnTo>
                  <a:lnTo>
                    <a:pt x="167430" y="73723"/>
                  </a:lnTo>
                  <a:lnTo>
                    <a:pt x="222317" y="81467"/>
                  </a:lnTo>
                  <a:lnTo>
                    <a:pt x="283093" y="88053"/>
                  </a:lnTo>
                  <a:lnTo>
                    <a:pt x="349076" y="93368"/>
                  </a:lnTo>
                  <a:lnTo>
                    <a:pt x="419583" y="97302"/>
                  </a:lnTo>
                  <a:lnTo>
                    <a:pt x="493931" y="99745"/>
                  </a:lnTo>
                  <a:lnTo>
                    <a:pt x="571439" y="100583"/>
                  </a:lnTo>
                  <a:lnTo>
                    <a:pt x="648947" y="99745"/>
                  </a:lnTo>
                  <a:lnTo>
                    <a:pt x="723297" y="97302"/>
                  </a:lnTo>
                  <a:lnTo>
                    <a:pt x="793806" y="93368"/>
                  </a:lnTo>
                  <a:lnTo>
                    <a:pt x="859792" y="88053"/>
                  </a:lnTo>
                  <a:lnTo>
                    <a:pt x="920571" y="81467"/>
                  </a:lnTo>
                  <a:lnTo>
                    <a:pt x="975462" y="73723"/>
                  </a:lnTo>
                  <a:lnTo>
                    <a:pt x="1023782" y="64931"/>
                  </a:lnTo>
                  <a:lnTo>
                    <a:pt x="1064846" y="55202"/>
                  </a:lnTo>
                  <a:lnTo>
                    <a:pt x="1122482" y="33379"/>
                  </a:lnTo>
                  <a:lnTo>
                    <a:pt x="1142908" y="9143"/>
                  </a:lnTo>
                  <a:lnTo>
                    <a:pt x="1142908" y="0"/>
                  </a:lnTo>
                  <a:close/>
                </a:path>
              </a:pathLst>
            </a:custGeom>
            <a:solidFill>
              <a:srgbClr val="BFBFB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7"/>
            <p:cNvSpPr/>
            <p:nvPr/>
          </p:nvSpPr>
          <p:spPr>
            <a:xfrm>
              <a:off x="6985954" y="3892479"/>
              <a:ext cx="572975" cy="25907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8"/>
            <p:cNvSpPr/>
            <p:nvPr/>
          </p:nvSpPr>
          <p:spPr>
            <a:xfrm>
              <a:off x="7264806" y="3892486"/>
              <a:ext cx="365760" cy="50800"/>
            </a:xfrm>
            <a:custGeom>
              <a:avLst/>
              <a:gdLst/>
              <a:ahLst/>
              <a:cxnLst/>
              <a:rect l="l" t="t" r="r" b="b"/>
              <a:pathLst>
                <a:path w="365759" h="50800">
                  <a:moveTo>
                    <a:pt x="365734" y="0"/>
                  </a:moveTo>
                  <a:lnTo>
                    <a:pt x="319849" y="0"/>
                  </a:lnTo>
                  <a:lnTo>
                    <a:pt x="42672" y="0"/>
                  </a:lnTo>
                  <a:lnTo>
                    <a:pt x="34518" y="0"/>
                  </a:lnTo>
                  <a:lnTo>
                    <a:pt x="0" y="35052"/>
                  </a:lnTo>
                  <a:lnTo>
                    <a:pt x="42672" y="30581"/>
                  </a:lnTo>
                  <a:lnTo>
                    <a:pt x="42672" y="50292"/>
                  </a:lnTo>
                  <a:lnTo>
                    <a:pt x="365734" y="50292"/>
                  </a:lnTo>
                  <a:lnTo>
                    <a:pt x="365734" y="0"/>
                  </a:lnTo>
                  <a:close/>
                </a:path>
              </a:pathLst>
            </a:custGeom>
            <a:solidFill>
              <a:srgbClr val="BFBFB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49"/>
            <p:cNvSpPr/>
            <p:nvPr/>
          </p:nvSpPr>
          <p:spPr>
            <a:xfrm>
              <a:off x="2994922" y="3892479"/>
              <a:ext cx="303530" cy="23495"/>
            </a:xfrm>
            <a:custGeom>
              <a:avLst/>
              <a:gdLst/>
              <a:ahLst/>
              <a:cxnLst/>
              <a:rect l="l" t="t" r="r" b="b"/>
              <a:pathLst>
                <a:path w="303529" h="23495">
                  <a:moveTo>
                    <a:pt x="0" y="0"/>
                  </a:moveTo>
                  <a:lnTo>
                    <a:pt x="1" y="1523"/>
                  </a:lnTo>
                  <a:lnTo>
                    <a:pt x="57753" y="13459"/>
                  </a:lnTo>
                  <a:lnTo>
                    <a:pt x="108787" y="20500"/>
                  </a:lnTo>
                  <a:lnTo>
                    <a:pt x="128028" y="21654"/>
                  </a:lnTo>
                  <a:lnTo>
                    <a:pt x="128028" y="21335"/>
                  </a:lnTo>
                  <a:lnTo>
                    <a:pt x="108216" y="19811"/>
                  </a:lnTo>
                  <a:lnTo>
                    <a:pt x="83832" y="16763"/>
                  </a:lnTo>
                  <a:lnTo>
                    <a:pt x="73164" y="15239"/>
                  </a:lnTo>
                  <a:lnTo>
                    <a:pt x="54876" y="12191"/>
                  </a:lnTo>
                  <a:lnTo>
                    <a:pt x="47243" y="10667"/>
                  </a:lnTo>
                  <a:lnTo>
                    <a:pt x="38099" y="9143"/>
                  </a:lnTo>
                  <a:lnTo>
                    <a:pt x="30479" y="7619"/>
                  </a:lnTo>
                  <a:lnTo>
                    <a:pt x="24383" y="6095"/>
                  </a:lnTo>
                  <a:lnTo>
                    <a:pt x="16763" y="4571"/>
                  </a:lnTo>
                  <a:lnTo>
                    <a:pt x="10667" y="3047"/>
                  </a:lnTo>
                  <a:lnTo>
                    <a:pt x="3047" y="1523"/>
                  </a:lnTo>
                  <a:lnTo>
                    <a:pt x="0" y="0"/>
                  </a:lnTo>
                  <a:close/>
                </a:path>
                <a:path w="303529" h="23495">
                  <a:moveTo>
                    <a:pt x="303311" y="0"/>
                  </a:moveTo>
                  <a:lnTo>
                    <a:pt x="301733" y="0"/>
                  </a:lnTo>
                  <a:lnTo>
                    <a:pt x="297161" y="1523"/>
                  </a:lnTo>
                  <a:lnTo>
                    <a:pt x="291065" y="3047"/>
                  </a:lnTo>
                  <a:lnTo>
                    <a:pt x="286493" y="4571"/>
                  </a:lnTo>
                  <a:lnTo>
                    <a:pt x="274301" y="7619"/>
                  </a:lnTo>
                  <a:lnTo>
                    <a:pt x="269729" y="9143"/>
                  </a:lnTo>
                  <a:lnTo>
                    <a:pt x="224009" y="18287"/>
                  </a:lnTo>
                  <a:lnTo>
                    <a:pt x="142604" y="22528"/>
                  </a:lnTo>
                  <a:lnTo>
                    <a:pt x="154061" y="23215"/>
                  </a:lnTo>
                  <a:lnTo>
                    <a:pt x="194537" y="22173"/>
                  </a:lnTo>
                  <a:lnTo>
                    <a:pt x="231172" y="17944"/>
                  </a:lnTo>
                  <a:lnTo>
                    <a:pt x="264928" y="11097"/>
                  </a:lnTo>
                  <a:lnTo>
                    <a:pt x="296764" y="2200"/>
                  </a:lnTo>
                  <a:lnTo>
                    <a:pt x="303311" y="0"/>
                  </a:lnTo>
                  <a:close/>
                </a:path>
              </a:pathLst>
            </a:custGeom>
            <a:solidFill>
              <a:srgbClr val="FFFF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50"/>
            <p:cNvSpPr/>
            <p:nvPr/>
          </p:nvSpPr>
          <p:spPr>
            <a:xfrm>
              <a:off x="2990350" y="3892479"/>
              <a:ext cx="323850" cy="27940"/>
            </a:xfrm>
            <a:custGeom>
              <a:avLst/>
              <a:gdLst/>
              <a:ahLst/>
              <a:cxnLst/>
              <a:rect l="l" t="t" r="r" b="b"/>
              <a:pathLst>
                <a:path w="323850" h="27939">
                  <a:moveTo>
                    <a:pt x="4571" y="0"/>
                  </a:moveTo>
                  <a:lnTo>
                    <a:pt x="0" y="0"/>
                  </a:lnTo>
                  <a:lnTo>
                    <a:pt x="1" y="4571"/>
                  </a:lnTo>
                  <a:lnTo>
                    <a:pt x="60973" y="18287"/>
                  </a:lnTo>
                  <a:lnTo>
                    <a:pt x="112788" y="25907"/>
                  </a:lnTo>
                  <a:lnTo>
                    <a:pt x="135648" y="27431"/>
                  </a:lnTo>
                  <a:lnTo>
                    <a:pt x="199625" y="27431"/>
                  </a:lnTo>
                  <a:lnTo>
                    <a:pt x="217913" y="25907"/>
                  </a:lnTo>
                  <a:lnTo>
                    <a:pt x="236200" y="22859"/>
                  </a:lnTo>
                  <a:lnTo>
                    <a:pt x="132600" y="22859"/>
                  </a:lnTo>
                  <a:lnTo>
                    <a:pt x="132600" y="21335"/>
                  </a:lnTo>
                  <a:lnTo>
                    <a:pt x="88404" y="16763"/>
                  </a:lnTo>
                  <a:lnTo>
                    <a:pt x="51815" y="10667"/>
                  </a:lnTo>
                  <a:lnTo>
                    <a:pt x="42671" y="9143"/>
                  </a:lnTo>
                  <a:lnTo>
                    <a:pt x="35051" y="7619"/>
                  </a:lnTo>
                  <a:lnTo>
                    <a:pt x="28954" y="6095"/>
                  </a:lnTo>
                  <a:lnTo>
                    <a:pt x="21334" y="4571"/>
                  </a:lnTo>
                  <a:lnTo>
                    <a:pt x="15239" y="3047"/>
                  </a:lnTo>
                  <a:lnTo>
                    <a:pt x="7619" y="1523"/>
                  </a:lnTo>
                  <a:lnTo>
                    <a:pt x="4571" y="0"/>
                  </a:lnTo>
                  <a:close/>
                </a:path>
                <a:path w="323850" h="27939">
                  <a:moveTo>
                    <a:pt x="323576" y="0"/>
                  </a:moveTo>
                  <a:lnTo>
                    <a:pt x="306305" y="0"/>
                  </a:lnTo>
                  <a:lnTo>
                    <a:pt x="301733" y="1523"/>
                  </a:lnTo>
                  <a:lnTo>
                    <a:pt x="295637" y="3047"/>
                  </a:lnTo>
                  <a:lnTo>
                    <a:pt x="291065" y="4571"/>
                  </a:lnTo>
                  <a:lnTo>
                    <a:pt x="278873" y="7619"/>
                  </a:lnTo>
                  <a:lnTo>
                    <a:pt x="274301" y="9143"/>
                  </a:lnTo>
                  <a:lnTo>
                    <a:pt x="228581" y="18287"/>
                  </a:lnTo>
                  <a:lnTo>
                    <a:pt x="132600" y="22859"/>
                  </a:lnTo>
                  <a:lnTo>
                    <a:pt x="236201" y="22859"/>
                  </a:lnTo>
                  <a:lnTo>
                    <a:pt x="254489" y="19811"/>
                  </a:lnTo>
                  <a:lnTo>
                    <a:pt x="271253" y="15239"/>
                  </a:lnTo>
                  <a:lnTo>
                    <a:pt x="303257" y="6095"/>
                  </a:lnTo>
                  <a:lnTo>
                    <a:pt x="323576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51"/>
            <p:cNvSpPr/>
            <p:nvPr/>
          </p:nvSpPr>
          <p:spPr>
            <a:xfrm>
              <a:off x="2994922" y="3892479"/>
              <a:ext cx="303530" cy="23495"/>
            </a:xfrm>
            <a:custGeom>
              <a:avLst/>
              <a:gdLst/>
              <a:ahLst/>
              <a:cxnLst/>
              <a:rect l="l" t="t" r="r" b="b"/>
              <a:pathLst>
                <a:path w="303529" h="23495">
                  <a:moveTo>
                    <a:pt x="303311" y="0"/>
                  </a:moveTo>
                  <a:lnTo>
                    <a:pt x="0" y="0"/>
                  </a:lnTo>
                  <a:lnTo>
                    <a:pt x="0" y="1523"/>
                  </a:lnTo>
                  <a:lnTo>
                    <a:pt x="57753" y="13459"/>
                  </a:lnTo>
                  <a:lnTo>
                    <a:pt x="108787" y="20500"/>
                  </a:lnTo>
                  <a:lnTo>
                    <a:pt x="154061" y="23215"/>
                  </a:lnTo>
                  <a:lnTo>
                    <a:pt x="194537" y="22173"/>
                  </a:lnTo>
                  <a:lnTo>
                    <a:pt x="231172" y="17944"/>
                  </a:lnTo>
                  <a:lnTo>
                    <a:pt x="264928" y="11097"/>
                  </a:lnTo>
                  <a:lnTo>
                    <a:pt x="296764" y="2200"/>
                  </a:lnTo>
                  <a:lnTo>
                    <a:pt x="303311" y="0"/>
                  </a:lnTo>
                  <a:close/>
                </a:path>
              </a:pathLst>
            </a:custGeom>
            <a:solidFill>
              <a:srgbClr val="FFFF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52"/>
            <p:cNvSpPr/>
            <p:nvPr/>
          </p:nvSpPr>
          <p:spPr>
            <a:xfrm>
              <a:off x="2990350" y="3892479"/>
              <a:ext cx="323850" cy="27940"/>
            </a:xfrm>
            <a:custGeom>
              <a:avLst/>
              <a:gdLst/>
              <a:ahLst/>
              <a:cxnLst/>
              <a:rect l="l" t="t" r="r" b="b"/>
              <a:pathLst>
                <a:path w="323850" h="27939">
                  <a:moveTo>
                    <a:pt x="8128" y="0"/>
                  </a:moveTo>
                  <a:lnTo>
                    <a:pt x="0" y="0"/>
                  </a:lnTo>
                  <a:lnTo>
                    <a:pt x="0" y="4571"/>
                  </a:lnTo>
                  <a:lnTo>
                    <a:pt x="60972" y="18287"/>
                  </a:lnTo>
                  <a:lnTo>
                    <a:pt x="88404" y="22859"/>
                  </a:lnTo>
                  <a:lnTo>
                    <a:pt x="112788" y="25907"/>
                  </a:lnTo>
                  <a:lnTo>
                    <a:pt x="135648" y="27431"/>
                  </a:lnTo>
                  <a:lnTo>
                    <a:pt x="199625" y="27431"/>
                  </a:lnTo>
                  <a:lnTo>
                    <a:pt x="217913" y="25907"/>
                  </a:lnTo>
                  <a:lnTo>
                    <a:pt x="254489" y="19811"/>
                  </a:lnTo>
                  <a:lnTo>
                    <a:pt x="260077" y="18287"/>
                  </a:lnTo>
                  <a:lnTo>
                    <a:pt x="137172" y="18287"/>
                  </a:lnTo>
                  <a:lnTo>
                    <a:pt x="114312" y="15239"/>
                  </a:lnTo>
                  <a:lnTo>
                    <a:pt x="88404" y="12191"/>
                  </a:lnTo>
                  <a:lnTo>
                    <a:pt x="89928" y="12191"/>
                  </a:lnTo>
                  <a:lnTo>
                    <a:pt x="62496" y="9143"/>
                  </a:lnTo>
                  <a:lnTo>
                    <a:pt x="35052" y="3047"/>
                  </a:lnTo>
                  <a:lnTo>
                    <a:pt x="27813" y="1523"/>
                  </a:lnTo>
                  <a:lnTo>
                    <a:pt x="9144" y="1523"/>
                  </a:lnTo>
                  <a:lnTo>
                    <a:pt x="8128" y="0"/>
                  </a:lnTo>
                  <a:close/>
                </a:path>
                <a:path w="323850" h="27939">
                  <a:moveTo>
                    <a:pt x="323576" y="0"/>
                  </a:moveTo>
                  <a:lnTo>
                    <a:pt x="289540" y="0"/>
                  </a:lnTo>
                  <a:lnTo>
                    <a:pt x="268205" y="6095"/>
                  </a:lnTo>
                  <a:lnTo>
                    <a:pt x="251441" y="10667"/>
                  </a:lnTo>
                  <a:lnTo>
                    <a:pt x="234677" y="13715"/>
                  </a:lnTo>
                  <a:lnTo>
                    <a:pt x="217913" y="15239"/>
                  </a:lnTo>
                  <a:lnTo>
                    <a:pt x="198101" y="16763"/>
                  </a:lnTo>
                  <a:lnTo>
                    <a:pt x="199625" y="16763"/>
                  </a:lnTo>
                  <a:lnTo>
                    <a:pt x="179813" y="18287"/>
                  </a:lnTo>
                  <a:lnTo>
                    <a:pt x="260077" y="18287"/>
                  </a:lnTo>
                  <a:lnTo>
                    <a:pt x="271253" y="15239"/>
                  </a:lnTo>
                  <a:lnTo>
                    <a:pt x="303257" y="6095"/>
                  </a:lnTo>
                  <a:lnTo>
                    <a:pt x="323576" y="0"/>
                  </a:lnTo>
                  <a:close/>
                </a:path>
                <a:path w="323850" h="27939">
                  <a:moveTo>
                    <a:pt x="9144" y="0"/>
                  </a:moveTo>
                  <a:lnTo>
                    <a:pt x="8128" y="0"/>
                  </a:lnTo>
                  <a:lnTo>
                    <a:pt x="9144" y="1523"/>
                  </a:lnTo>
                  <a:lnTo>
                    <a:pt x="9144" y="0"/>
                  </a:lnTo>
                  <a:close/>
                </a:path>
                <a:path w="323850" h="27939">
                  <a:moveTo>
                    <a:pt x="20575" y="0"/>
                  </a:moveTo>
                  <a:lnTo>
                    <a:pt x="9144" y="0"/>
                  </a:lnTo>
                  <a:lnTo>
                    <a:pt x="9144" y="1523"/>
                  </a:lnTo>
                  <a:lnTo>
                    <a:pt x="27813" y="1523"/>
                  </a:lnTo>
                  <a:lnTo>
                    <a:pt x="20575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3" name="object 53"/>
          <p:cNvSpPr txBox="1"/>
          <p:nvPr/>
        </p:nvSpPr>
        <p:spPr>
          <a:xfrm>
            <a:off x="5196425" y="1380627"/>
            <a:ext cx="95504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Liberation Sans Narrow"/>
                <a:cs typeface="Liberation Sans Narrow"/>
              </a:rPr>
              <a:t>SAP</a:t>
            </a:r>
            <a:r>
              <a:rPr sz="1400" spc="-110" dirty="0">
                <a:latin typeface="Liberation Sans Narrow"/>
                <a:cs typeface="Liberation Sans Narrow"/>
              </a:rPr>
              <a:t> </a:t>
            </a:r>
            <a:r>
              <a:rPr sz="1400" dirty="0">
                <a:latin typeface="Liberation Sans Narrow"/>
                <a:cs typeface="Liberation Sans Narrow"/>
              </a:rPr>
              <a:t>SYSTEM</a:t>
            </a:r>
            <a:endParaRPr sz="1400">
              <a:latin typeface="Liberation Sans Narrow"/>
              <a:cs typeface="Liberation Sans Narrow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1319683" y="1380627"/>
            <a:ext cx="65786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5" dirty="0">
                <a:latin typeface="Liberation Sans Narrow"/>
                <a:cs typeface="Liberation Sans Narrow"/>
              </a:rPr>
              <a:t>Customer</a:t>
            </a:r>
            <a:endParaRPr sz="1400">
              <a:latin typeface="Liberation Sans Narrow"/>
              <a:cs typeface="Liberation Sans Narrow"/>
            </a:endParaRPr>
          </a:p>
        </p:txBody>
      </p:sp>
      <p:grpSp>
        <p:nvGrpSpPr>
          <p:cNvPr id="55" name="object 55"/>
          <p:cNvGrpSpPr/>
          <p:nvPr/>
        </p:nvGrpSpPr>
        <p:grpSpPr>
          <a:xfrm>
            <a:off x="3061990" y="1935845"/>
            <a:ext cx="762000" cy="838200"/>
            <a:chOff x="3061990" y="1935845"/>
            <a:chExt cx="762000" cy="838200"/>
          </a:xfrm>
        </p:grpSpPr>
        <p:sp>
          <p:nvSpPr>
            <p:cNvPr id="56" name="object 56"/>
            <p:cNvSpPr/>
            <p:nvPr/>
          </p:nvSpPr>
          <p:spPr>
            <a:xfrm>
              <a:off x="3061990" y="2027255"/>
              <a:ext cx="762000" cy="746760"/>
            </a:xfrm>
            <a:custGeom>
              <a:avLst/>
              <a:gdLst/>
              <a:ahLst/>
              <a:cxnLst/>
              <a:rect l="l" t="t" r="r" b="b"/>
              <a:pathLst>
                <a:path w="762000" h="746760">
                  <a:moveTo>
                    <a:pt x="761939" y="0"/>
                  </a:moveTo>
                  <a:lnTo>
                    <a:pt x="738090" y="31629"/>
                  </a:lnTo>
                  <a:lnTo>
                    <a:pt x="672296" y="58192"/>
                  </a:lnTo>
                  <a:lnTo>
                    <a:pt x="626367" y="68977"/>
                  </a:lnTo>
                  <a:lnTo>
                    <a:pt x="573188" y="77780"/>
                  </a:lnTo>
                  <a:lnTo>
                    <a:pt x="513838" y="84363"/>
                  </a:lnTo>
                  <a:lnTo>
                    <a:pt x="449395" y="88488"/>
                  </a:lnTo>
                  <a:lnTo>
                    <a:pt x="380939" y="89915"/>
                  </a:lnTo>
                  <a:lnTo>
                    <a:pt x="312492" y="88488"/>
                  </a:lnTo>
                  <a:lnTo>
                    <a:pt x="248059" y="84363"/>
                  </a:lnTo>
                  <a:lnTo>
                    <a:pt x="188718" y="77780"/>
                  </a:lnTo>
                  <a:lnTo>
                    <a:pt x="135548" y="68977"/>
                  </a:lnTo>
                  <a:lnTo>
                    <a:pt x="89626" y="58192"/>
                  </a:lnTo>
                  <a:lnTo>
                    <a:pt x="52032" y="45663"/>
                  </a:lnTo>
                  <a:lnTo>
                    <a:pt x="6140" y="16329"/>
                  </a:lnTo>
                  <a:lnTo>
                    <a:pt x="0" y="0"/>
                  </a:lnTo>
                  <a:lnTo>
                    <a:pt x="0" y="655289"/>
                  </a:lnTo>
                  <a:lnTo>
                    <a:pt x="23844" y="687095"/>
                  </a:lnTo>
                  <a:lnTo>
                    <a:pt x="89626" y="714091"/>
                  </a:lnTo>
                  <a:lnTo>
                    <a:pt x="135548" y="725127"/>
                  </a:lnTo>
                  <a:lnTo>
                    <a:pt x="188718" y="734169"/>
                  </a:lnTo>
                  <a:lnTo>
                    <a:pt x="248059" y="740954"/>
                  </a:lnTo>
                  <a:lnTo>
                    <a:pt x="312492" y="745218"/>
                  </a:lnTo>
                  <a:lnTo>
                    <a:pt x="380939" y="746699"/>
                  </a:lnTo>
                  <a:lnTo>
                    <a:pt x="449395" y="745218"/>
                  </a:lnTo>
                  <a:lnTo>
                    <a:pt x="513838" y="740954"/>
                  </a:lnTo>
                  <a:lnTo>
                    <a:pt x="573188" y="734169"/>
                  </a:lnTo>
                  <a:lnTo>
                    <a:pt x="626367" y="725127"/>
                  </a:lnTo>
                  <a:lnTo>
                    <a:pt x="672296" y="714091"/>
                  </a:lnTo>
                  <a:lnTo>
                    <a:pt x="709897" y="701326"/>
                  </a:lnTo>
                  <a:lnTo>
                    <a:pt x="755797" y="671661"/>
                  </a:lnTo>
                  <a:lnTo>
                    <a:pt x="761939" y="655289"/>
                  </a:lnTo>
                  <a:lnTo>
                    <a:pt x="761939" y="0"/>
                  </a:lnTo>
                  <a:close/>
                </a:path>
              </a:pathLst>
            </a:custGeom>
            <a:solidFill>
              <a:srgbClr val="CC98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57"/>
            <p:cNvSpPr/>
            <p:nvPr/>
          </p:nvSpPr>
          <p:spPr>
            <a:xfrm>
              <a:off x="3061990" y="1935845"/>
              <a:ext cx="762000" cy="181610"/>
            </a:xfrm>
            <a:custGeom>
              <a:avLst/>
              <a:gdLst/>
              <a:ahLst/>
              <a:cxnLst/>
              <a:rect l="l" t="t" r="r" b="b"/>
              <a:pathLst>
                <a:path w="762000" h="181610">
                  <a:moveTo>
                    <a:pt x="380939" y="0"/>
                  </a:moveTo>
                  <a:lnTo>
                    <a:pt x="312492" y="1480"/>
                  </a:lnTo>
                  <a:lnTo>
                    <a:pt x="248059" y="5744"/>
                  </a:lnTo>
                  <a:lnTo>
                    <a:pt x="188718" y="12529"/>
                  </a:lnTo>
                  <a:lnTo>
                    <a:pt x="135548" y="21571"/>
                  </a:lnTo>
                  <a:lnTo>
                    <a:pt x="89626" y="32607"/>
                  </a:lnTo>
                  <a:lnTo>
                    <a:pt x="52032" y="45372"/>
                  </a:lnTo>
                  <a:lnTo>
                    <a:pt x="6140" y="75037"/>
                  </a:lnTo>
                  <a:lnTo>
                    <a:pt x="0" y="91409"/>
                  </a:lnTo>
                  <a:lnTo>
                    <a:pt x="6140" y="107738"/>
                  </a:lnTo>
                  <a:lnTo>
                    <a:pt x="52032" y="137073"/>
                  </a:lnTo>
                  <a:lnTo>
                    <a:pt x="89626" y="149601"/>
                  </a:lnTo>
                  <a:lnTo>
                    <a:pt x="135548" y="160386"/>
                  </a:lnTo>
                  <a:lnTo>
                    <a:pt x="188718" y="169189"/>
                  </a:lnTo>
                  <a:lnTo>
                    <a:pt x="248059" y="175773"/>
                  </a:lnTo>
                  <a:lnTo>
                    <a:pt x="312492" y="179897"/>
                  </a:lnTo>
                  <a:lnTo>
                    <a:pt x="380939" y="181325"/>
                  </a:lnTo>
                  <a:lnTo>
                    <a:pt x="449395" y="179897"/>
                  </a:lnTo>
                  <a:lnTo>
                    <a:pt x="513838" y="175773"/>
                  </a:lnTo>
                  <a:lnTo>
                    <a:pt x="573188" y="169189"/>
                  </a:lnTo>
                  <a:lnTo>
                    <a:pt x="626367" y="160386"/>
                  </a:lnTo>
                  <a:lnTo>
                    <a:pt x="672296" y="149601"/>
                  </a:lnTo>
                  <a:lnTo>
                    <a:pt x="709897" y="137073"/>
                  </a:lnTo>
                  <a:lnTo>
                    <a:pt x="755797" y="107738"/>
                  </a:lnTo>
                  <a:lnTo>
                    <a:pt x="761939" y="91409"/>
                  </a:lnTo>
                  <a:lnTo>
                    <a:pt x="755797" y="75037"/>
                  </a:lnTo>
                  <a:lnTo>
                    <a:pt x="709897" y="45372"/>
                  </a:lnTo>
                  <a:lnTo>
                    <a:pt x="672296" y="32607"/>
                  </a:lnTo>
                  <a:lnTo>
                    <a:pt x="626367" y="21571"/>
                  </a:lnTo>
                  <a:lnTo>
                    <a:pt x="573188" y="12529"/>
                  </a:lnTo>
                  <a:lnTo>
                    <a:pt x="513838" y="5744"/>
                  </a:lnTo>
                  <a:lnTo>
                    <a:pt x="449395" y="1480"/>
                  </a:lnTo>
                  <a:lnTo>
                    <a:pt x="380939" y="0"/>
                  </a:lnTo>
                  <a:close/>
                </a:path>
              </a:pathLst>
            </a:custGeom>
            <a:solidFill>
              <a:srgbClr val="E0C1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8" name="object 58"/>
          <p:cNvSpPr txBox="1"/>
          <p:nvPr/>
        </p:nvSpPr>
        <p:spPr>
          <a:xfrm>
            <a:off x="3191003" y="2241619"/>
            <a:ext cx="501015" cy="32956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indent="109220">
              <a:lnSpc>
                <a:spcPct val="100000"/>
              </a:lnSpc>
              <a:spcBef>
                <a:spcPts val="95"/>
              </a:spcBef>
            </a:pPr>
            <a:r>
              <a:rPr sz="1000" spc="-10" dirty="0">
                <a:latin typeface="Verdana"/>
                <a:cs typeface="Verdana"/>
              </a:rPr>
              <a:t>T&amp;A  </a:t>
            </a:r>
            <a:r>
              <a:rPr sz="1000" spc="-5" dirty="0">
                <a:latin typeface="Verdana"/>
                <a:cs typeface="Verdana"/>
              </a:rPr>
              <a:t>S</a:t>
            </a:r>
            <a:r>
              <a:rPr sz="1000" spc="-10" dirty="0">
                <a:latin typeface="Verdana"/>
                <a:cs typeface="Verdana"/>
              </a:rPr>
              <a:t>ys</a:t>
            </a:r>
            <a:r>
              <a:rPr sz="1000" spc="-5" dirty="0">
                <a:latin typeface="Verdana"/>
                <a:cs typeface="Verdana"/>
              </a:rPr>
              <a:t>t</a:t>
            </a:r>
            <a:r>
              <a:rPr sz="1000" spc="-10" dirty="0">
                <a:latin typeface="Verdana"/>
                <a:cs typeface="Verdana"/>
              </a:rPr>
              <a:t>e</a:t>
            </a:r>
            <a:r>
              <a:rPr sz="1000" spc="-5" dirty="0">
                <a:latin typeface="Verdana"/>
                <a:cs typeface="Verdana"/>
              </a:rPr>
              <a:t>m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59" name="object 59"/>
          <p:cNvSpPr/>
          <p:nvPr/>
        </p:nvSpPr>
        <p:spPr>
          <a:xfrm>
            <a:off x="1699634" y="2088236"/>
            <a:ext cx="457160" cy="60954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 txBox="1"/>
          <p:nvPr/>
        </p:nvSpPr>
        <p:spPr>
          <a:xfrm>
            <a:off x="1430922" y="2651550"/>
            <a:ext cx="917575" cy="32956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78435" marR="5080" indent="-166370">
              <a:lnSpc>
                <a:spcPct val="100000"/>
              </a:lnSpc>
              <a:spcBef>
                <a:spcPts val="95"/>
              </a:spcBef>
            </a:pPr>
            <a:r>
              <a:rPr sz="1000" dirty="0">
                <a:latin typeface="Arial"/>
                <a:cs typeface="Arial"/>
              </a:rPr>
              <a:t>Time</a:t>
            </a:r>
            <a:r>
              <a:rPr sz="1000" spc="-110" dirty="0">
                <a:latin typeface="Arial"/>
                <a:cs typeface="Arial"/>
              </a:rPr>
              <a:t> </a:t>
            </a:r>
            <a:r>
              <a:rPr sz="1000" spc="-5" dirty="0">
                <a:latin typeface="Arial"/>
                <a:cs typeface="Arial"/>
              </a:rPr>
              <a:t>Recording  Terminals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61" name="object 61"/>
          <p:cNvGrpSpPr/>
          <p:nvPr/>
        </p:nvGrpSpPr>
        <p:grpSpPr>
          <a:xfrm>
            <a:off x="2296988" y="2204039"/>
            <a:ext cx="638810" cy="454659"/>
            <a:chOff x="2296988" y="2204039"/>
            <a:chExt cx="638810" cy="454659"/>
          </a:xfrm>
        </p:grpSpPr>
        <p:sp>
          <p:nvSpPr>
            <p:cNvPr id="62" name="object 62"/>
            <p:cNvSpPr/>
            <p:nvPr/>
          </p:nvSpPr>
          <p:spPr>
            <a:xfrm>
              <a:off x="2309179" y="2240615"/>
              <a:ext cx="609600" cy="381000"/>
            </a:xfrm>
            <a:custGeom>
              <a:avLst/>
              <a:gdLst/>
              <a:ahLst/>
              <a:cxnLst/>
              <a:rect l="l" t="t" r="r" b="b"/>
              <a:pathLst>
                <a:path w="609600" h="381000">
                  <a:moveTo>
                    <a:pt x="457166" y="0"/>
                  </a:moveTo>
                  <a:lnTo>
                    <a:pt x="457166" y="96011"/>
                  </a:lnTo>
                  <a:lnTo>
                    <a:pt x="0" y="96011"/>
                  </a:lnTo>
                  <a:lnTo>
                    <a:pt x="0" y="286481"/>
                  </a:lnTo>
                  <a:lnTo>
                    <a:pt x="457166" y="286481"/>
                  </a:lnTo>
                  <a:lnTo>
                    <a:pt x="457166" y="380969"/>
                  </a:lnTo>
                  <a:lnTo>
                    <a:pt x="609554" y="190469"/>
                  </a:lnTo>
                  <a:lnTo>
                    <a:pt x="457166" y="0"/>
                  </a:lnTo>
                  <a:close/>
                </a:path>
              </a:pathLst>
            </a:custGeom>
            <a:solidFill>
              <a:srgbClr val="3232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" name="object 63"/>
            <p:cNvSpPr/>
            <p:nvPr/>
          </p:nvSpPr>
          <p:spPr>
            <a:xfrm>
              <a:off x="2296988" y="2204039"/>
              <a:ext cx="638810" cy="454659"/>
            </a:xfrm>
            <a:custGeom>
              <a:avLst/>
              <a:gdLst/>
              <a:ahLst/>
              <a:cxnLst/>
              <a:rect l="l" t="t" r="r" b="b"/>
              <a:pathLst>
                <a:path w="638810" h="454660">
                  <a:moveTo>
                    <a:pt x="457166" y="323057"/>
                  </a:moveTo>
                  <a:lnTo>
                    <a:pt x="457166" y="454121"/>
                  </a:lnTo>
                  <a:lnTo>
                    <a:pt x="486376" y="417545"/>
                  </a:lnTo>
                  <a:lnTo>
                    <a:pt x="481550" y="417545"/>
                  </a:lnTo>
                  <a:lnTo>
                    <a:pt x="458690" y="409925"/>
                  </a:lnTo>
                  <a:lnTo>
                    <a:pt x="481550" y="381348"/>
                  </a:lnTo>
                  <a:lnTo>
                    <a:pt x="481550" y="335249"/>
                  </a:lnTo>
                  <a:lnTo>
                    <a:pt x="469358" y="335249"/>
                  </a:lnTo>
                  <a:lnTo>
                    <a:pt x="457166" y="323057"/>
                  </a:lnTo>
                  <a:close/>
                </a:path>
                <a:path w="638810" h="454660">
                  <a:moveTo>
                    <a:pt x="481550" y="381348"/>
                  </a:moveTo>
                  <a:lnTo>
                    <a:pt x="458690" y="409925"/>
                  </a:lnTo>
                  <a:lnTo>
                    <a:pt x="481550" y="417545"/>
                  </a:lnTo>
                  <a:lnTo>
                    <a:pt x="481550" y="381348"/>
                  </a:lnTo>
                  <a:close/>
                </a:path>
                <a:path w="638810" h="454660">
                  <a:moveTo>
                    <a:pt x="604982" y="227046"/>
                  </a:moveTo>
                  <a:lnTo>
                    <a:pt x="481550" y="381348"/>
                  </a:lnTo>
                  <a:lnTo>
                    <a:pt x="481550" y="417545"/>
                  </a:lnTo>
                  <a:lnTo>
                    <a:pt x="486376" y="417545"/>
                  </a:lnTo>
                  <a:lnTo>
                    <a:pt x="632424" y="234665"/>
                  </a:lnTo>
                  <a:lnTo>
                    <a:pt x="611078" y="234665"/>
                  </a:lnTo>
                  <a:lnTo>
                    <a:pt x="604982" y="227046"/>
                  </a:lnTo>
                  <a:close/>
                </a:path>
                <a:path w="638810" h="454660">
                  <a:moveTo>
                    <a:pt x="457166" y="118872"/>
                  </a:moveTo>
                  <a:lnTo>
                    <a:pt x="0" y="118872"/>
                  </a:lnTo>
                  <a:lnTo>
                    <a:pt x="0" y="335249"/>
                  </a:lnTo>
                  <a:lnTo>
                    <a:pt x="457166" y="335249"/>
                  </a:lnTo>
                  <a:lnTo>
                    <a:pt x="457166" y="323057"/>
                  </a:lnTo>
                  <a:lnTo>
                    <a:pt x="24384" y="323057"/>
                  </a:lnTo>
                  <a:lnTo>
                    <a:pt x="12192" y="309341"/>
                  </a:lnTo>
                  <a:lnTo>
                    <a:pt x="24384" y="309341"/>
                  </a:lnTo>
                  <a:lnTo>
                    <a:pt x="24384" y="144780"/>
                  </a:lnTo>
                  <a:lnTo>
                    <a:pt x="12192" y="144780"/>
                  </a:lnTo>
                  <a:lnTo>
                    <a:pt x="24384" y="132588"/>
                  </a:lnTo>
                  <a:lnTo>
                    <a:pt x="457166" y="132588"/>
                  </a:lnTo>
                  <a:lnTo>
                    <a:pt x="457166" y="118872"/>
                  </a:lnTo>
                  <a:close/>
                </a:path>
                <a:path w="638810" h="454660">
                  <a:moveTo>
                    <a:pt x="481550" y="309341"/>
                  </a:moveTo>
                  <a:lnTo>
                    <a:pt x="24384" y="309341"/>
                  </a:lnTo>
                  <a:lnTo>
                    <a:pt x="24384" y="323057"/>
                  </a:lnTo>
                  <a:lnTo>
                    <a:pt x="457166" y="323057"/>
                  </a:lnTo>
                  <a:lnTo>
                    <a:pt x="469358" y="335249"/>
                  </a:lnTo>
                  <a:lnTo>
                    <a:pt x="481550" y="335249"/>
                  </a:lnTo>
                  <a:lnTo>
                    <a:pt x="481550" y="309341"/>
                  </a:lnTo>
                  <a:close/>
                </a:path>
                <a:path w="638810" h="454660">
                  <a:moveTo>
                    <a:pt x="24384" y="309341"/>
                  </a:moveTo>
                  <a:lnTo>
                    <a:pt x="12192" y="309341"/>
                  </a:lnTo>
                  <a:lnTo>
                    <a:pt x="24384" y="323057"/>
                  </a:lnTo>
                  <a:lnTo>
                    <a:pt x="24384" y="309341"/>
                  </a:lnTo>
                  <a:close/>
                </a:path>
                <a:path w="638810" h="454660">
                  <a:moveTo>
                    <a:pt x="611078" y="219425"/>
                  </a:moveTo>
                  <a:lnTo>
                    <a:pt x="604982" y="227046"/>
                  </a:lnTo>
                  <a:lnTo>
                    <a:pt x="611078" y="234665"/>
                  </a:lnTo>
                  <a:lnTo>
                    <a:pt x="611078" y="219425"/>
                  </a:lnTo>
                  <a:close/>
                </a:path>
                <a:path w="638810" h="454660">
                  <a:moveTo>
                    <a:pt x="632424" y="219425"/>
                  </a:moveTo>
                  <a:lnTo>
                    <a:pt x="611078" y="219425"/>
                  </a:lnTo>
                  <a:lnTo>
                    <a:pt x="611078" y="234665"/>
                  </a:lnTo>
                  <a:lnTo>
                    <a:pt x="632424" y="234665"/>
                  </a:lnTo>
                  <a:lnTo>
                    <a:pt x="638510" y="227045"/>
                  </a:lnTo>
                  <a:lnTo>
                    <a:pt x="632424" y="219425"/>
                  </a:lnTo>
                  <a:close/>
                </a:path>
                <a:path w="638810" h="454660">
                  <a:moveTo>
                    <a:pt x="486380" y="36576"/>
                  </a:moveTo>
                  <a:lnTo>
                    <a:pt x="481550" y="36576"/>
                  </a:lnTo>
                  <a:lnTo>
                    <a:pt x="481550" y="72768"/>
                  </a:lnTo>
                  <a:lnTo>
                    <a:pt x="604982" y="227046"/>
                  </a:lnTo>
                  <a:lnTo>
                    <a:pt x="611078" y="219425"/>
                  </a:lnTo>
                  <a:lnTo>
                    <a:pt x="632424" y="219425"/>
                  </a:lnTo>
                  <a:lnTo>
                    <a:pt x="486380" y="36576"/>
                  </a:lnTo>
                  <a:close/>
                </a:path>
                <a:path w="638810" h="454660">
                  <a:moveTo>
                    <a:pt x="24384" y="132588"/>
                  </a:moveTo>
                  <a:lnTo>
                    <a:pt x="12192" y="144780"/>
                  </a:lnTo>
                  <a:lnTo>
                    <a:pt x="24384" y="144780"/>
                  </a:lnTo>
                  <a:lnTo>
                    <a:pt x="24384" y="132588"/>
                  </a:lnTo>
                  <a:close/>
                </a:path>
                <a:path w="638810" h="454660">
                  <a:moveTo>
                    <a:pt x="481550" y="118872"/>
                  </a:moveTo>
                  <a:lnTo>
                    <a:pt x="469358" y="118872"/>
                  </a:lnTo>
                  <a:lnTo>
                    <a:pt x="457166" y="132588"/>
                  </a:lnTo>
                  <a:lnTo>
                    <a:pt x="24384" y="132588"/>
                  </a:lnTo>
                  <a:lnTo>
                    <a:pt x="24384" y="144780"/>
                  </a:lnTo>
                  <a:lnTo>
                    <a:pt x="481550" y="144780"/>
                  </a:lnTo>
                  <a:lnTo>
                    <a:pt x="481550" y="118872"/>
                  </a:lnTo>
                  <a:close/>
                </a:path>
                <a:path w="638810" h="454660">
                  <a:moveTo>
                    <a:pt x="457166" y="0"/>
                  </a:moveTo>
                  <a:lnTo>
                    <a:pt x="457166" y="132588"/>
                  </a:lnTo>
                  <a:lnTo>
                    <a:pt x="469358" y="118872"/>
                  </a:lnTo>
                  <a:lnTo>
                    <a:pt x="481550" y="118872"/>
                  </a:lnTo>
                  <a:lnTo>
                    <a:pt x="481550" y="72768"/>
                  </a:lnTo>
                  <a:lnTo>
                    <a:pt x="458690" y="44196"/>
                  </a:lnTo>
                  <a:lnTo>
                    <a:pt x="481550" y="36576"/>
                  </a:lnTo>
                  <a:lnTo>
                    <a:pt x="486380" y="36576"/>
                  </a:lnTo>
                  <a:lnTo>
                    <a:pt x="457166" y="0"/>
                  </a:lnTo>
                  <a:close/>
                </a:path>
                <a:path w="638810" h="454660">
                  <a:moveTo>
                    <a:pt x="481550" y="36576"/>
                  </a:moveTo>
                  <a:lnTo>
                    <a:pt x="458690" y="44196"/>
                  </a:lnTo>
                  <a:lnTo>
                    <a:pt x="481550" y="72768"/>
                  </a:lnTo>
                  <a:lnTo>
                    <a:pt x="481550" y="36576"/>
                  </a:lnTo>
                  <a:close/>
                </a:path>
              </a:pathLst>
            </a:custGeom>
            <a:solidFill>
              <a:srgbClr val="375D8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64" name="object 64"/>
          <p:cNvGrpSpPr/>
          <p:nvPr/>
        </p:nvGrpSpPr>
        <p:grpSpPr>
          <a:xfrm>
            <a:off x="3145779" y="2837962"/>
            <a:ext cx="612775" cy="330835"/>
            <a:chOff x="3145779" y="2837962"/>
            <a:chExt cx="612775" cy="330835"/>
          </a:xfrm>
        </p:grpSpPr>
        <p:sp>
          <p:nvSpPr>
            <p:cNvPr id="65" name="object 65"/>
            <p:cNvSpPr/>
            <p:nvPr/>
          </p:nvSpPr>
          <p:spPr>
            <a:xfrm>
              <a:off x="3223503" y="2850154"/>
              <a:ext cx="457200" cy="304800"/>
            </a:xfrm>
            <a:custGeom>
              <a:avLst/>
              <a:gdLst/>
              <a:ahLst/>
              <a:cxnLst/>
              <a:rect l="l" t="t" r="r" b="b"/>
              <a:pathLst>
                <a:path w="457200" h="304800">
                  <a:moveTo>
                    <a:pt x="342869" y="0"/>
                  </a:moveTo>
                  <a:lnTo>
                    <a:pt x="114299" y="0"/>
                  </a:lnTo>
                  <a:lnTo>
                    <a:pt x="114299" y="228599"/>
                  </a:lnTo>
                  <a:lnTo>
                    <a:pt x="0" y="228599"/>
                  </a:lnTo>
                  <a:lnTo>
                    <a:pt x="228569" y="304769"/>
                  </a:lnTo>
                  <a:lnTo>
                    <a:pt x="457169" y="228599"/>
                  </a:lnTo>
                  <a:lnTo>
                    <a:pt x="342869" y="228599"/>
                  </a:lnTo>
                  <a:lnTo>
                    <a:pt x="342869" y="0"/>
                  </a:lnTo>
                  <a:close/>
                </a:path>
              </a:pathLst>
            </a:custGeom>
            <a:solidFill>
              <a:srgbClr val="3232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" name="object 66"/>
            <p:cNvSpPr/>
            <p:nvPr/>
          </p:nvSpPr>
          <p:spPr>
            <a:xfrm>
              <a:off x="3145779" y="2837962"/>
              <a:ext cx="612775" cy="330835"/>
            </a:xfrm>
            <a:custGeom>
              <a:avLst/>
              <a:gdLst/>
              <a:ahLst/>
              <a:cxnLst/>
              <a:rect l="l" t="t" r="r" b="b"/>
              <a:pathLst>
                <a:path w="612775" h="330835">
                  <a:moveTo>
                    <a:pt x="82296" y="228600"/>
                  </a:moveTo>
                  <a:lnTo>
                    <a:pt x="0" y="228600"/>
                  </a:lnTo>
                  <a:lnTo>
                    <a:pt x="306293" y="330677"/>
                  </a:lnTo>
                  <a:lnTo>
                    <a:pt x="384040" y="304769"/>
                  </a:lnTo>
                  <a:lnTo>
                    <a:pt x="301721" y="304769"/>
                  </a:lnTo>
                  <a:lnTo>
                    <a:pt x="306293" y="303246"/>
                  </a:lnTo>
                  <a:lnTo>
                    <a:pt x="155467" y="252984"/>
                  </a:lnTo>
                  <a:lnTo>
                    <a:pt x="77724" y="252984"/>
                  </a:lnTo>
                  <a:lnTo>
                    <a:pt x="82296" y="228600"/>
                  </a:lnTo>
                  <a:close/>
                </a:path>
                <a:path w="612775" h="330835">
                  <a:moveTo>
                    <a:pt x="306293" y="303246"/>
                  </a:moveTo>
                  <a:lnTo>
                    <a:pt x="301721" y="304769"/>
                  </a:lnTo>
                  <a:lnTo>
                    <a:pt x="310865" y="304769"/>
                  </a:lnTo>
                  <a:lnTo>
                    <a:pt x="306293" y="303246"/>
                  </a:lnTo>
                  <a:close/>
                </a:path>
                <a:path w="612775" h="330835">
                  <a:moveTo>
                    <a:pt x="530321" y="228600"/>
                  </a:moveTo>
                  <a:lnTo>
                    <a:pt x="306293" y="303246"/>
                  </a:lnTo>
                  <a:lnTo>
                    <a:pt x="310865" y="304769"/>
                  </a:lnTo>
                  <a:lnTo>
                    <a:pt x="384040" y="304769"/>
                  </a:lnTo>
                  <a:lnTo>
                    <a:pt x="539443" y="252984"/>
                  </a:lnTo>
                  <a:lnTo>
                    <a:pt x="534893" y="252984"/>
                  </a:lnTo>
                  <a:lnTo>
                    <a:pt x="530321" y="228600"/>
                  </a:lnTo>
                  <a:close/>
                </a:path>
                <a:path w="612775" h="330835">
                  <a:moveTo>
                    <a:pt x="82296" y="228600"/>
                  </a:moveTo>
                  <a:lnTo>
                    <a:pt x="77724" y="252984"/>
                  </a:lnTo>
                  <a:lnTo>
                    <a:pt x="155467" y="252984"/>
                  </a:lnTo>
                  <a:lnTo>
                    <a:pt x="82296" y="228600"/>
                  </a:lnTo>
                  <a:close/>
                </a:path>
                <a:path w="612775" h="330835">
                  <a:moveTo>
                    <a:pt x="179832" y="228600"/>
                  </a:moveTo>
                  <a:lnTo>
                    <a:pt x="82296" y="228600"/>
                  </a:lnTo>
                  <a:lnTo>
                    <a:pt x="155467" y="252984"/>
                  </a:lnTo>
                  <a:lnTo>
                    <a:pt x="204216" y="252984"/>
                  </a:lnTo>
                  <a:lnTo>
                    <a:pt x="204216" y="240792"/>
                  </a:lnTo>
                  <a:lnTo>
                    <a:pt x="179832" y="240792"/>
                  </a:lnTo>
                  <a:lnTo>
                    <a:pt x="179832" y="228600"/>
                  </a:lnTo>
                  <a:close/>
                </a:path>
                <a:path w="612775" h="330835">
                  <a:moveTo>
                    <a:pt x="408401" y="12192"/>
                  </a:moveTo>
                  <a:lnTo>
                    <a:pt x="408401" y="252984"/>
                  </a:lnTo>
                  <a:lnTo>
                    <a:pt x="457140" y="252984"/>
                  </a:lnTo>
                  <a:lnTo>
                    <a:pt x="493730" y="240792"/>
                  </a:lnTo>
                  <a:lnTo>
                    <a:pt x="432785" y="240792"/>
                  </a:lnTo>
                  <a:lnTo>
                    <a:pt x="420593" y="228600"/>
                  </a:lnTo>
                  <a:lnTo>
                    <a:pt x="432785" y="228600"/>
                  </a:lnTo>
                  <a:lnTo>
                    <a:pt x="432785" y="24384"/>
                  </a:lnTo>
                  <a:lnTo>
                    <a:pt x="420593" y="24384"/>
                  </a:lnTo>
                  <a:lnTo>
                    <a:pt x="408401" y="12192"/>
                  </a:lnTo>
                  <a:close/>
                </a:path>
                <a:path w="612775" h="330835">
                  <a:moveTo>
                    <a:pt x="612617" y="228600"/>
                  </a:moveTo>
                  <a:lnTo>
                    <a:pt x="530321" y="228600"/>
                  </a:lnTo>
                  <a:lnTo>
                    <a:pt x="534893" y="252984"/>
                  </a:lnTo>
                  <a:lnTo>
                    <a:pt x="539443" y="252984"/>
                  </a:lnTo>
                  <a:lnTo>
                    <a:pt x="612617" y="228600"/>
                  </a:lnTo>
                  <a:close/>
                </a:path>
                <a:path w="612775" h="330835">
                  <a:moveTo>
                    <a:pt x="432785" y="0"/>
                  </a:moveTo>
                  <a:lnTo>
                    <a:pt x="179832" y="0"/>
                  </a:lnTo>
                  <a:lnTo>
                    <a:pt x="179832" y="240792"/>
                  </a:lnTo>
                  <a:lnTo>
                    <a:pt x="192024" y="228600"/>
                  </a:lnTo>
                  <a:lnTo>
                    <a:pt x="204216" y="228600"/>
                  </a:lnTo>
                  <a:lnTo>
                    <a:pt x="204216" y="24384"/>
                  </a:lnTo>
                  <a:lnTo>
                    <a:pt x="192024" y="24384"/>
                  </a:lnTo>
                  <a:lnTo>
                    <a:pt x="204216" y="12192"/>
                  </a:lnTo>
                  <a:lnTo>
                    <a:pt x="432785" y="12192"/>
                  </a:lnTo>
                  <a:lnTo>
                    <a:pt x="432785" y="0"/>
                  </a:lnTo>
                  <a:close/>
                </a:path>
                <a:path w="612775" h="330835">
                  <a:moveTo>
                    <a:pt x="204216" y="228600"/>
                  </a:moveTo>
                  <a:lnTo>
                    <a:pt x="192024" y="228600"/>
                  </a:lnTo>
                  <a:lnTo>
                    <a:pt x="179832" y="240792"/>
                  </a:lnTo>
                  <a:lnTo>
                    <a:pt x="204216" y="240792"/>
                  </a:lnTo>
                  <a:lnTo>
                    <a:pt x="204216" y="228600"/>
                  </a:lnTo>
                  <a:close/>
                </a:path>
                <a:path w="612775" h="330835">
                  <a:moveTo>
                    <a:pt x="432785" y="228600"/>
                  </a:moveTo>
                  <a:lnTo>
                    <a:pt x="420593" y="228600"/>
                  </a:lnTo>
                  <a:lnTo>
                    <a:pt x="432785" y="240792"/>
                  </a:lnTo>
                  <a:lnTo>
                    <a:pt x="432785" y="228600"/>
                  </a:lnTo>
                  <a:close/>
                </a:path>
                <a:path w="612775" h="330835">
                  <a:moveTo>
                    <a:pt x="530321" y="228600"/>
                  </a:moveTo>
                  <a:lnTo>
                    <a:pt x="432785" y="228600"/>
                  </a:lnTo>
                  <a:lnTo>
                    <a:pt x="432785" y="240792"/>
                  </a:lnTo>
                  <a:lnTo>
                    <a:pt x="493730" y="240792"/>
                  </a:lnTo>
                  <a:lnTo>
                    <a:pt x="530321" y="228600"/>
                  </a:lnTo>
                  <a:close/>
                </a:path>
                <a:path w="612775" h="330835">
                  <a:moveTo>
                    <a:pt x="204216" y="12192"/>
                  </a:moveTo>
                  <a:lnTo>
                    <a:pt x="192024" y="24384"/>
                  </a:lnTo>
                  <a:lnTo>
                    <a:pt x="204216" y="24384"/>
                  </a:lnTo>
                  <a:lnTo>
                    <a:pt x="204216" y="12192"/>
                  </a:lnTo>
                  <a:close/>
                </a:path>
                <a:path w="612775" h="330835">
                  <a:moveTo>
                    <a:pt x="408401" y="12192"/>
                  </a:moveTo>
                  <a:lnTo>
                    <a:pt x="204216" y="12192"/>
                  </a:lnTo>
                  <a:lnTo>
                    <a:pt x="204216" y="24384"/>
                  </a:lnTo>
                  <a:lnTo>
                    <a:pt x="408401" y="24384"/>
                  </a:lnTo>
                  <a:lnTo>
                    <a:pt x="408401" y="12192"/>
                  </a:lnTo>
                  <a:close/>
                </a:path>
                <a:path w="612775" h="330835">
                  <a:moveTo>
                    <a:pt x="432785" y="12192"/>
                  </a:moveTo>
                  <a:lnTo>
                    <a:pt x="408401" y="12192"/>
                  </a:lnTo>
                  <a:lnTo>
                    <a:pt x="420593" y="24384"/>
                  </a:lnTo>
                  <a:lnTo>
                    <a:pt x="432785" y="24384"/>
                  </a:lnTo>
                  <a:lnTo>
                    <a:pt x="432785" y="12192"/>
                  </a:lnTo>
                  <a:close/>
                </a:path>
              </a:pathLst>
            </a:custGeom>
            <a:solidFill>
              <a:srgbClr val="375D8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7" name="object 67"/>
          <p:cNvSpPr txBox="1">
            <a:spLocks noGrp="1"/>
          </p:cNvSpPr>
          <p:nvPr>
            <p:ph type="title"/>
          </p:nvPr>
        </p:nvSpPr>
        <p:spPr>
          <a:xfrm>
            <a:off x="758896" y="710125"/>
            <a:ext cx="5255260" cy="36004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200" b="0" spc="-5" dirty="0">
                <a:solidFill>
                  <a:srgbClr val="4D84C4"/>
                </a:solidFill>
                <a:latin typeface="Liberation Sans Narrow"/>
                <a:cs typeface="Liberation Sans Narrow"/>
              </a:rPr>
              <a:t>SAP </a:t>
            </a:r>
            <a:r>
              <a:rPr sz="2200" b="0" spc="-10" dirty="0">
                <a:solidFill>
                  <a:srgbClr val="4D84C4"/>
                </a:solidFill>
                <a:latin typeface="Liberation Sans Narrow"/>
                <a:cs typeface="Liberation Sans Narrow"/>
              </a:rPr>
              <a:t>Payroll Integration </a:t>
            </a:r>
            <a:r>
              <a:rPr sz="2200" b="0" spc="-5" dirty="0">
                <a:solidFill>
                  <a:srgbClr val="4D84C4"/>
                </a:solidFill>
                <a:latin typeface="Liberation Sans Narrow"/>
                <a:cs typeface="Liberation Sans Narrow"/>
              </a:rPr>
              <a:t>with </a:t>
            </a:r>
            <a:r>
              <a:rPr sz="2200" b="0" spc="-10" dirty="0">
                <a:solidFill>
                  <a:srgbClr val="4D84C4"/>
                </a:solidFill>
                <a:latin typeface="Liberation Sans Narrow"/>
                <a:cs typeface="Liberation Sans Narrow"/>
              </a:rPr>
              <a:t>External </a:t>
            </a:r>
            <a:r>
              <a:rPr sz="2200" b="0" spc="-15" dirty="0">
                <a:solidFill>
                  <a:srgbClr val="4D84C4"/>
                </a:solidFill>
                <a:latin typeface="Liberation Sans Narrow"/>
                <a:cs typeface="Liberation Sans Narrow"/>
              </a:rPr>
              <a:t>Time</a:t>
            </a:r>
            <a:r>
              <a:rPr sz="2200" b="0" spc="-10" dirty="0">
                <a:solidFill>
                  <a:srgbClr val="4D84C4"/>
                </a:solidFill>
                <a:latin typeface="Liberation Sans Narrow"/>
                <a:cs typeface="Liberation Sans Narrow"/>
              </a:rPr>
              <a:t> Systems</a:t>
            </a:r>
            <a:endParaRPr sz="2200">
              <a:latin typeface="Liberation Sans Narrow"/>
              <a:cs typeface="Liberation Sans Narrow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1304443" y="4336939"/>
            <a:ext cx="7218045" cy="21653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4965" marR="5080" indent="-342900">
              <a:lnSpc>
                <a:spcPct val="100000"/>
              </a:lnSpc>
              <a:spcBef>
                <a:spcPts val="100"/>
              </a:spcBef>
              <a:buClr>
                <a:srgbClr val="4D84C4"/>
              </a:buClr>
              <a:buChar char="•"/>
              <a:tabLst>
                <a:tab pos="354965" algn="l"/>
                <a:tab pos="355600" algn="l"/>
              </a:tabLst>
            </a:pPr>
            <a:r>
              <a:rPr sz="1800" spc="-5" dirty="0">
                <a:latin typeface="Liberation Sans Narrow"/>
                <a:cs typeface="Liberation Sans Narrow"/>
              </a:rPr>
              <a:t>Master data will be maintained in SAP and sent to FTP Server for loading into T&amp;A  </a:t>
            </a:r>
            <a:r>
              <a:rPr sz="1800" dirty="0">
                <a:latin typeface="Liberation Sans Narrow"/>
                <a:cs typeface="Liberation Sans Narrow"/>
              </a:rPr>
              <a:t>system</a:t>
            </a:r>
            <a:endParaRPr sz="1800">
              <a:latin typeface="Liberation Sans Narrow"/>
              <a:cs typeface="Liberation Sans Narrow"/>
            </a:endParaRPr>
          </a:p>
          <a:p>
            <a:pPr marL="354965" marR="222250" indent="-342900">
              <a:lnSpc>
                <a:spcPct val="100000"/>
              </a:lnSpc>
              <a:spcBef>
                <a:spcPts val="430"/>
              </a:spcBef>
              <a:buClr>
                <a:srgbClr val="4D84C4"/>
              </a:buClr>
              <a:buChar char="•"/>
              <a:tabLst>
                <a:tab pos="354965" algn="l"/>
                <a:tab pos="355600" algn="l"/>
              </a:tabLst>
            </a:pPr>
            <a:r>
              <a:rPr sz="1800" spc="-15" dirty="0">
                <a:latin typeface="Liberation Sans Narrow"/>
                <a:cs typeface="Liberation Sans Narrow"/>
              </a:rPr>
              <a:t>Time </a:t>
            </a:r>
            <a:r>
              <a:rPr sz="1800" spc="-5" dirty="0">
                <a:latin typeface="Liberation Sans Narrow"/>
                <a:cs typeface="Liberation Sans Narrow"/>
              </a:rPr>
              <a:t>Recording </a:t>
            </a:r>
            <a:r>
              <a:rPr sz="1800" spc="-25" dirty="0">
                <a:latin typeface="Liberation Sans Narrow"/>
                <a:cs typeface="Liberation Sans Narrow"/>
              </a:rPr>
              <a:t>Terminals </a:t>
            </a:r>
            <a:r>
              <a:rPr sz="1800" spc="-5" dirty="0">
                <a:latin typeface="Liberation Sans Narrow"/>
                <a:cs typeface="Liberation Sans Narrow"/>
              </a:rPr>
              <a:t>will capture the time data and T&amp;A System will do the  validation and</a:t>
            </a:r>
            <a:r>
              <a:rPr sz="1800" spc="50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evaluation</a:t>
            </a:r>
            <a:endParaRPr sz="1800">
              <a:latin typeface="Liberation Sans Narrow"/>
              <a:cs typeface="Liberation Sans Narrow"/>
            </a:endParaRPr>
          </a:p>
          <a:p>
            <a:pPr marL="354965" indent="-342900">
              <a:lnSpc>
                <a:spcPct val="100000"/>
              </a:lnSpc>
              <a:spcBef>
                <a:spcPts val="430"/>
              </a:spcBef>
              <a:buClr>
                <a:srgbClr val="4D84C4"/>
              </a:buClr>
              <a:buChar char="•"/>
              <a:tabLst>
                <a:tab pos="354965" algn="l"/>
                <a:tab pos="355600" algn="l"/>
              </a:tabLst>
            </a:pPr>
            <a:r>
              <a:rPr sz="1800" spc="-5" dirty="0">
                <a:latin typeface="Liberation Sans Narrow"/>
                <a:cs typeface="Liberation Sans Narrow"/>
              </a:rPr>
              <a:t>Consolidated data from T&amp;A </a:t>
            </a:r>
            <a:r>
              <a:rPr sz="1800" dirty="0">
                <a:latin typeface="Liberation Sans Narrow"/>
                <a:cs typeface="Liberation Sans Narrow"/>
              </a:rPr>
              <a:t>system </a:t>
            </a:r>
            <a:r>
              <a:rPr sz="1800" spc="-5" dirty="0">
                <a:latin typeface="Liberation Sans Narrow"/>
                <a:cs typeface="Liberation Sans Narrow"/>
              </a:rPr>
              <a:t>will be loaded to FTP</a:t>
            </a:r>
            <a:r>
              <a:rPr sz="1800" spc="35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Server</a:t>
            </a:r>
            <a:endParaRPr sz="1800">
              <a:latin typeface="Liberation Sans Narrow"/>
              <a:cs typeface="Liberation Sans Narrow"/>
            </a:endParaRPr>
          </a:p>
          <a:p>
            <a:pPr marL="354965" indent="-342900">
              <a:lnSpc>
                <a:spcPct val="100000"/>
              </a:lnSpc>
              <a:spcBef>
                <a:spcPts val="434"/>
              </a:spcBef>
              <a:buClr>
                <a:srgbClr val="4D84C4"/>
              </a:buClr>
              <a:buChar char="•"/>
              <a:tabLst>
                <a:tab pos="354965" algn="l"/>
                <a:tab pos="355600" algn="l"/>
              </a:tabLst>
            </a:pPr>
            <a:r>
              <a:rPr sz="1800" spc="-15" dirty="0">
                <a:latin typeface="Liberation Sans Narrow"/>
                <a:cs typeface="Liberation Sans Narrow"/>
              </a:rPr>
              <a:t>Time </a:t>
            </a:r>
            <a:r>
              <a:rPr sz="1800" spc="-5" dirty="0">
                <a:latin typeface="Liberation Sans Narrow"/>
                <a:cs typeface="Liberation Sans Narrow"/>
              </a:rPr>
              <a:t>Data will be loaded to SAP using SAP PI/LSMW/BDC for Payroll</a:t>
            </a:r>
            <a:r>
              <a:rPr sz="1800" spc="190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processing</a:t>
            </a:r>
            <a:endParaRPr sz="1800">
              <a:latin typeface="Liberation Sans Narrow"/>
              <a:cs typeface="Liberation Sans Narrow"/>
            </a:endParaRPr>
          </a:p>
          <a:p>
            <a:pPr marL="354965" indent="-342900">
              <a:lnSpc>
                <a:spcPct val="100000"/>
              </a:lnSpc>
              <a:spcBef>
                <a:spcPts val="430"/>
              </a:spcBef>
              <a:buClr>
                <a:srgbClr val="4D84C4"/>
              </a:buClr>
              <a:buChar char="•"/>
              <a:tabLst>
                <a:tab pos="354965" algn="l"/>
                <a:tab pos="355600" algn="l"/>
              </a:tabLst>
            </a:pPr>
            <a:r>
              <a:rPr sz="1800" spc="-5" dirty="0">
                <a:latin typeface="Liberation Sans Narrow"/>
                <a:cs typeface="Liberation Sans Narrow"/>
              </a:rPr>
              <a:t>SAP to SAP integration will be through</a:t>
            </a:r>
            <a:r>
              <a:rPr sz="1800" spc="80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RFCs</a:t>
            </a:r>
            <a:endParaRPr sz="1800">
              <a:latin typeface="Liberation Sans Narrow"/>
              <a:cs typeface="Liberation Sans Narrow"/>
            </a:endParaRP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024048" y="2979183"/>
            <a:ext cx="624903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>
                <a:solidFill>
                  <a:srgbClr val="FF0000"/>
                </a:solidFill>
                <a:latin typeface="Liberation Sans Narrow"/>
                <a:cs typeface="Liberation Sans Narrow"/>
              </a:rPr>
              <a:t>Absence Management &amp; </a:t>
            </a:r>
            <a:r>
              <a:rPr spc="-5" dirty="0">
                <a:solidFill>
                  <a:srgbClr val="FF0000"/>
                </a:solidFill>
                <a:latin typeface="Liberation Sans Narrow"/>
                <a:cs typeface="Liberation Sans Narrow"/>
              </a:rPr>
              <a:t>Quota</a:t>
            </a:r>
            <a:r>
              <a:rPr spc="-145" dirty="0">
                <a:solidFill>
                  <a:srgbClr val="FF0000"/>
                </a:solidFill>
                <a:latin typeface="Liberation Sans Narrow"/>
                <a:cs typeface="Liberation Sans Narrow"/>
              </a:rPr>
              <a:t> </a:t>
            </a:r>
            <a:r>
              <a:rPr dirty="0">
                <a:solidFill>
                  <a:srgbClr val="FF0000"/>
                </a:solidFill>
                <a:latin typeface="Liberation Sans Narrow"/>
                <a:cs typeface="Liberation Sans Narrow"/>
              </a:rPr>
              <a:t>Accrual</a:t>
            </a:r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3368192" y="2515619"/>
            <a:ext cx="3384550" cy="966469"/>
            <a:chOff x="3377427" y="2926354"/>
            <a:chExt cx="3384550" cy="966469"/>
          </a:xfrm>
        </p:grpSpPr>
        <p:sp>
          <p:nvSpPr>
            <p:cNvPr id="3" name="object 3"/>
            <p:cNvSpPr/>
            <p:nvPr/>
          </p:nvSpPr>
          <p:spPr>
            <a:xfrm>
              <a:off x="3389619" y="2938546"/>
              <a:ext cx="3359150" cy="954405"/>
            </a:xfrm>
            <a:custGeom>
              <a:avLst/>
              <a:gdLst/>
              <a:ahLst/>
              <a:cxnLst/>
              <a:rect l="l" t="t" r="r" b="b"/>
              <a:pathLst>
                <a:path w="3359150" h="954404">
                  <a:moveTo>
                    <a:pt x="1679295" y="0"/>
                  </a:moveTo>
                  <a:lnTo>
                    <a:pt x="1610140" y="471"/>
                  </a:lnTo>
                  <a:lnTo>
                    <a:pt x="1541691" y="1872"/>
                  </a:lnTo>
                  <a:lnTo>
                    <a:pt x="1474002" y="4186"/>
                  </a:lnTo>
                  <a:lnTo>
                    <a:pt x="1407128" y="7395"/>
                  </a:lnTo>
                  <a:lnTo>
                    <a:pt x="1341122" y="11479"/>
                  </a:lnTo>
                  <a:lnTo>
                    <a:pt x="1276040" y="16421"/>
                  </a:lnTo>
                  <a:lnTo>
                    <a:pt x="1211934" y="22202"/>
                  </a:lnTo>
                  <a:lnTo>
                    <a:pt x="1148860" y="28806"/>
                  </a:lnTo>
                  <a:lnTo>
                    <a:pt x="1086873" y="36213"/>
                  </a:lnTo>
                  <a:lnTo>
                    <a:pt x="1026025" y="44405"/>
                  </a:lnTo>
                  <a:lnTo>
                    <a:pt x="966372" y="53364"/>
                  </a:lnTo>
                  <a:lnTo>
                    <a:pt x="907967" y="63072"/>
                  </a:lnTo>
                  <a:lnTo>
                    <a:pt x="850866" y="73511"/>
                  </a:lnTo>
                  <a:lnTo>
                    <a:pt x="795121" y="84663"/>
                  </a:lnTo>
                  <a:lnTo>
                    <a:pt x="740789" y="96509"/>
                  </a:lnTo>
                  <a:lnTo>
                    <a:pt x="687922" y="109032"/>
                  </a:lnTo>
                  <a:lnTo>
                    <a:pt x="636575" y="122213"/>
                  </a:lnTo>
                  <a:lnTo>
                    <a:pt x="586803" y="136034"/>
                  </a:lnTo>
                  <a:lnTo>
                    <a:pt x="538659" y="150478"/>
                  </a:lnTo>
                  <a:lnTo>
                    <a:pt x="492198" y="165525"/>
                  </a:lnTo>
                  <a:lnTo>
                    <a:pt x="447475" y="181158"/>
                  </a:lnTo>
                  <a:lnTo>
                    <a:pt x="404543" y="197358"/>
                  </a:lnTo>
                  <a:lnTo>
                    <a:pt x="363457" y="214108"/>
                  </a:lnTo>
                  <a:lnTo>
                    <a:pt x="324271" y="231390"/>
                  </a:lnTo>
                  <a:lnTo>
                    <a:pt x="287039" y="249184"/>
                  </a:lnTo>
                  <a:lnTo>
                    <a:pt x="251816" y="267473"/>
                  </a:lnTo>
                  <a:lnTo>
                    <a:pt x="218656" y="286240"/>
                  </a:lnTo>
                  <a:lnTo>
                    <a:pt x="158742" y="325130"/>
                  </a:lnTo>
                  <a:lnTo>
                    <a:pt x="107730" y="365711"/>
                  </a:lnTo>
                  <a:lnTo>
                    <a:pt x="66057" y="407836"/>
                  </a:lnTo>
                  <a:lnTo>
                    <a:pt x="34154" y="451361"/>
                  </a:lnTo>
                  <a:lnTo>
                    <a:pt x="12458" y="496140"/>
                  </a:lnTo>
                  <a:lnTo>
                    <a:pt x="1402" y="542028"/>
                  </a:lnTo>
                  <a:lnTo>
                    <a:pt x="0" y="565343"/>
                  </a:lnTo>
                  <a:lnTo>
                    <a:pt x="1402" y="588660"/>
                  </a:lnTo>
                  <a:lnTo>
                    <a:pt x="12458" y="634552"/>
                  </a:lnTo>
                  <a:lnTo>
                    <a:pt x="34154" y="679335"/>
                  </a:lnTo>
                  <a:lnTo>
                    <a:pt x="66057" y="722863"/>
                  </a:lnTo>
                  <a:lnTo>
                    <a:pt x="107730" y="764991"/>
                  </a:lnTo>
                  <a:lnTo>
                    <a:pt x="158742" y="805574"/>
                  </a:lnTo>
                  <a:lnTo>
                    <a:pt x="218656" y="844467"/>
                  </a:lnTo>
                  <a:lnTo>
                    <a:pt x="251816" y="863234"/>
                  </a:lnTo>
                  <a:lnTo>
                    <a:pt x="287039" y="881524"/>
                  </a:lnTo>
                  <a:lnTo>
                    <a:pt x="324271" y="899319"/>
                  </a:lnTo>
                  <a:lnTo>
                    <a:pt x="363457" y="916602"/>
                  </a:lnTo>
                  <a:lnTo>
                    <a:pt x="404543" y="933352"/>
                  </a:lnTo>
                  <a:lnTo>
                    <a:pt x="447475" y="949553"/>
                  </a:lnTo>
                  <a:lnTo>
                    <a:pt x="460002" y="953932"/>
                  </a:lnTo>
                  <a:lnTo>
                    <a:pt x="2899127" y="953932"/>
                  </a:lnTo>
                  <a:lnTo>
                    <a:pt x="2954547" y="933352"/>
                  </a:lnTo>
                  <a:lnTo>
                    <a:pt x="2995599" y="916602"/>
                  </a:lnTo>
                  <a:lnTo>
                    <a:pt x="3034750" y="899319"/>
                  </a:lnTo>
                  <a:lnTo>
                    <a:pt x="3071945" y="881524"/>
                  </a:lnTo>
                  <a:lnTo>
                    <a:pt x="3107131" y="863234"/>
                  </a:lnTo>
                  <a:lnTo>
                    <a:pt x="3171260" y="825240"/>
                  </a:lnTo>
                  <a:lnTo>
                    <a:pt x="3226704" y="785484"/>
                  </a:lnTo>
                  <a:lnTo>
                    <a:pt x="3273034" y="744111"/>
                  </a:lnTo>
                  <a:lnTo>
                    <a:pt x="3309819" y="701265"/>
                  </a:lnTo>
                  <a:lnTo>
                    <a:pt x="3336627" y="657091"/>
                  </a:lnTo>
                  <a:lnTo>
                    <a:pt x="3353028" y="611735"/>
                  </a:lnTo>
                  <a:lnTo>
                    <a:pt x="3358591" y="565343"/>
                  </a:lnTo>
                  <a:lnTo>
                    <a:pt x="3357191" y="542028"/>
                  </a:lnTo>
                  <a:lnTo>
                    <a:pt x="3346155" y="496140"/>
                  </a:lnTo>
                  <a:lnTo>
                    <a:pt x="3324497" y="451361"/>
                  </a:lnTo>
                  <a:lnTo>
                    <a:pt x="3292647" y="407836"/>
                  </a:lnTo>
                  <a:lnTo>
                    <a:pt x="3251036" y="365711"/>
                  </a:lnTo>
                  <a:lnTo>
                    <a:pt x="3200094" y="325130"/>
                  </a:lnTo>
                  <a:lnTo>
                    <a:pt x="3140254" y="286240"/>
                  </a:lnTo>
                  <a:lnTo>
                    <a:pt x="3071945" y="249184"/>
                  </a:lnTo>
                  <a:lnTo>
                    <a:pt x="3034750" y="231390"/>
                  </a:lnTo>
                  <a:lnTo>
                    <a:pt x="2995599" y="214108"/>
                  </a:lnTo>
                  <a:lnTo>
                    <a:pt x="2954547" y="197358"/>
                  </a:lnTo>
                  <a:lnTo>
                    <a:pt x="2911646" y="181158"/>
                  </a:lnTo>
                  <a:lnTo>
                    <a:pt x="2866952" y="165525"/>
                  </a:lnTo>
                  <a:lnTo>
                    <a:pt x="2820518" y="150478"/>
                  </a:lnTo>
                  <a:lnTo>
                    <a:pt x="2772398" y="136034"/>
                  </a:lnTo>
                  <a:lnTo>
                    <a:pt x="2722645" y="122213"/>
                  </a:lnTo>
                  <a:lnTo>
                    <a:pt x="2671314" y="109032"/>
                  </a:lnTo>
                  <a:lnTo>
                    <a:pt x="2618458" y="96509"/>
                  </a:lnTo>
                  <a:lnTo>
                    <a:pt x="2564132" y="84663"/>
                  </a:lnTo>
                  <a:lnTo>
                    <a:pt x="2508388" y="73511"/>
                  </a:lnTo>
                  <a:lnTo>
                    <a:pt x="2451282" y="63072"/>
                  </a:lnTo>
                  <a:lnTo>
                    <a:pt x="2392866" y="53364"/>
                  </a:lnTo>
                  <a:lnTo>
                    <a:pt x="2333195" y="44405"/>
                  </a:lnTo>
                  <a:lnTo>
                    <a:pt x="2272323" y="36213"/>
                  </a:lnTo>
                  <a:lnTo>
                    <a:pt x="2210303" y="28806"/>
                  </a:lnTo>
                  <a:lnTo>
                    <a:pt x="2147190" y="22202"/>
                  </a:lnTo>
                  <a:lnTo>
                    <a:pt x="2083036" y="16421"/>
                  </a:lnTo>
                  <a:lnTo>
                    <a:pt x="2017897" y="11479"/>
                  </a:lnTo>
                  <a:lnTo>
                    <a:pt x="1951825" y="7395"/>
                  </a:lnTo>
                  <a:lnTo>
                    <a:pt x="1884876" y="4186"/>
                  </a:lnTo>
                  <a:lnTo>
                    <a:pt x="1817101" y="1872"/>
                  </a:lnTo>
                  <a:lnTo>
                    <a:pt x="1748557" y="471"/>
                  </a:lnTo>
                  <a:lnTo>
                    <a:pt x="1679295" y="0"/>
                  </a:lnTo>
                  <a:close/>
                </a:path>
              </a:pathLst>
            </a:custGeom>
            <a:solidFill>
              <a:srgbClr val="FCD1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3377427" y="2926354"/>
              <a:ext cx="3384550" cy="966469"/>
            </a:xfrm>
            <a:custGeom>
              <a:avLst/>
              <a:gdLst/>
              <a:ahLst/>
              <a:cxnLst/>
              <a:rect l="l" t="t" r="r" b="b"/>
              <a:pathLst>
                <a:path w="3384550" h="966470">
                  <a:moveTo>
                    <a:pt x="1691487" y="0"/>
                  </a:moveTo>
                  <a:lnTo>
                    <a:pt x="1519306" y="3048"/>
                  </a:lnTo>
                  <a:lnTo>
                    <a:pt x="1353190" y="12192"/>
                  </a:lnTo>
                  <a:lnTo>
                    <a:pt x="1270894" y="18288"/>
                  </a:lnTo>
                  <a:lnTo>
                    <a:pt x="1191646" y="25908"/>
                  </a:lnTo>
                  <a:lnTo>
                    <a:pt x="1036228" y="44196"/>
                  </a:lnTo>
                  <a:lnTo>
                    <a:pt x="888400" y="68580"/>
                  </a:lnTo>
                  <a:lnTo>
                    <a:pt x="818296" y="82296"/>
                  </a:lnTo>
                  <a:lnTo>
                    <a:pt x="749747" y="97536"/>
                  </a:lnTo>
                  <a:lnTo>
                    <a:pt x="684215" y="112776"/>
                  </a:lnTo>
                  <a:lnTo>
                    <a:pt x="620207" y="129540"/>
                  </a:lnTo>
                  <a:lnTo>
                    <a:pt x="499811" y="166116"/>
                  </a:lnTo>
                  <a:lnTo>
                    <a:pt x="444977" y="185928"/>
                  </a:lnTo>
                  <a:lnTo>
                    <a:pt x="391637" y="207233"/>
                  </a:lnTo>
                  <a:lnTo>
                    <a:pt x="341345" y="228569"/>
                  </a:lnTo>
                  <a:lnTo>
                    <a:pt x="294101" y="251429"/>
                  </a:lnTo>
                  <a:lnTo>
                    <a:pt x="249905" y="274289"/>
                  </a:lnTo>
                  <a:lnTo>
                    <a:pt x="208757" y="298673"/>
                  </a:lnTo>
                  <a:lnTo>
                    <a:pt x="170657" y="323057"/>
                  </a:lnTo>
                  <a:lnTo>
                    <a:pt x="135605" y="348965"/>
                  </a:lnTo>
                  <a:lnTo>
                    <a:pt x="105125" y="374873"/>
                  </a:lnTo>
                  <a:lnTo>
                    <a:pt x="77693" y="402305"/>
                  </a:lnTo>
                  <a:lnTo>
                    <a:pt x="35052" y="458693"/>
                  </a:lnTo>
                  <a:lnTo>
                    <a:pt x="9144" y="518099"/>
                  </a:lnTo>
                  <a:lnTo>
                    <a:pt x="3048" y="545531"/>
                  </a:lnTo>
                  <a:lnTo>
                    <a:pt x="1524" y="547055"/>
                  </a:lnTo>
                  <a:lnTo>
                    <a:pt x="1443" y="550103"/>
                  </a:lnTo>
                  <a:lnTo>
                    <a:pt x="0" y="577535"/>
                  </a:lnTo>
                  <a:lnTo>
                    <a:pt x="0" y="579059"/>
                  </a:lnTo>
                  <a:lnTo>
                    <a:pt x="1443" y="606491"/>
                  </a:lnTo>
                  <a:lnTo>
                    <a:pt x="1524" y="609539"/>
                  </a:lnTo>
                  <a:lnTo>
                    <a:pt x="3048" y="609539"/>
                  </a:lnTo>
                  <a:lnTo>
                    <a:pt x="21336" y="670499"/>
                  </a:lnTo>
                  <a:lnTo>
                    <a:pt x="56357" y="726887"/>
                  </a:lnTo>
                  <a:lnTo>
                    <a:pt x="106649" y="781751"/>
                  </a:lnTo>
                  <a:lnTo>
                    <a:pt x="137129" y="807659"/>
                  </a:lnTo>
                  <a:lnTo>
                    <a:pt x="170657" y="833567"/>
                  </a:lnTo>
                  <a:lnTo>
                    <a:pt x="208757" y="857951"/>
                  </a:lnTo>
                  <a:lnTo>
                    <a:pt x="249905" y="882335"/>
                  </a:lnTo>
                  <a:lnTo>
                    <a:pt x="294101" y="905195"/>
                  </a:lnTo>
                  <a:lnTo>
                    <a:pt x="341345" y="928024"/>
                  </a:lnTo>
                  <a:lnTo>
                    <a:pt x="391637" y="949360"/>
                  </a:lnTo>
                  <a:lnTo>
                    <a:pt x="433548" y="966124"/>
                  </a:lnTo>
                  <a:lnTo>
                    <a:pt x="508955" y="966124"/>
                  </a:lnTo>
                  <a:lnTo>
                    <a:pt x="452597" y="946312"/>
                  </a:lnTo>
                  <a:lnTo>
                    <a:pt x="400781" y="924976"/>
                  </a:lnTo>
                  <a:lnTo>
                    <a:pt x="350489" y="903671"/>
                  </a:lnTo>
                  <a:lnTo>
                    <a:pt x="304769" y="882335"/>
                  </a:lnTo>
                  <a:lnTo>
                    <a:pt x="262097" y="859475"/>
                  </a:lnTo>
                  <a:lnTo>
                    <a:pt x="220949" y="836615"/>
                  </a:lnTo>
                  <a:lnTo>
                    <a:pt x="185897" y="812231"/>
                  </a:lnTo>
                  <a:lnTo>
                    <a:pt x="152369" y="787847"/>
                  </a:lnTo>
                  <a:lnTo>
                    <a:pt x="123413" y="761939"/>
                  </a:lnTo>
                  <a:lnTo>
                    <a:pt x="74645" y="711647"/>
                  </a:lnTo>
                  <a:lnTo>
                    <a:pt x="42641" y="658307"/>
                  </a:lnTo>
                  <a:lnTo>
                    <a:pt x="27790" y="606491"/>
                  </a:lnTo>
                  <a:lnTo>
                    <a:pt x="27432" y="606491"/>
                  </a:lnTo>
                  <a:lnTo>
                    <a:pt x="25988" y="579059"/>
                  </a:lnTo>
                  <a:lnTo>
                    <a:pt x="27432" y="550103"/>
                  </a:lnTo>
                  <a:lnTo>
                    <a:pt x="27752" y="550103"/>
                  </a:lnTo>
                  <a:lnTo>
                    <a:pt x="33528" y="522671"/>
                  </a:lnTo>
                  <a:lnTo>
                    <a:pt x="44165" y="496763"/>
                  </a:lnTo>
                  <a:lnTo>
                    <a:pt x="76169" y="443453"/>
                  </a:lnTo>
                  <a:lnTo>
                    <a:pt x="123413" y="393161"/>
                  </a:lnTo>
                  <a:lnTo>
                    <a:pt x="152369" y="367253"/>
                  </a:lnTo>
                  <a:lnTo>
                    <a:pt x="185897" y="342869"/>
                  </a:lnTo>
                  <a:lnTo>
                    <a:pt x="222473" y="318485"/>
                  </a:lnTo>
                  <a:lnTo>
                    <a:pt x="262097" y="295625"/>
                  </a:lnTo>
                  <a:lnTo>
                    <a:pt x="304769" y="272765"/>
                  </a:lnTo>
                  <a:lnTo>
                    <a:pt x="352013" y="251429"/>
                  </a:lnTo>
                  <a:lnTo>
                    <a:pt x="400781" y="230093"/>
                  </a:lnTo>
                  <a:lnTo>
                    <a:pt x="454121" y="210281"/>
                  </a:lnTo>
                  <a:lnTo>
                    <a:pt x="508955" y="190500"/>
                  </a:lnTo>
                  <a:lnTo>
                    <a:pt x="566867" y="172212"/>
                  </a:lnTo>
                  <a:lnTo>
                    <a:pt x="627827" y="153924"/>
                  </a:lnTo>
                  <a:lnTo>
                    <a:pt x="690311" y="137160"/>
                  </a:lnTo>
                  <a:lnTo>
                    <a:pt x="755812" y="121920"/>
                  </a:lnTo>
                  <a:lnTo>
                    <a:pt x="824392" y="106680"/>
                  </a:lnTo>
                  <a:lnTo>
                    <a:pt x="894496" y="92964"/>
                  </a:lnTo>
                  <a:lnTo>
                    <a:pt x="966124" y="80772"/>
                  </a:lnTo>
                  <a:lnTo>
                    <a:pt x="1117000" y="59436"/>
                  </a:lnTo>
                  <a:lnTo>
                    <a:pt x="1194694" y="50292"/>
                  </a:lnTo>
                  <a:lnTo>
                    <a:pt x="1273942" y="42672"/>
                  </a:lnTo>
                  <a:lnTo>
                    <a:pt x="1354714" y="36576"/>
                  </a:lnTo>
                  <a:lnTo>
                    <a:pt x="1520830" y="28956"/>
                  </a:lnTo>
                  <a:lnTo>
                    <a:pt x="1691487" y="25908"/>
                  </a:lnTo>
                  <a:lnTo>
                    <a:pt x="2192853" y="25908"/>
                  </a:lnTo>
                  <a:lnTo>
                    <a:pt x="2112081" y="18288"/>
                  </a:lnTo>
                  <a:lnTo>
                    <a:pt x="2031309" y="12192"/>
                  </a:lnTo>
                  <a:lnTo>
                    <a:pt x="1863699" y="3048"/>
                  </a:lnTo>
                  <a:lnTo>
                    <a:pt x="1691487" y="0"/>
                  </a:lnTo>
                  <a:close/>
                </a:path>
                <a:path w="3384550" h="966470">
                  <a:moveTo>
                    <a:pt x="3357067" y="604967"/>
                  </a:moveTo>
                  <a:lnTo>
                    <a:pt x="3340303" y="659831"/>
                  </a:lnTo>
                  <a:lnTo>
                    <a:pt x="3308329" y="711647"/>
                  </a:lnTo>
                  <a:lnTo>
                    <a:pt x="3261085" y="763463"/>
                  </a:lnTo>
                  <a:lnTo>
                    <a:pt x="3230605" y="787847"/>
                  </a:lnTo>
                  <a:lnTo>
                    <a:pt x="3198601" y="812231"/>
                  </a:lnTo>
                  <a:lnTo>
                    <a:pt x="3162025" y="836615"/>
                  </a:lnTo>
                  <a:lnTo>
                    <a:pt x="3122401" y="859475"/>
                  </a:lnTo>
                  <a:lnTo>
                    <a:pt x="3078205" y="882335"/>
                  </a:lnTo>
                  <a:lnTo>
                    <a:pt x="3032516" y="905195"/>
                  </a:lnTo>
                  <a:lnTo>
                    <a:pt x="2930408" y="946312"/>
                  </a:lnTo>
                  <a:lnTo>
                    <a:pt x="2875544" y="966124"/>
                  </a:lnTo>
                  <a:lnTo>
                    <a:pt x="508955" y="966124"/>
                  </a:lnTo>
                  <a:lnTo>
                    <a:pt x="2947758" y="966124"/>
                  </a:lnTo>
                  <a:lnTo>
                    <a:pt x="2992892" y="949360"/>
                  </a:lnTo>
                  <a:lnTo>
                    <a:pt x="3043153" y="928024"/>
                  </a:lnTo>
                  <a:lnTo>
                    <a:pt x="3090397" y="905195"/>
                  </a:lnTo>
                  <a:lnTo>
                    <a:pt x="3134593" y="882335"/>
                  </a:lnTo>
                  <a:lnTo>
                    <a:pt x="3175741" y="857951"/>
                  </a:lnTo>
                  <a:lnTo>
                    <a:pt x="3213841" y="833567"/>
                  </a:lnTo>
                  <a:lnTo>
                    <a:pt x="3247369" y="807659"/>
                  </a:lnTo>
                  <a:lnTo>
                    <a:pt x="3277849" y="781751"/>
                  </a:lnTo>
                  <a:lnTo>
                    <a:pt x="3305281" y="754319"/>
                  </a:lnTo>
                  <a:lnTo>
                    <a:pt x="3347923" y="697931"/>
                  </a:lnTo>
                  <a:lnTo>
                    <a:pt x="3375355" y="638495"/>
                  </a:lnTo>
                  <a:lnTo>
                    <a:pt x="3381451" y="609539"/>
                  </a:lnTo>
                  <a:lnTo>
                    <a:pt x="3381451" y="608015"/>
                  </a:lnTo>
                  <a:lnTo>
                    <a:pt x="3381611" y="606491"/>
                  </a:lnTo>
                  <a:lnTo>
                    <a:pt x="3357067" y="606491"/>
                  </a:lnTo>
                  <a:lnTo>
                    <a:pt x="3357067" y="604967"/>
                  </a:lnTo>
                  <a:close/>
                </a:path>
                <a:path w="3384550" h="966470">
                  <a:moveTo>
                    <a:pt x="27432" y="604967"/>
                  </a:moveTo>
                  <a:lnTo>
                    <a:pt x="27432" y="606491"/>
                  </a:lnTo>
                  <a:lnTo>
                    <a:pt x="27790" y="606491"/>
                  </a:lnTo>
                  <a:lnTo>
                    <a:pt x="27432" y="604967"/>
                  </a:lnTo>
                  <a:close/>
                </a:path>
                <a:path w="3384550" h="966470">
                  <a:moveTo>
                    <a:pt x="3384499" y="577535"/>
                  </a:moveTo>
                  <a:lnTo>
                    <a:pt x="3358591" y="577535"/>
                  </a:lnTo>
                  <a:lnTo>
                    <a:pt x="3358591" y="579059"/>
                  </a:lnTo>
                  <a:lnTo>
                    <a:pt x="3357067" y="606491"/>
                  </a:lnTo>
                  <a:lnTo>
                    <a:pt x="3381611" y="606491"/>
                  </a:lnTo>
                  <a:lnTo>
                    <a:pt x="3384499" y="579059"/>
                  </a:lnTo>
                  <a:lnTo>
                    <a:pt x="3384499" y="577535"/>
                  </a:lnTo>
                  <a:close/>
                </a:path>
                <a:path w="3384550" h="966470">
                  <a:moveTo>
                    <a:pt x="25948" y="578297"/>
                  </a:moveTo>
                  <a:lnTo>
                    <a:pt x="25908" y="579059"/>
                  </a:lnTo>
                  <a:lnTo>
                    <a:pt x="25948" y="578297"/>
                  </a:lnTo>
                  <a:close/>
                </a:path>
                <a:path w="3384550" h="966470">
                  <a:moveTo>
                    <a:pt x="3358551" y="578297"/>
                  </a:moveTo>
                  <a:lnTo>
                    <a:pt x="3358511" y="579059"/>
                  </a:lnTo>
                  <a:lnTo>
                    <a:pt x="3358551" y="578297"/>
                  </a:lnTo>
                  <a:close/>
                </a:path>
                <a:path w="3384550" h="966470">
                  <a:moveTo>
                    <a:pt x="25988" y="577535"/>
                  </a:moveTo>
                  <a:lnTo>
                    <a:pt x="25948" y="578297"/>
                  </a:lnTo>
                  <a:lnTo>
                    <a:pt x="25988" y="577535"/>
                  </a:lnTo>
                  <a:close/>
                </a:path>
                <a:path w="3384550" h="966470">
                  <a:moveTo>
                    <a:pt x="3381611" y="550103"/>
                  </a:moveTo>
                  <a:lnTo>
                    <a:pt x="3357067" y="550103"/>
                  </a:lnTo>
                  <a:lnTo>
                    <a:pt x="3358551" y="578297"/>
                  </a:lnTo>
                  <a:lnTo>
                    <a:pt x="3358591" y="577535"/>
                  </a:lnTo>
                  <a:lnTo>
                    <a:pt x="3384499" y="577535"/>
                  </a:lnTo>
                  <a:lnTo>
                    <a:pt x="3381611" y="550103"/>
                  </a:lnTo>
                  <a:close/>
                </a:path>
                <a:path w="3384550" h="966470">
                  <a:moveTo>
                    <a:pt x="27752" y="550103"/>
                  </a:moveTo>
                  <a:lnTo>
                    <a:pt x="27432" y="550103"/>
                  </a:lnTo>
                  <a:lnTo>
                    <a:pt x="27432" y="551627"/>
                  </a:lnTo>
                  <a:lnTo>
                    <a:pt x="27752" y="550103"/>
                  </a:lnTo>
                  <a:close/>
                </a:path>
                <a:path w="3384550" h="966470">
                  <a:moveTo>
                    <a:pt x="2192853" y="25908"/>
                  </a:moveTo>
                  <a:lnTo>
                    <a:pt x="1691487" y="25908"/>
                  </a:lnTo>
                  <a:lnTo>
                    <a:pt x="1863699" y="28956"/>
                  </a:lnTo>
                  <a:lnTo>
                    <a:pt x="2029785" y="36576"/>
                  </a:lnTo>
                  <a:lnTo>
                    <a:pt x="2110557" y="42672"/>
                  </a:lnTo>
                  <a:lnTo>
                    <a:pt x="2189805" y="50292"/>
                  </a:lnTo>
                  <a:lnTo>
                    <a:pt x="2267529" y="59436"/>
                  </a:lnTo>
                  <a:lnTo>
                    <a:pt x="2418374" y="80772"/>
                  </a:lnTo>
                  <a:lnTo>
                    <a:pt x="2490002" y="92964"/>
                  </a:lnTo>
                  <a:lnTo>
                    <a:pt x="2560106" y="106680"/>
                  </a:lnTo>
                  <a:lnTo>
                    <a:pt x="2628656" y="121920"/>
                  </a:lnTo>
                  <a:lnTo>
                    <a:pt x="2694188" y="137160"/>
                  </a:lnTo>
                  <a:lnTo>
                    <a:pt x="2756672" y="153924"/>
                  </a:lnTo>
                  <a:lnTo>
                    <a:pt x="2817632" y="172212"/>
                  </a:lnTo>
                  <a:lnTo>
                    <a:pt x="2875544" y="190500"/>
                  </a:lnTo>
                  <a:lnTo>
                    <a:pt x="2930408" y="210281"/>
                  </a:lnTo>
                  <a:lnTo>
                    <a:pt x="2983748" y="230093"/>
                  </a:lnTo>
                  <a:lnTo>
                    <a:pt x="3032516" y="251429"/>
                  </a:lnTo>
                  <a:lnTo>
                    <a:pt x="3079729" y="272765"/>
                  </a:lnTo>
                  <a:lnTo>
                    <a:pt x="3122401" y="295625"/>
                  </a:lnTo>
                  <a:lnTo>
                    <a:pt x="3198601" y="342869"/>
                  </a:lnTo>
                  <a:lnTo>
                    <a:pt x="3232129" y="368777"/>
                  </a:lnTo>
                  <a:lnTo>
                    <a:pt x="3286993" y="419069"/>
                  </a:lnTo>
                  <a:lnTo>
                    <a:pt x="3326587" y="470885"/>
                  </a:lnTo>
                  <a:lnTo>
                    <a:pt x="3350971" y="524195"/>
                  </a:lnTo>
                  <a:lnTo>
                    <a:pt x="3357067" y="551627"/>
                  </a:lnTo>
                  <a:lnTo>
                    <a:pt x="3357067" y="550103"/>
                  </a:lnTo>
                  <a:lnTo>
                    <a:pt x="3381611" y="550103"/>
                  </a:lnTo>
                  <a:lnTo>
                    <a:pt x="3381451" y="548579"/>
                  </a:lnTo>
                  <a:lnTo>
                    <a:pt x="3381451" y="545531"/>
                  </a:lnTo>
                  <a:lnTo>
                    <a:pt x="3363163" y="486095"/>
                  </a:lnTo>
                  <a:lnTo>
                    <a:pt x="3328111" y="428213"/>
                  </a:lnTo>
                  <a:lnTo>
                    <a:pt x="3277849" y="373349"/>
                  </a:lnTo>
                  <a:lnTo>
                    <a:pt x="3247369" y="347441"/>
                  </a:lnTo>
                  <a:lnTo>
                    <a:pt x="3212317" y="323057"/>
                  </a:lnTo>
                  <a:lnTo>
                    <a:pt x="3175741" y="297149"/>
                  </a:lnTo>
                  <a:lnTo>
                    <a:pt x="3090397" y="249905"/>
                  </a:lnTo>
                  <a:lnTo>
                    <a:pt x="3043153" y="228569"/>
                  </a:lnTo>
                  <a:lnTo>
                    <a:pt x="2992892" y="207233"/>
                  </a:lnTo>
                  <a:lnTo>
                    <a:pt x="2939552" y="185928"/>
                  </a:lnTo>
                  <a:lnTo>
                    <a:pt x="2883164" y="166116"/>
                  </a:lnTo>
                  <a:lnTo>
                    <a:pt x="2825252" y="147828"/>
                  </a:lnTo>
                  <a:lnTo>
                    <a:pt x="2764292" y="129540"/>
                  </a:lnTo>
                  <a:lnTo>
                    <a:pt x="2700284" y="112776"/>
                  </a:lnTo>
                  <a:lnTo>
                    <a:pt x="2564678" y="82296"/>
                  </a:lnTo>
                  <a:lnTo>
                    <a:pt x="2494574" y="68580"/>
                  </a:lnTo>
                  <a:lnTo>
                    <a:pt x="2346746" y="44196"/>
                  </a:lnTo>
                  <a:lnTo>
                    <a:pt x="2192853" y="2590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5" name="object 5"/>
          <p:cNvGrpSpPr/>
          <p:nvPr/>
        </p:nvGrpSpPr>
        <p:grpSpPr>
          <a:xfrm>
            <a:off x="6124865" y="1557114"/>
            <a:ext cx="2057400" cy="883919"/>
            <a:chOff x="6134100" y="1967849"/>
            <a:chExt cx="2057400" cy="883919"/>
          </a:xfrm>
        </p:grpSpPr>
        <p:sp>
          <p:nvSpPr>
            <p:cNvPr id="6" name="object 6"/>
            <p:cNvSpPr/>
            <p:nvPr/>
          </p:nvSpPr>
          <p:spPr>
            <a:xfrm>
              <a:off x="6147816" y="1980041"/>
              <a:ext cx="2031364" cy="859790"/>
            </a:xfrm>
            <a:custGeom>
              <a:avLst/>
              <a:gdLst/>
              <a:ahLst/>
              <a:cxnLst/>
              <a:rect l="l" t="t" r="r" b="b"/>
              <a:pathLst>
                <a:path w="2031365" h="859789">
                  <a:moveTo>
                    <a:pt x="1924659" y="0"/>
                  </a:moveTo>
                  <a:lnTo>
                    <a:pt x="106680" y="0"/>
                  </a:lnTo>
                  <a:lnTo>
                    <a:pt x="64936" y="8543"/>
                  </a:lnTo>
                  <a:lnTo>
                    <a:pt x="31051" y="31798"/>
                  </a:lnTo>
                  <a:lnTo>
                    <a:pt x="8310" y="66196"/>
                  </a:lnTo>
                  <a:lnTo>
                    <a:pt x="0" y="108173"/>
                  </a:lnTo>
                  <a:lnTo>
                    <a:pt x="0" y="751240"/>
                  </a:lnTo>
                  <a:lnTo>
                    <a:pt x="8310" y="793222"/>
                  </a:lnTo>
                  <a:lnTo>
                    <a:pt x="31051" y="827631"/>
                  </a:lnTo>
                  <a:lnTo>
                    <a:pt x="64936" y="850895"/>
                  </a:lnTo>
                  <a:lnTo>
                    <a:pt x="106680" y="859444"/>
                  </a:lnTo>
                  <a:lnTo>
                    <a:pt x="1924659" y="859444"/>
                  </a:lnTo>
                  <a:lnTo>
                    <a:pt x="1965760" y="850895"/>
                  </a:lnTo>
                  <a:lnTo>
                    <a:pt x="1999716" y="827631"/>
                  </a:lnTo>
                  <a:lnTo>
                    <a:pt x="2022814" y="793222"/>
                  </a:lnTo>
                  <a:lnTo>
                    <a:pt x="2031339" y="751240"/>
                  </a:lnTo>
                  <a:lnTo>
                    <a:pt x="2031339" y="108173"/>
                  </a:lnTo>
                  <a:lnTo>
                    <a:pt x="2022814" y="66196"/>
                  </a:lnTo>
                  <a:lnTo>
                    <a:pt x="1999716" y="31798"/>
                  </a:lnTo>
                  <a:lnTo>
                    <a:pt x="1965760" y="8543"/>
                  </a:lnTo>
                  <a:lnTo>
                    <a:pt x="1924659" y="0"/>
                  </a:lnTo>
                  <a:close/>
                </a:path>
              </a:pathLst>
            </a:custGeom>
            <a:solidFill>
              <a:srgbClr val="B7EAF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6134100" y="1967849"/>
              <a:ext cx="2057400" cy="883919"/>
            </a:xfrm>
            <a:custGeom>
              <a:avLst/>
              <a:gdLst/>
              <a:ahLst/>
              <a:cxnLst/>
              <a:rect l="l" t="t" r="r" b="b"/>
              <a:pathLst>
                <a:path w="2057400" h="883919">
                  <a:moveTo>
                    <a:pt x="1949043" y="0"/>
                  </a:moveTo>
                  <a:lnTo>
                    <a:pt x="108204" y="0"/>
                  </a:lnTo>
                  <a:lnTo>
                    <a:pt x="83820" y="6096"/>
                  </a:lnTo>
                  <a:lnTo>
                    <a:pt x="44196" y="27401"/>
                  </a:lnTo>
                  <a:lnTo>
                    <a:pt x="15240" y="63977"/>
                  </a:lnTo>
                  <a:lnTo>
                    <a:pt x="9144" y="73121"/>
                  </a:lnTo>
                  <a:lnTo>
                    <a:pt x="6096" y="85313"/>
                  </a:lnTo>
                  <a:lnTo>
                    <a:pt x="3048" y="95981"/>
                  </a:lnTo>
                  <a:lnTo>
                    <a:pt x="0" y="120365"/>
                  </a:lnTo>
                  <a:lnTo>
                    <a:pt x="0" y="764956"/>
                  </a:lnTo>
                  <a:lnTo>
                    <a:pt x="3048" y="789340"/>
                  </a:lnTo>
                  <a:lnTo>
                    <a:pt x="21336" y="832012"/>
                  </a:lnTo>
                  <a:lnTo>
                    <a:pt x="53340" y="864016"/>
                  </a:lnTo>
                  <a:lnTo>
                    <a:pt x="97536" y="882304"/>
                  </a:lnTo>
                  <a:lnTo>
                    <a:pt x="108204" y="883828"/>
                  </a:lnTo>
                  <a:lnTo>
                    <a:pt x="1950567" y="883828"/>
                  </a:lnTo>
                  <a:lnTo>
                    <a:pt x="1962759" y="880780"/>
                  </a:lnTo>
                  <a:lnTo>
                    <a:pt x="1973427" y="877732"/>
                  </a:lnTo>
                  <a:lnTo>
                    <a:pt x="1985619" y="874684"/>
                  </a:lnTo>
                  <a:lnTo>
                    <a:pt x="1996287" y="868588"/>
                  </a:lnTo>
                  <a:lnTo>
                    <a:pt x="2010003" y="859444"/>
                  </a:lnTo>
                  <a:lnTo>
                    <a:pt x="120396" y="859444"/>
                  </a:lnTo>
                  <a:lnTo>
                    <a:pt x="109728" y="857920"/>
                  </a:lnTo>
                  <a:lnTo>
                    <a:pt x="91440" y="854872"/>
                  </a:lnTo>
                  <a:lnTo>
                    <a:pt x="83820" y="850300"/>
                  </a:lnTo>
                  <a:lnTo>
                    <a:pt x="74676" y="847252"/>
                  </a:lnTo>
                  <a:lnTo>
                    <a:pt x="41148" y="816772"/>
                  </a:lnTo>
                  <a:lnTo>
                    <a:pt x="30480" y="790864"/>
                  </a:lnTo>
                  <a:lnTo>
                    <a:pt x="27432" y="783244"/>
                  </a:lnTo>
                  <a:lnTo>
                    <a:pt x="25908" y="772576"/>
                  </a:lnTo>
                  <a:lnTo>
                    <a:pt x="25908" y="109697"/>
                  </a:lnTo>
                  <a:lnTo>
                    <a:pt x="47244" y="59405"/>
                  </a:lnTo>
                  <a:lnTo>
                    <a:pt x="83820" y="31973"/>
                  </a:lnTo>
                  <a:lnTo>
                    <a:pt x="111252" y="25877"/>
                  </a:lnTo>
                  <a:lnTo>
                    <a:pt x="2011222" y="25877"/>
                  </a:lnTo>
                  <a:lnTo>
                    <a:pt x="2003907" y="19781"/>
                  </a:lnTo>
                  <a:lnTo>
                    <a:pt x="1994763" y="13716"/>
                  </a:lnTo>
                  <a:lnTo>
                    <a:pt x="1973427" y="4572"/>
                  </a:lnTo>
                  <a:lnTo>
                    <a:pt x="1961235" y="1524"/>
                  </a:lnTo>
                  <a:lnTo>
                    <a:pt x="1949043" y="0"/>
                  </a:lnTo>
                  <a:close/>
                </a:path>
                <a:path w="2057400" h="883919">
                  <a:moveTo>
                    <a:pt x="2011222" y="25877"/>
                  </a:moveTo>
                  <a:lnTo>
                    <a:pt x="1947519" y="25877"/>
                  </a:lnTo>
                  <a:lnTo>
                    <a:pt x="1958187" y="27401"/>
                  </a:lnTo>
                  <a:lnTo>
                    <a:pt x="1965807" y="30449"/>
                  </a:lnTo>
                  <a:lnTo>
                    <a:pt x="1984095" y="36545"/>
                  </a:lnTo>
                  <a:lnTo>
                    <a:pt x="1991715" y="41117"/>
                  </a:lnTo>
                  <a:lnTo>
                    <a:pt x="1997811" y="47213"/>
                  </a:lnTo>
                  <a:lnTo>
                    <a:pt x="2005431" y="53309"/>
                  </a:lnTo>
                  <a:lnTo>
                    <a:pt x="2028291" y="92933"/>
                  </a:lnTo>
                  <a:lnTo>
                    <a:pt x="2032863" y="120365"/>
                  </a:lnTo>
                  <a:lnTo>
                    <a:pt x="2032863" y="763432"/>
                  </a:lnTo>
                  <a:lnTo>
                    <a:pt x="2025243" y="801532"/>
                  </a:lnTo>
                  <a:lnTo>
                    <a:pt x="1997811" y="838108"/>
                  </a:lnTo>
                  <a:lnTo>
                    <a:pt x="1947519" y="857920"/>
                  </a:lnTo>
                  <a:lnTo>
                    <a:pt x="1936851" y="859444"/>
                  </a:lnTo>
                  <a:lnTo>
                    <a:pt x="2010003" y="859444"/>
                  </a:lnTo>
                  <a:lnTo>
                    <a:pt x="2043531" y="821344"/>
                  </a:lnTo>
                  <a:lnTo>
                    <a:pt x="2057247" y="775624"/>
                  </a:lnTo>
                  <a:lnTo>
                    <a:pt x="2057247" y="106649"/>
                  </a:lnTo>
                  <a:lnTo>
                    <a:pt x="2043531" y="62453"/>
                  </a:lnTo>
                  <a:lnTo>
                    <a:pt x="2022195" y="35021"/>
                  </a:lnTo>
                  <a:lnTo>
                    <a:pt x="2011222" y="25877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6392471" y="1687634"/>
            <a:ext cx="1564005" cy="51244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467995" marR="5080" indent="-45593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Liberation Sans Narrow"/>
                <a:cs typeface="Liberation Sans Narrow"/>
              </a:rPr>
              <a:t>Ab</a:t>
            </a:r>
            <a:r>
              <a:rPr sz="1600" dirty="0">
                <a:latin typeface="Liberation Sans Narrow"/>
                <a:cs typeface="Liberation Sans Narrow"/>
              </a:rPr>
              <a:t>s</a:t>
            </a:r>
            <a:r>
              <a:rPr sz="1600" spc="-5" dirty="0">
                <a:latin typeface="Liberation Sans Narrow"/>
                <a:cs typeface="Liberation Sans Narrow"/>
              </a:rPr>
              <a:t>en</a:t>
            </a:r>
            <a:r>
              <a:rPr sz="1600" dirty="0">
                <a:latin typeface="Liberation Sans Narrow"/>
                <a:cs typeface="Liberation Sans Narrow"/>
              </a:rPr>
              <a:t>c</a:t>
            </a:r>
            <a:r>
              <a:rPr sz="1600" spc="-5" dirty="0">
                <a:latin typeface="Liberation Sans Narrow"/>
                <a:cs typeface="Liberation Sans Narrow"/>
              </a:rPr>
              <a:t>e</a:t>
            </a:r>
            <a:r>
              <a:rPr sz="1600" spc="-10" dirty="0">
                <a:latin typeface="Liberation Sans Narrow"/>
                <a:cs typeface="Liberation Sans Narrow"/>
              </a:rPr>
              <a:t>/</a:t>
            </a:r>
            <a:r>
              <a:rPr sz="1600" spc="-5" dirty="0">
                <a:latin typeface="Liberation Sans Narrow"/>
                <a:cs typeface="Liberation Sans Narrow"/>
              </a:rPr>
              <a:t>A</a:t>
            </a:r>
            <a:r>
              <a:rPr sz="1600" spc="-10" dirty="0">
                <a:latin typeface="Liberation Sans Narrow"/>
                <a:cs typeface="Liberation Sans Narrow"/>
              </a:rPr>
              <a:t>tt</a:t>
            </a:r>
            <a:r>
              <a:rPr sz="1600" spc="-5" dirty="0">
                <a:latin typeface="Liberation Sans Narrow"/>
                <a:cs typeface="Liberation Sans Narrow"/>
              </a:rPr>
              <a:t>end</a:t>
            </a:r>
            <a:r>
              <a:rPr sz="1600" spc="-15" dirty="0">
                <a:latin typeface="Liberation Sans Narrow"/>
                <a:cs typeface="Liberation Sans Narrow"/>
              </a:rPr>
              <a:t>a</a:t>
            </a:r>
            <a:r>
              <a:rPr sz="1600" spc="-5" dirty="0">
                <a:latin typeface="Liberation Sans Narrow"/>
                <a:cs typeface="Liberation Sans Narrow"/>
              </a:rPr>
              <a:t>n</a:t>
            </a:r>
            <a:r>
              <a:rPr sz="1600" dirty="0">
                <a:latin typeface="Liberation Sans Narrow"/>
                <a:cs typeface="Liberation Sans Narrow"/>
              </a:rPr>
              <a:t>c</a:t>
            </a:r>
            <a:r>
              <a:rPr sz="1600" spc="-5" dirty="0">
                <a:latin typeface="Liberation Sans Narrow"/>
                <a:cs typeface="Liberation Sans Narrow"/>
              </a:rPr>
              <a:t>e  Counting</a:t>
            </a:r>
            <a:endParaRPr sz="1600">
              <a:latin typeface="Liberation Sans Narrow"/>
              <a:cs typeface="Liberation Sans Narrow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193515" y="2798536"/>
            <a:ext cx="1803400" cy="51244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649605" marR="5080" indent="-63754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Liberation Sans Narrow"/>
                <a:cs typeface="Liberation Sans Narrow"/>
              </a:rPr>
              <a:t>Absences / attendances  TYPES</a:t>
            </a:r>
            <a:endParaRPr sz="1600">
              <a:latin typeface="Liberation Sans Narrow"/>
              <a:cs typeface="Liberation Sans Narrow"/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5832287" y="2323595"/>
            <a:ext cx="370840" cy="429895"/>
            <a:chOff x="5841522" y="2734330"/>
            <a:chExt cx="370840" cy="429895"/>
          </a:xfrm>
        </p:grpSpPr>
        <p:sp>
          <p:nvSpPr>
            <p:cNvPr id="11" name="object 11"/>
            <p:cNvSpPr/>
            <p:nvPr/>
          </p:nvSpPr>
          <p:spPr>
            <a:xfrm>
              <a:off x="5859810" y="2751094"/>
              <a:ext cx="340360" cy="396240"/>
            </a:xfrm>
            <a:custGeom>
              <a:avLst/>
              <a:gdLst/>
              <a:ahLst/>
              <a:cxnLst/>
              <a:rect l="l" t="t" r="r" b="b"/>
              <a:pathLst>
                <a:path w="340360" h="396239">
                  <a:moveTo>
                    <a:pt x="336773" y="0"/>
                  </a:moveTo>
                  <a:lnTo>
                    <a:pt x="65531" y="64007"/>
                  </a:lnTo>
                  <a:lnTo>
                    <a:pt x="134081" y="117347"/>
                  </a:lnTo>
                  <a:lnTo>
                    <a:pt x="0" y="288035"/>
                  </a:lnTo>
                  <a:lnTo>
                    <a:pt x="137129" y="396209"/>
                  </a:lnTo>
                  <a:lnTo>
                    <a:pt x="271241" y="224027"/>
                  </a:lnTo>
                  <a:lnTo>
                    <a:pt x="339821" y="277367"/>
                  </a:lnTo>
                  <a:lnTo>
                    <a:pt x="336773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5841522" y="2734330"/>
              <a:ext cx="370840" cy="429895"/>
            </a:xfrm>
            <a:custGeom>
              <a:avLst/>
              <a:gdLst/>
              <a:ahLst/>
              <a:cxnLst/>
              <a:rect l="l" t="t" r="r" b="b"/>
              <a:pathLst>
                <a:path w="370839" h="429894">
                  <a:moveTo>
                    <a:pt x="134651" y="135551"/>
                  </a:moveTo>
                  <a:lnTo>
                    <a:pt x="0" y="307848"/>
                  </a:lnTo>
                  <a:lnTo>
                    <a:pt x="156941" y="429737"/>
                  </a:lnTo>
                  <a:lnTo>
                    <a:pt x="177192" y="403829"/>
                  </a:lnTo>
                  <a:lnTo>
                    <a:pt x="144749" y="403829"/>
                  </a:lnTo>
                  <a:lnTo>
                    <a:pt x="152404" y="394035"/>
                  </a:lnTo>
                  <a:lnTo>
                    <a:pt x="47463" y="312420"/>
                  </a:lnTo>
                  <a:lnTo>
                    <a:pt x="28956" y="312420"/>
                  </a:lnTo>
                  <a:lnTo>
                    <a:pt x="25908" y="295656"/>
                  </a:lnTo>
                  <a:lnTo>
                    <a:pt x="42054" y="295656"/>
                  </a:lnTo>
                  <a:lnTo>
                    <a:pt x="161131" y="143256"/>
                  </a:lnTo>
                  <a:lnTo>
                    <a:pt x="144749" y="143256"/>
                  </a:lnTo>
                  <a:lnTo>
                    <a:pt x="134651" y="135551"/>
                  </a:lnTo>
                  <a:close/>
                </a:path>
                <a:path w="370839" h="429894">
                  <a:moveTo>
                    <a:pt x="152404" y="394035"/>
                  </a:moveTo>
                  <a:lnTo>
                    <a:pt x="144749" y="403829"/>
                  </a:lnTo>
                  <a:lnTo>
                    <a:pt x="163037" y="402305"/>
                  </a:lnTo>
                  <a:lnTo>
                    <a:pt x="152404" y="394035"/>
                  </a:lnTo>
                  <a:close/>
                </a:path>
                <a:path w="370839" h="429894">
                  <a:moveTo>
                    <a:pt x="286481" y="222504"/>
                  </a:moveTo>
                  <a:lnTo>
                    <a:pt x="152404" y="394035"/>
                  </a:lnTo>
                  <a:lnTo>
                    <a:pt x="163037" y="402305"/>
                  </a:lnTo>
                  <a:lnTo>
                    <a:pt x="144749" y="403829"/>
                  </a:lnTo>
                  <a:lnTo>
                    <a:pt x="177192" y="403829"/>
                  </a:lnTo>
                  <a:lnTo>
                    <a:pt x="290861" y="258405"/>
                  </a:lnTo>
                  <a:lnTo>
                    <a:pt x="281909" y="251460"/>
                  </a:lnTo>
                  <a:lnTo>
                    <a:pt x="298673" y="248412"/>
                  </a:lnTo>
                  <a:lnTo>
                    <a:pt x="319340" y="248412"/>
                  </a:lnTo>
                  <a:lnTo>
                    <a:pt x="286481" y="222504"/>
                  </a:lnTo>
                  <a:close/>
                </a:path>
                <a:path w="370839" h="429894">
                  <a:moveTo>
                    <a:pt x="319340" y="248412"/>
                  </a:moveTo>
                  <a:lnTo>
                    <a:pt x="298673" y="248412"/>
                  </a:lnTo>
                  <a:lnTo>
                    <a:pt x="290861" y="258405"/>
                  </a:lnTo>
                  <a:lnTo>
                    <a:pt x="370301" y="320040"/>
                  </a:lnTo>
                  <a:lnTo>
                    <a:pt x="370054" y="294132"/>
                  </a:lnTo>
                  <a:lnTo>
                    <a:pt x="344393" y="294132"/>
                  </a:lnTo>
                  <a:lnTo>
                    <a:pt x="344105" y="267938"/>
                  </a:lnTo>
                  <a:lnTo>
                    <a:pt x="319340" y="248412"/>
                  </a:lnTo>
                  <a:close/>
                </a:path>
                <a:path w="370839" h="429894">
                  <a:moveTo>
                    <a:pt x="25908" y="295656"/>
                  </a:moveTo>
                  <a:lnTo>
                    <a:pt x="28956" y="312420"/>
                  </a:lnTo>
                  <a:lnTo>
                    <a:pt x="35951" y="303467"/>
                  </a:lnTo>
                  <a:lnTo>
                    <a:pt x="25908" y="295656"/>
                  </a:lnTo>
                  <a:close/>
                </a:path>
                <a:path w="370839" h="429894">
                  <a:moveTo>
                    <a:pt x="35951" y="303467"/>
                  </a:moveTo>
                  <a:lnTo>
                    <a:pt x="28956" y="312420"/>
                  </a:lnTo>
                  <a:lnTo>
                    <a:pt x="47463" y="312420"/>
                  </a:lnTo>
                  <a:lnTo>
                    <a:pt x="35951" y="303467"/>
                  </a:lnTo>
                  <a:close/>
                </a:path>
                <a:path w="370839" h="429894">
                  <a:moveTo>
                    <a:pt x="42054" y="295656"/>
                  </a:moveTo>
                  <a:lnTo>
                    <a:pt x="25908" y="295656"/>
                  </a:lnTo>
                  <a:lnTo>
                    <a:pt x="35951" y="303467"/>
                  </a:lnTo>
                  <a:lnTo>
                    <a:pt x="42054" y="295656"/>
                  </a:lnTo>
                  <a:close/>
                </a:path>
                <a:path w="370839" h="429894">
                  <a:moveTo>
                    <a:pt x="344105" y="267938"/>
                  </a:moveTo>
                  <a:lnTo>
                    <a:pt x="344393" y="294132"/>
                  </a:lnTo>
                  <a:lnTo>
                    <a:pt x="365729" y="284988"/>
                  </a:lnTo>
                  <a:lnTo>
                    <a:pt x="344105" y="267938"/>
                  </a:lnTo>
                  <a:close/>
                </a:path>
                <a:path w="370839" h="429894">
                  <a:moveTo>
                    <a:pt x="367413" y="16764"/>
                  </a:moveTo>
                  <a:lnTo>
                    <a:pt x="341345" y="16764"/>
                  </a:lnTo>
                  <a:lnTo>
                    <a:pt x="358109" y="28956"/>
                  </a:lnTo>
                  <a:lnTo>
                    <a:pt x="341522" y="32870"/>
                  </a:lnTo>
                  <a:lnTo>
                    <a:pt x="344105" y="267938"/>
                  </a:lnTo>
                  <a:lnTo>
                    <a:pt x="365729" y="284988"/>
                  </a:lnTo>
                  <a:lnTo>
                    <a:pt x="344393" y="294132"/>
                  </a:lnTo>
                  <a:lnTo>
                    <a:pt x="370054" y="294132"/>
                  </a:lnTo>
                  <a:lnTo>
                    <a:pt x="367413" y="16764"/>
                  </a:lnTo>
                  <a:close/>
                </a:path>
                <a:path w="370839" h="429894">
                  <a:moveTo>
                    <a:pt x="298673" y="248412"/>
                  </a:moveTo>
                  <a:lnTo>
                    <a:pt x="281909" y="251460"/>
                  </a:lnTo>
                  <a:lnTo>
                    <a:pt x="290861" y="258405"/>
                  </a:lnTo>
                  <a:lnTo>
                    <a:pt x="298673" y="248412"/>
                  </a:lnTo>
                  <a:close/>
                </a:path>
                <a:path w="370839" h="429894">
                  <a:moveTo>
                    <a:pt x="141732" y="126492"/>
                  </a:moveTo>
                  <a:lnTo>
                    <a:pt x="134651" y="135551"/>
                  </a:lnTo>
                  <a:lnTo>
                    <a:pt x="144749" y="143256"/>
                  </a:lnTo>
                  <a:lnTo>
                    <a:pt x="141732" y="126492"/>
                  </a:lnTo>
                  <a:close/>
                </a:path>
                <a:path w="370839" h="429894">
                  <a:moveTo>
                    <a:pt x="164716" y="126492"/>
                  </a:moveTo>
                  <a:lnTo>
                    <a:pt x="141732" y="126492"/>
                  </a:lnTo>
                  <a:lnTo>
                    <a:pt x="144749" y="143256"/>
                  </a:lnTo>
                  <a:lnTo>
                    <a:pt x="161131" y="143256"/>
                  </a:lnTo>
                  <a:lnTo>
                    <a:pt x="170657" y="131064"/>
                  </a:lnTo>
                  <a:lnTo>
                    <a:pt x="164716" y="126492"/>
                  </a:lnTo>
                  <a:close/>
                </a:path>
                <a:path w="370839" h="429894">
                  <a:moveTo>
                    <a:pt x="367253" y="0"/>
                  </a:moveTo>
                  <a:lnTo>
                    <a:pt x="54864" y="74676"/>
                  </a:lnTo>
                  <a:lnTo>
                    <a:pt x="134651" y="135551"/>
                  </a:lnTo>
                  <a:lnTo>
                    <a:pt x="141732" y="126492"/>
                  </a:lnTo>
                  <a:lnTo>
                    <a:pt x="164716" y="126492"/>
                  </a:lnTo>
                  <a:lnTo>
                    <a:pt x="121146" y="92964"/>
                  </a:lnTo>
                  <a:lnTo>
                    <a:pt x="86868" y="92964"/>
                  </a:lnTo>
                  <a:lnTo>
                    <a:pt x="91440" y="70104"/>
                  </a:lnTo>
                  <a:lnTo>
                    <a:pt x="183739" y="70104"/>
                  </a:lnTo>
                  <a:lnTo>
                    <a:pt x="341522" y="32870"/>
                  </a:lnTo>
                  <a:lnTo>
                    <a:pt x="341345" y="16764"/>
                  </a:lnTo>
                  <a:lnTo>
                    <a:pt x="367413" y="16764"/>
                  </a:lnTo>
                  <a:lnTo>
                    <a:pt x="367253" y="0"/>
                  </a:lnTo>
                  <a:close/>
                </a:path>
                <a:path w="370839" h="429894">
                  <a:moveTo>
                    <a:pt x="91440" y="70104"/>
                  </a:moveTo>
                  <a:lnTo>
                    <a:pt x="86868" y="92964"/>
                  </a:lnTo>
                  <a:lnTo>
                    <a:pt x="113101" y="86773"/>
                  </a:lnTo>
                  <a:lnTo>
                    <a:pt x="91440" y="70104"/>
                  </a:lnTo>
                  <a:close/>
                </a:path>
                <a:path w="370839" h="429894">
                  <a:moveTo>
                    <a:pt x="113101" y="86773"/>
                  </a:moveTo>
                  <a:lnTo>
                    <a:pt x="86868" y="92964"/>
                  </a:lnTo>
                  <a:lnTo>
                    <a:pt x="121146" y="92964"/>
                  </a:lnTo>
                  <a:lnTo>
                    <a:pt x="113101" y="86773"/>
                  </a:lnTo>
                  <a:close/>
                </a:path>
                <a:path w="370839" h="429894">
                  <a:moveTo>
                    <a:pt x="183739" y="70104"/>
                  </a:moveTo>
                  <a:lnTo>
                    <a:pt x="91440" y="70104"/>
                  </a:lnTo>
                  <a:lnTo>
                    <a:pt x="113101" y="86773"/>
                  </a:lnTo>
                  <a:lnTo>
                    <a:pt x="183739" y="70104"/>
                  </a:lnTo>
                  <a:close/>
                </a:path>
                <a:path w="370839" h="429894">
                  <a:moveTo>
                    <a:pt x="341345" y="16764"/>
                  </a:moveTo>
                  <a:lnTo>
                    <a:pt x="341522" y="32870"/>
                  </a:lnTo>
                  <a:lnTo>
                    <a:pt x="358109" y="28956"/>
                  </a:lnTo>
                  <a:lnTo>
                    <a:pt x="341345" y="16764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3" name="object 13"/>
          <p:cNvGrpSpPr/>
          <p:nvPr/>
        </p:nvGrpSpPr>
        <p:grpSpPr>
          <a:xfrm>
            <a:off x="1039706" y="2849344"/>
            <a:ext cx="6123305" cy="632460"/>
            <a:chOff x="1048941" y="3260079"/>
            <a:chExt cx="6123305" cy="632460"/>
          </a:xfrm>
        </p:grpSpPr>
        <p:sp>
          <p:nvSpPr>
            <p:cNvPr id="14" name="object 14"/>
            <p:cNvSpPr/>
            <p:nvPr/>
          </p:nvSpPr>
          <p:spPr>
            <a:xfrm>
              <a:off x="3080278" y="3468837"/>
              <a:ext cx="437515" cy="347980"/>
            </a:xfrm>
            <a:custGeom>
              <a:avLst/>
              <a:gdLst/>
              <a:ahLst/>
              <a:cxnLst/>
              <a:rect l="l" t="t" r="r" b="b"/>
              <a:pathLst>
                <a:path w="437514" h="347979">
                  <a:moveTo>
                    <a:pt x="223997" y="0"/>
                  </a:moveTo>
                  <a:lnTo>
                    <a:pt x="0" y="166115"/>
                  </a:lnTo>
                  <a:lnTo>
                    <a:pt x="211805" y="347471"/>
                  </a:lnTo>
                  <a:lnTo>
                    <a:pt x="214853" y="260603"/>
                  </a:lnTo>
                  <a:lnTo>
                    <a:pt x="431231" y="268223"/>
                  </a:lnTo>
                  <a:lnTo>
                    <a:pt x="437327" y="94487"/>
                  </a:lnTo>
                  <a:lnTo>
                    <a:pt x="220949" y="86867"/>
                  </a:lnTo>
                  <a:lnTo>
                    <a:pt x="223997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3060466" y="3442929"/>
              <a:ext cx="471170" cy="401320"/>
            </a:xfrm>
            <a:custGeom>
              <a:avLst/>
              <a:gdLst/>
              <a:ahLst/>
              <a:cxnLst/>
              <a:rect l="l" t="t" r="r" b="b"/>
              <a:pathLst>
                <a:path w="471170" h="401320">
                  <a:moveTo>
                    <a:pt x="257525" y="0"/>
                  </a:moveTo>
                  <a:lnTo>
                    <a:pt x="0" y="192024"/>
                  </a:lnTo>
                  <a:lnTo>
                    <a:pt x="243809" y="400781"/>
                  </a:lnTo>
                  <a:lnTo>
                    <a:pt x="244550" y="373380"/>
                  </a:lnTo>
                  <a:lnTo>
                    <a:pt x="219425" y="373380"/>
                  </a:lnTo>
                  <a:lnTo>
                    <a:pt x="220211" y="347827"/>
                  </a:lnTo>
                  <a:lnTo>
                    <a:pt x="51927" y="202692"/>
                  </a:lnTo>
                  <a:lnTo>
                    <a:pt x="27432" y="202692"/>
                  </a:lnTo>
                  <a:lnTo>
                    <a:pt x="28956" y="182880"/>
                  </a:lnTo>
                  <a:lnTo>
                    <a:pt x="54147" y="182880"/>
                  </a:lnTo>
                  <a:lnTo>
                    <a:pt x="229259" y="53017"/>
                  </a:lnTo>
                  <a:lnTo>
                    <a:pt x="230093" y="25908"/>
                  </a:lnTo>
                  <a:lnTo>
                    <a:pt x="256489" y="25908"/>
                  </a:lnTo>
                  <a:lnTo>
                    <a:pt x="257525" y="0"/>
                  </a:lnTo>
                  <a:close/>
                </a:path>
                <a:path w="471170" h="401320">
                  <a:moveTo>
                    <a:pt x="220211" y="347827"/>
                  </a:moveTo>
                  <a:lnTo>
                    <a:pt x="219425" y="373380"/>
                  </a:lnTo>
                  <a:lnTo>
                    <a:pt x="239237" y="364236"/>
                  </a:lnTo>
                  <a:lnTo>
                    <a:pt x="220211" y="347827"/>
                  </a:lnTo>
                  <a:close/>
                </a:path>
                <a:path w="471170" h="401320">
                  <a:moveTo>
                    <a:pt x="222473" y="274320"/>
                  </a:moveTo>
                  <a:lnTo>
                    <a:pt x="220211" y="347827"/>
                  </a:lnTo>
                  <a:lnTo>
                    <a:pt x="239237" y="364236"/>
                  </a:lnTo>
                  <a:lnTo>
                    <a:pt x="219425" y="373380"/>
                  </a:lnTo>
                  <a:lnTo>
                    <a:pt x="244550" y="373380"/>
                  </a:lnTo>
                  <a:lnTo>
                    <a:pt x="246517" y="300620"/>
                  </a:lnTo>
                  <a:lnTo>
                    <a:pt x="234665" y="300228"/>
                  </a:lnTo>
                  <a:lnTo>
                    <a:pt x="246857" y="288036"/>
                  </a:lnTo>
                  <a:lnTo>
                    <a:pt x="439064" y="288036"/>
                  </a:lnTo>
                  <a:lnTo>
                    <a:pt x="439294" y="281500"/>
                  </a:lnTo>
                  <a:lnTo>
                    <a:pt x="222473" y="274320"/>
                  </a:lnTo>
                  <a:close/>
                </a:path>
                <a:path w="471170" h="401320">
                  <a:moveTo>
                    <a:pt x="439064" y="288036"/>
                  </a:moveTo>
                  <a:lnTo>
                    <a:pt x="246857" y="288036"/>
                  </a:lnTo>
                  <a:lnTo>
                    <a:pt x="246517" y="300620"/>
                  </a:lnTo>
                  <a:lnTo>
                    <a:pt x="464759" y="307848"/>
                  </a:lnTo>
                  <a:lnTo>
                    <a:pt x="465177" y="294132"/>
                  </a:lnTo>
                  <a:lnTo>
                    <a:pt x="438851" y="294132"/>
                  </a:lnTo>
                  <a:lnTo>
                    <a:pt x="439064" y="288036"/>
                  </a:lnTo>
                  <a:close/>
                </a:path>
                <a:path w="471170" h="401320">
                  <a:moveTo>
                    <a:pt x="246857" y="288036"/>
                  </a:moveTo>
                  <a:lnTo>
                    <a:pt x="234665" y="300228"/>
                  </a:lnTo>
                  <a:lnTo>
                    <a:pt x="246517" y="300620"/>
                  </a:lnTo>
                  <a:lnTo>
                    <a:pt x="246857" y="288036"/>
                  </a:lnTo>
                  <a:close/>
                </a:path>
                <a:path w="471170" h="401320">
                  <a:moveTo>
                    <a:pt x="439294" y="281500"/>
                  </a:moveTo>
                  <a:lnTo>
                    <a:pt x="438851" y="294132"/>
                  </a:lnTo>
                  <a:lnTo>
                    <a:pt x="452567" y="281940"/>
                  </a:lnTo>
                  <a:lnTo>
                    <a:pt x="439294" y="281500"/>
                  </a:lnTo>
                  <a:close/>
                </a:path>
                <a:path w="471170" h="401320">
                  <a:moveTo>
                    <a:pt x="470482" y="120396"/>
                  </a:moveTo>
                  <a:lnTo>
                    <a:pt x="444947" y="120396"/>
                  </a:lnTo>
                  <a:lnTo>
                    <a:pt x="457139" y="134112"/>
                  </a:lnTo>
                  <a:lnTo>
                    <a:pt x="444465" y="134112"/>
                  </a:lnTo>
                  <a:lnTo>
                    <a:pt x="439294" y="281500"/>
                  </a:lnTo>
                  <a:lnTo>
                    <a:pt x="452567" y="281940"/>
                  </a:lnTo>
                  <a:lnTo>
                    <a:pt x="438851" y="294132"/>
                  </a:lnTo>
                  <a:lnTo>
                    <a:pt x="465177" y="294132"/>
                  </a:lnTo>
                  <a:lnTo>
                    <a:pt x="470063" y="134112"/>
                  </a:lnTo>
                  <a:lnTo>
                    <a:pt x="457139" y="134112"/>
                  </a:lnTo>
                  <a:lnTo>
                    <a:pt x="444483" y="133609"/>
                  </a:lnTo>
                  <a:lnTo>
                    <a:pt x="470079" y="133609"/>
                  </a:lnTo>
                  <a:lnTo>
                    <a:pt x="470482" y="120396"/>
                  </a:lnTo>
                  <a:close/>
                </a:path>
                <a:path w="471170" h="401320">
                  <a:moveTo>
                    <a:pt x="28956" y="182880"/>
                  </a:moveTo>
                  <a:lnTo>
                    <a:pt x="27432" y="202692"/>
                  </a:lnTo>
                  <a:lnTo>
                    <a:pt x="40602" y="192924"/>
                  </a:lnTo>
                  <a:lnTo>
                    <a:pt x="28956" y="182880"/>
                  </a:lnTo>
                  <a:close/>
                </a:path>
                <a:path w="471170" h="401320">
                  <a:moveTo>
                    <a:pt x="40602" y="192924"/>
                  </a:moveTo>
                  <a:lnTo>
                    <a:pt x="27432" y="202692"/>
                  </a:lnTo>
                  <a:lnTo>
                    <a:pt x="51927" y="202692"/>
                  </a:lnTo>
                  <a:lnTo>
                    <a:pt x="40602" y="192924"/>
                  </a:lnTo>
                  <a:close/>
                </a:path>
                <a:path w="471170" h="401320">
                  <a:moveTo>
                    <a:pt x="54147" y="182880"/>
                  </a:moveTo>
                  <a:lnTo>
                    <a:pt x="28956" y="182880"/>
                  </a:lnTo>
                  <a:lnTo>
                    <a:pt x="40602" y="192924"/>
                  </a:lnTo>
                  <a:lnTo>
                    <a:pt x="54147" y="182880"/>
                  </a:lnTo>
                  <a:close/>
                </a:path>
                <a:path w="471170" h="401320">
                  <a:moveTo>
                    <a:pt x="444947" y="120396"/>
                  </a:moveTo>
                  <a:lnTo>
                    <a:pt x="444483" y="133609"/>
                  </a:lnTo>
                  <a:lnTo>
                    <a:pt x="457139" y="134112"/>
                  </a:lnTo>
                  <a:lnTo>
                    <a:pt x="444947" y="120396"/>
                  </a:lnTo>
                  <a:close/>
                </a:path>
                <a:path w="471170" h="401320">
                  <a:moveTo>
                    <a:pt x="256489" y="25908"/>
                  </a:moveTo>
                  <a:lnTo>
                    <a:pt x="230093" y="25908"/>
                  </a:lnTo>
                  <a:lnTo>
                    <a:pt x="251429" y="36576"/>
                  </a:lnTo>
                  <a:lnTo>
                    <a:pt x="229259" y="53017"/>
                  </a:lnTo>
                  <a:lnTo>
                    <a:pt x="227045" y="124968"/>
                  </a:lnTo>
                  <a:lnTo>
                    <a:pt x="444483" y="133609"/>
                  </a:lnTo>
                  <a:lnTo>
                    <a:pt x="444947" y="120396"/>
                  </a:lnTo>
                  <a:lnTo>
                    <a:pt x="470482" y="120396"/>
                  </a:lnTo>
                  <a:lnTo>
                    <a:pt x="470668" y="114300"/>
                  </a:lnTo>
                  <a:lnTo>
                    <a:pt x="252953" y="114300"/>
                  </a:lnTo>
                  <a:lnTo>
                    <a:pt x="240761" y="100584"/>
                  </a:lnTo>
                  <a:lnTo>
                    <a:pt x="253502" y="100584"/>
                  </a:lnTo>
                  <a:lnTo>
                    <a:pt x="256489" y="25908"/>
                  </a:lnTo>
                  <a:close/>
                </a:path>
                <a:path w="471170" h="401320">
                  <a:moveTo>
                    <a:pt x="240761" y="100584"/>
                  </a:moveTo>
                  <a:lnTo>
                    <a:pt x="252953" y="114300"/>
                  </a:lnTo>
                  <a:lnTo>
                    <a:pt x="253485" y="101005"/>
                  </a:lnTo>
                  <a:lnTo>
                    <a:pt x="240761" y="100584"/>
                  </a:lnTo>
                  <a:close/>
                </a:path>
                <a:path w="471170" h="401320">
                  <a:moveTo>
                    <a:pt x="253485" y="101005"/>
                  </a:moveTo>
                  <a:lnTo>
                    <a:pt x="252953" y="114300"/>
                  </a:lnTo>
                  <a:lnTo>
                    <a:pt x="470668" y="114300"/>
                  </a:lnTo>
                  <a:lnTo>
                    <a:pt x="470855" y="108204"/>
                  </a:lnTo>
                  <a:lnTo>
                    <a:pt x="253485" y="101005"/>
                  </a:lnTo>
                  <a:close/>
                </a:path>
                <a:path w="471170" h="401320">
                  <a:moveTo>
                    <a:pt x="253502" y="100584"/>
                  </a:moveTo>
                  <a:lnTo>
                    <a:pt x="240761" y="100584"/>
                  </a:lnTo>
                  <a:lnTo>
                    <a:pt x="253485" y="101005"/>
                  </a:lnTo>
                  <a:lnTo>
                    <a:pt x="253502" y="100584"/>
                  </a:lnTo>
                  <a:close/>
                </a:path>
                <a:path w="471170" h="401320">
                  <a:moveTo>
                    <a:pt x="230093" y="25908"/>
                  </a:moveTo>
                  <a:lnTo>
                    <a:pt x="229259" y="53017"/>
                  </a:lnTo>
                  <a:lnTo>
                    <a:pt x="251429" y="36576"/>
                  </a:lnTo>
                  <a:lnTo>
                    <a:pt x="230093" y="25908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1061133" y="3272271"/>
              <a:ext cx="2031364" cy="620395"/>
            </a:xfrm>
            <a:custGeom>
              <a:avLst/>
              <a:gdLst/>
              <a:ahLst/>
              <a:cxnLst/>
              <a:rect l="l" t="t" r="r" b="b"/>
              <a:pathLst>
                <a:path w="2031364" h="620395">
                  <a:moveTo>
                    <a:pt x="1924644" y="0"/>
                  </a:moveTo>
                  <a:lnTo>
                    <a:pt x="108191" y="0"/>
                  </a:lnTo>
                  <a:lnTo>
                    <a:pt x="66217" y="8548"/>
                  </a:lnTo>
                  <a:lnTo>
                    <a:pt x="31811" y="31813"/>
                  </a:lnTo>
                  <a:lnTo>
                    <a:pt x="8548" y="66222"/>
                  </a:lnTo>
                  <a:lnTo>
                    <a:pt x="0" y="108204"/>
                  </a:lnTo>
                  <a:lnTo>
                    <a:pt x="0" y="620207"/>
                  </a:lnTo>
                  <a:lnTo>
                    <a:pt x="2031336" y="620207"/>
                  </a:lnTo>
                  <a:lnTo>
                    <a:pt x="2031336" y="108204"/>
                  </a:lnTo>
                  <a:lnTo>
                    <a:pt x="2023024" y="66222"/>
                  </a:lnTo>
                  <a:lnTo>
                    <a:pt x="2000279" y="31813"/>
                  </a:lnTo>
                  <a:lnTo>
                    <a:pt x="1966389" y="8548"/>
                  </a:lnTo>
                  <a:lnTo>
                    <a:pt x="1924644" y="0"/>
                  </a:lnTo>
                  <a:close/>
                </a:path>
              </a:pathLst>
            </a:custGeom>
            <a:solidFill>
              <a:srgbClr val="B7EAF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1048931" y="3260089"/>
              <a:ext cx="6103620" cy="632460"/>
            </a:xfrm>
            <a:custGeom>
              <a:avLst/>
              <a:gdLst/>
              <a:ahLst/>
              <a:cxnLst/>
              <a:rect l="l" t="t" r="r" b="b"/>
              <a:pathLst>
                <a:path w="6103620" h="632460">
                  <a:moveTo>
                    <a:pt x="2057247" y="118872"/>
                  </a:moveTo>
                  <a:lnTo>
                    <a:pt x="2042007" y="62484"/>
                  </a:lnTo>
                  <a:lnTo>
                    <a:pt x="2020671" y="35052"/>
                  </a:lnTo>
                  <a:lnTo>
                    <a:pt x="2013051" y="27432"/>
                  </a:lnTo>
                  <a:lnTo>
                    <a:pt x="2011222" y="25908"/>
                  </a:lnTo>
                  <a:lnTo>
                    <a:pt x="2003907" y="19812"/>
                  </a:lnTo>
                  <a:lnTo>
                    <a:pt x="1993226" y="13716"/>
                  </a:lnTo>
                  <a:lnTo>
                    <a:pt x="1971890" y="4572"/>
                  </a:lnTo>
                  <a:lnTo>
                    <a:pt x="1961222" y="1524"/>
                  </a:lnTo>
                  <a:lnTo>
                    <a:pt x="1949030" y="0"/>
                  </a:lnTo>
                  <a:lnTo>
                    <a:pt x="106667" y="0"/>
                  </a:lnTo>
                  <a:lnTo>
                    <a:pt x="51816" y="21336"/>
                  </a:lnTo>
                  <a:lnTo>
                    <a:pt x="19812" y="53340"/>
                  </a:lnTo>
                  <a:lnTo>
                    <a:pt x="1524" y="96012"/>
                  </a:lnTo>
                  <a:lnTo>
                    <a:pt x="0" y="108204"/>
                  </a:lnTo>
                  <a:lnTo>
                    <a:pt x="0" y="632396"/>
                  </a:lnTo>
                  <a:lnTo>
                    <a:pt x="24384" y="632396"/>
                  </a:lnTo>
                  <a:lnTo>
                    <a:pt x="24384" y="120396"/>
                  </a:lnTo>
                  <a:lnTo>
                    <a:pt x="25908" y="109728"/>
                  </a:lnTo>
                  <a:lnTo>
                    <a:pt x="28956" y="91440"/>
                  </a:lnTo>
                  <a:lnTo>
                    <a:pt x="33528" y="82296"/>
                  </a:lnTo>
                  <a:lnTo>
                    <a:pt x="36576" y="74676"/>
                  </a:lnTo>
                  <a:lnTo>
                    <a:pt x="74676" y="36576"/>
                  </a:lnTo>
                  <a:lnTo>
                    <a:pt x="111239" y="25908"/>
                  </a:lnTo>
                  <a:lnTo>
                    <a:pt x="1947506" y="25908"/>
                  </a:lnTo>
                  <a:lnTo>
                    <a:pt x="1965794" y="28956"/>
                  </a:lnTo>
                  <a:lnTo>
                    <a:pt x="1974938" y="33528"/>
                  </a:lnTo>
                  <a:lnTo>
                    <a:pt x="1982558" y="36576"/>
                  </a:lnTo>
                  <a:lnTo>
                    <a:pt x="2016099" y="67056"/>
                  </a:lnTo>
                  <a:lnTo>
                    <a:pt x="2023719" y="83820"/>
                  </a:lnTo>
                  <a:lnTo>
                    <a:pt x="2026767" y="91440"/>
                  </a:lnTo>
                  <a:lnTo>
                    <a:pt x="2029815" y="100584"/>
                  </a:lnTo>
                  <a:lnTo>
                    <a:pt x="2031339" y="111252"/>
                  </a:lnTo>
                  <a:lnTo>
                    <a:pt x="2031339" y="632396"/>
                  </a:lnTo>
                  <a:lnTo>
                    <a:pt x="2057247" y="632396"/>
                  </a:lnTo>
                  <a:lnTo>
                    <a:pt x="2057247" y="118872"/>
                  </a:lnTo>
                  <a:close/>
                </a:path>
                <a:path w="6103620" h="632460">
                  <a:moveTo>
                    <a:pt x="6103099" y="374865"/>
                  </a:moveTo>
                  <a:lnTo>
                    <a:pt x="5891301" y="193509"/>
                  </a:lnTo>
                  <a:lnTo>
                    <a:pt x="5888253" y="280377"/>
                  </a:lnTo>
                  <a:lnTo>
                    <a:pt x="5671845" y="272757"/>
                  </a:lnTo>
                  <a:lnTo>
                    <a:pt x="5665749" y="446493"/>
                  </a:lnTo>
                  <a:lnTo>
                    <a:pt x="5882157" y="454113"/>
                  </a:lnTo>
                  <a:lnTo>
                    <a:pt x="5879109" y="540981"/>
                  </a:lnTo>
                  <a:lnTo>
                    <a:pt x="6103099" y="374865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6700967" y="3426165"/>
              <a:ext cx="471170" cy="401320"/>
            </a:xfrm>
            <a:custGeom>
              <a:avLst/>
              <a:gdLst/>
              <a:ahLst/>
              <a:cxnLst/>
              <a:rect l="l" t="t" r="r" b="b"/>
              <a:pathLst>
                <a:path w="471170" h="401320">
                  <a:moveTo>
                    <a:pt x="243464" y="288036"/>
                  </a:moveTo>
                  <a:lnTo>
                    <a:pt x="217932" y="288036"/>
                  </a:lnTo>
                  <a:lnTo>
                    <a:pt x="230124" y="300228"/>
                  </a:lnTo>
                  <a:lnTo>
                    <a:pt x="217437" y="300228"/>
                  </a:lnTo>
                  <a:lnTo>
                    <a:pt x="213360" y="400812"/>
                  </a:lnTo>
                  <a:lnTo>
                    <a:pt x="248105" y="374904"/>
                  </a:lnTo>
                  <a:lnTo>
                    <a:pt x="240792" y="374904"/>
                  </a:lnTo>
                  <a:lnTo>
                    <a:pt x="219456" y="364236"/>
                  </a:lnTo>
                  <a:lnTo>
                    <a:pt x="241626" y="347794"/>
                  </a:lnTo>
                  <a:lnTo>
                    <a:pt x="243089" y="300228"/>
                  </a:lnTo>
                  <a:lnTo>
                    <a:pt x="230124" y="300228"/>
                  </a:lnTo>
                  <a:lnTo>
                    <a:pt x="217454" y="299808"/>
                  </a:lnTo>
                  <a:lnTo>
                    <a:pt x="243102" y="299808"/>
                  </a:lnTo>
                  <a:lnTo>
                    <a:pt x="243464" y="288036"/>
                  </a:lnTo>
                  <a:close/>
                </a:path>
                <a:path w="471170" h="401320">
                  <a:moveTo>
                    <a:pt x="241626" y="347794"/>
                  </a:moveTo>
                  <a:lnTo>
                    <a:pt x="219456" y="364236"/>
                  </a:lnTo>
                  <a:lnTo>
                    <a:pt x="240792" y="374904"/>
                  </a:lnTo>
                  <a:lnTo>
                    <a:pt x="241626" y="347794"/>
                  </a:lnTo>
                  <a:close/>
                </a:path>
                <a:path w="471170" h="401320">
                  <a:moveTo>
                    <a:pt x="430282" y="207887"/>
                  </a:moveTo>
                  <a:lnTo>
                    <a:pt x="241626" y="347794"/>
                  </a:lnTo>
                  <a:lnTo>
                    <a:pt x="240792" y="374904"/>
                  </a:lnTo>
                  <a:lnTo>
                    <a:pt x="248105" y="374904"/>
                  </a:lnTo>
                  <a:lnTo>
                    <a:pt x="458622" y="217932"/>
                  </a:lnTo>
                  <a:lnTo>
                    <a:pt x="441929" y="217932"/>
                  </a:lnTo>
                  <a:lnTo>
                    <a:pt x="430282" y="207887"/>
                  </a:lnTo>
                  <a:close/>
                </a:path>
                <a:path w="471170" h="401320">
                  <a:moveTo>
                    <a:pt x="217932" y="288036"/>
                  </a:moveTo>
                  <a:lnTo>
                    <a:pt x="217454" y="299808"/>
                  </a:lnTo>
                  <a:lnTo>
                    <a:pt x="230124" y="300228"/>
                  </a:lnTo>
                  <a:lnTo>
                    <a:pt x="217932" y="288036"/>
                  </a:lnTo>
                  <a:close/>
                </a:path>
                <a:path w="471170" h="401320">
                  <a:moveTo>
                    <a:pt x="7620" y="92964"/>
                  </a:moveTo>
                  <a:lnTo>
                    <a:pt x="0" y="292608"/>
                  </a:lnTo>
                  <a:lnTo>
                    <a:pt x="217454" y="299808"/>
                  </a:lnTo>
                  <a:lnTo>
                    <a:pt x="217932" y="288036"/>
                  </a:lnTo>
                  <a:lnTo>
                    <a:pt x="243464" y="288036"/>
                  </a:lnTo>
                  <a:lnTo>
                    <a:pt x="243699" y="280416"/>
                  </a:lnTo>
                  <a:lnTo>
                    <a:pt x="25908" y="280416"/>
                  </a:lnTo>
                  <a:lnTo>
                    <a:pt x="13716" y="268224"/>
                  </a:lnTo>
                  <a:lnTo>
                    <a:pt x="26335" y="268224"/>
                  </a:lnTo>
                  <a:lnTo>
                    <a:pt x="31557" y="119399"/>
                  </a:lnTo>
                  <a:lnTo>
                    <a:pt x="18288" y="118872"/>
                  </a:lnTo>
                  <a:lnTo>
                    <a:pt x="32004" y="106680"/>
                  </a:lnTo>
                  <a:lnTo>
                    <a:pt x="224332" y="106680"/>
                  </a:lnTo>
                  <a:lnTo>
                    <a:pt x="224536" y="101583"/>
                  </a:lnTo>
                  <a:lnTo>
                    <a:pt x="7620" y="92964"/>
                  </a:lnTo>
                  <a:close/>
                </a:path>
                <a:path w="471170" h="401320">
                  <a:moveTo>
                    <a:pt x="13716" y="268224"/>
                  </a:moveTo>
                  <a:lnTo>
                    <a:pt x="25908" y="280416"/>
                  </a:lnTo>
                  <a:lnTo>
                    <a:pt x="26321" y="268641"/>
                  </a:lnTo>
                  <a:lnTo>
                    <a:pt x="13716" y="268224"/>
                  </a:lnTo>
                  <a:close/>
                </a:path>
                <a:path w="471170" h="401320">
                  <a:moveTo>
                    <a:pt x="26321" y="268641"/>
                  </a:moveTo>
                  <a:lnTo>
                    <a:pt x="25908" y="280416"/>
                  </a:lnTo>
                  <a:lnTo>
                    <a:pt x="243699" y="280416"/>
                  </a:lnTo>
                  <a:lnTo>
                    <a:pt x="243840" y="275844"/>
                  </a:lnTo>
                  <a:lnTo>
                    <a:pt x="26321" y="268641"/>
                  </a:lnTo>
                  <a:close/>
                </a:path>
                <a:path w="471170" h="401320">
                  <a:moveTo>
                    <a:pt x="26335" y="268224"/>
                  </a:moveTo>
                  <a:lnTo>
                    <a:pt x="13716" y="268224"/>
                  </a:lnTo>
                  <a:lnTo>
                    <a:pt x="26321" y="268641"/>
                  </a:lnTo>
                  <a:lnTo>
                    <a:pt x="26335" y="268224"/>
                  </a:lnTo>
                  <a:close/>
                </a:path>
                <a:path w="471170" h="401320">
                  <a:moveTo>
                    <a:pt x="443453" y="198120"/>
                  </a:moveTo>
                  <a:lnTo>
                    <a:pt x="430282" y="207887"/>
                  </a:lnTo>
                  <a:lnTo>
                    <a:pt x="441929" y="217932"/>
                  </a:lnTo>
                  <a:lnTo>
                    <a:pt x="443453" y="198120"/>
                  </a:lnTo>
                  <a:close/>
                </a:path>
                <a:path w="471170" h="401320">
                  <a:moveTo>
                    <a:pt x="458505" y="198120"/>
                  </a:moveTo>
                  <a:lnTo>
                    <a:pt x="443453" y="198120"/>
                  </a:lnTo>
                  <a:lnTo>
                    <a:pt x="441929" y="217932"/>
                  </a:lnTo>
                  <a:lnTo>
                    <a:pt x="458622" y="217932"/>
                  </a:lnTo>
                  <a:lnTo>
                    <a:pt x="470885" y="208788"/>
                  </a:lnTo>
                  <a:lnTo>
                    <a:pt x="458505" y="198120"/>
                  </a:lnTo>
                  <a:close/>
                </a:path>
                <a:path w="471170" h="401320">
                  <a:moveTo>
                    <a:pt x="260433" y="27432"/>
                  </a:moveTo>
                  <a:lnTo>
                    <a:pt x="252984" y="27432"/>
                  </a:lnTo>
                  <a:lnTo>
                    <a:pt x="251779" y="53938"/>
                  </a:lnTo>
                  <a:lnTo>
                    <a:pt x="430282" y="207887"/>
                  </a:lnTo>
                  <a:lnTo>
                    <a:pt x="443453" y="198120"/>
                  </a:lnTo>
                  <a:lnTo>
                    <a:pt x="458505" y="198120"/>
                  </a:lnTo>
                  <a:lnTo>
                    <a:pt x="260433" y="27432"/>
                  </a:lnTo>
                  <a:close/>
                </a:path>
                <a:path w="471170" h="401320">
                  <a:moveTo>
                    <a:pt x="224332" y="106680"/>
                  </a:moveTo>
                  <a:lnTo>
                    <a:pt x="32004" y="106680"/>
                  </a:lnTo>
                  <a:lnTo>
                    <a:pt x="31557" y="119399"/>
                  </a:lnTo>
                  <a:lnTo>
                    <a:pt x="248412" y="128016"/>
                  </a:lnTo>
                  <a:lnTo>
                    <a:pt x="249035" y="114300"/>
                  </a:lnTo>
                  <a:lnTo>
                    <a:pt x="224028" y="114300"/>
                  </a:lnTo>
                  <a:lnTo>
                    <a:pt x="224332" y="106680"/>
                  </a:lnTo>
                  <a:close/>
                </a:path>
                <a:path w="471170" h="401320">
                  <a:moveTo>
                    <a:pt x="32004" y="106680"/>
                  </a:moveTo>
                  <a:lnTo>
                    <a:pt x="18288" y="118872"/>
                  </a:lnTo>
                  <a:lnTo>
                    <a:pt x="31557" y="119399"/>
                  </a:lnTo>
                  <a:lnTo>
                    <a:pt x="32004" y="106680"/>
                  </a:lnTo>
                  <a:close/>
                </a:path>
                <a:path w="471170" h="401320">
                  <a:moveTo>
                    <a:pt x="224536" y="101583"/>
                  </a:moveTo>
                  <a:lnTo>
                    <a:pt x="224028" y="114300"/>
                  </a:lnTo>
                  <a:lnTo>
                    <a:pt x="237744" y="102108"/>
                  </a:lnTo>
                  <a:lnTo>
                    <a:pt x="224536" y="101583"/>
                  </a:lnTo>
                  <a:close/>
                </a:path>
                <a:path w="471170" h="401320">
                  <a:moveTo>
                    <a:pt x="228600" y="0"/>
                  </a:moveTo>
                  <a:lnTo>
                    <a:pt x="224536" y="101583"/>
                  </a:lnTo>
                  <a:lnTo>
                    <a:pt x="237744" y="102108"/>
                  </a:lnTo>
                  <a:lnTo>
                    <a:pt x="224028" y="114300"/>
                  </a:lnTo>
                  <a:lnTo>
                    <a:pt x="249035" y="114300"/>
                  </a:lnTo>
                  <a:lnTo>
                    <a:pt x="251779" y="53938"/>
                  </a:lnTo>
                  <a:lnTo>
                    <a:pt x="231648" y="36576"/>
                  </a:lnTo>
                  <a:lnTo>
                    <a:pt x="252984" y="27432"/>
                  </a:lnTo>
                  <a:lnTo>
                    <a:pt x="260433" y="27432"/>
                  </a:lnTo>
                  <a:lnTo>
                    <a:pt x="228600" y="0"/>
                  </a:lnTo>
                  <a:close/>
                </a:path>
                <a:path w="471170" h="401320">
                  <a:moveTo>
                    <a:pt x="252984" y="27432"/>
                  </a:moveTo>
                  <a:lnTo>
                    <a:pt x="231648" y="36576"/>
                  </a:lnTo>
                  <a:lnTo>
                    <a:pt x="251779" y="53938"/>
                  </a:lnTo>
                  <a:lnTo>
                    <a:pt x="252984" y="27432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9" name="object 19"/>
          <p:cNvSpPr txBox="1"/>
          <p:nvPr/>
        </p:nvSpPr>
        <p:spPr>
          <a:xfrm>
            <a:off x="1360740" y="3021033"/>
            <a:ext cx="1448435" cy="51244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77825" marR="5080" indent="-36576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Liberation Sans Narrow"/>
                <a:cs typeface="Liberation Sans Narrow"/>
              </a:rPr>
              <a:t>Personnel</a:t>
            </a:r>
            <a:r>
              <a:rPr sz="1600" spc="-90" dirty="0">
                <a:latin typeface="Liberation Sans Narrow"/>
                <a:cs typeface="Liberation Sans Narrow"/>
              </a:rPr>
              <a:t> </a:t>
            </a:r>
            <a:r>
              <a:rPr sz="1600" spc="-5" dirty="0">
                <a:latin typeface="Liberation Sans Narrow"/>
                <a:cs typeface="Liberation Sans Narrow"/>
              </a:rPr>
              <a:t>Subarea  groupings</a:t>
            </a:r>
            <a:endParaRPr sz="1600">
              <a:latin typeface="Liberation Sans Narrow"/>
              <a:cs typeface="Liberation Sans Narrow"/>
            </a:endParaRPr>
          </a:p>
        </p:txBody>
      </p:sp>
      <p:grpSp>
        <p:nvGrpSpPr>
          <p:cNvPr id="20" name="object 20"/>
          <p:cNvGrpSpPr/>
          <p:nvPr/>
        </p:nvGrpSpPr>
        <p:grpSpPr>
          <a:xfrm>
            <a:off x="7092543" y="2849344"/>
            <a:ext cx="2057400" cy="632460"/>
            <a:chOff x="7101778" y="3260079"/>
            <a:chExt cx="2057400" cy="632460"/>
          </a:xfrm>
        </p:grpSpPr>
        <p:sp>
          <p:nvSpPr>
            <p:cNvPr id="21" name="object 21"/>
            <p:cNvSpPr/>
            <p:nvPr/>
          </p:nvSpPr>
          <p:spPr>
            <a:xfrm>
              <a:off x="7113970" y="3272271"/>
              <a:ext cx="2031364" cy="620395"/>
            </a:xfrm>
            <a:custGeom>
              <a:avLst/>
              <a:gdLst/>
              <a:ahLst/>
              <a:cxnLst/>
              <a:rect l="l" t="t" r="r" b="b"/>
              <a:pathLst>
                <a:path w="2031365" h="620395">
                  <a:moveTo>
                    <a:pt x="1924629" y="0"/>
                  </a:moveTo>
                  <a:lnTo>
                    <a:pt x="106649" y="0"/>
                  </a:lnTo>
                  <a:lnTo>
                    <a:pt x="65553" y="8548"/>
                  </a:lnTo>
                  <a:lnTo>
                    <a:pt x="31607" y="31813"/>
                  </a:lnTo>
                  <a:lnTo>
                    <a:pt x="8520" y="66222"/>
                  </a:lnTo>
                  <a:lnTo>
                    <a:pt x="0" y="108204"/>
                  </a:lnTo>
                  <a:lnTo>
                    <a:pt x="0" y="620207"/>
                  </a:lnTo>
                  <a:lnTo>
                    <a:pt x="2031309" y="620207"/>
                  </a:lnTo>
                  <a:lnTo>
                    <a:pt x="2031309" y="108204"/>
                  </a:lnTo>
                  <a:lnTo>
                    <a:pt x="2022998" y="66222"/>
                  </a:lnTo>
                  <a:lnTo>
                    <a:pt x="2000257" y="31813"/>
                  </a:lnTo>
                  <a:lnTo>
                    <a:pt x="1966372" y="8548"/>
                  </a:lnTo>
                  <a:lnTo>
                    <a:pt x="1924629" y="0"/>
                  </a:lnTo>
                  <a:close/>
                </a:path>
              </a:pathLst>
            </a:custGeom>
            <a:solidFill>
              <a:srgbClr val="B7EAF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7101778" y="3260079"/>
              <a:ext cx="2057400" cy="632460"/>
            </a:xfrm>
            <a:custGeom>
              <a:avLst/>
              <a:gdLst/>
              <a:ahLst/>
              <a:cxnLst/>
              <a:rect l="l" t="t" r="r" b="b"/>
              <a:pathLst>
                <a:path w="2057400" h="632460">
                  <a:moveTo>
                    <a:pt x="1949013" y="0"/>
                  </a:moveTo>
                  <a:lnTo>
                    <a:pt x="106649" y="0"/>
                  </a:lnTo>
                  <a:lnTo>
                    <a:pt x="94457" y="3048"/>
                  </a:lnTo>
                  <a:lnTo>
                    <a:pt x="83789" y="6096"/>
                  </a:lnTo>
                  <a:lnTo>
                    <a:pt x="71597" y="9144"/>
                  </a:lnTo>
                  <a:lnTo>
                    <a:pt x="62453" y="15240"/>
                  </a:lnTo>
                  <a:lnTo>
                    <a:pt x="51785" y="21336"/>
                  </a:lnTo>
                  <a:lnTo>
                    <a:pt x="42641" y="27432"/>
                  </a:lnTo>
                  <a:lnTo>
                    <a:pt x="13716" y="62484"/>
                  </a:lnTo>
                  <a:lnTo>
                    <a:pt x="0" y="108204"/>
                  </a:lnTo>
                  <a:lnTo>
                    <a:pt x="0" y="632399"/>
                  </a:lnTo>
                  <a:lnTo>
                    <a:pt x="24384" y="632399"/>
                  </a:lnTo>
                  <a:lnTo>
                    <a:pt x="24384" y="120396"/>
                  </a:lnTo>
                  <a:lnTo>
                    <a:pt x="25908" y="109728"/>
                  </a:lnTo>
                  <a:lnTo>
                    <a:pt x="41117" y="67056"/>
                  </a:lnTo>
                  <a:lnTo>
                    <a:pt x="74645" y="36576"/>
                  </a:lnTo>
                  <a:lnTo>
                    <a:pt x="111221" y="25908"/>
                  </a:lnTo>
                  <a:lnTo>
                    <a:pt x="2011192" y="25908"/>
                  </a:lnTo>
                  <a:lnTo>
                    <a:pt x="2003877" y="19812"/>
                  </a:lnTo>
                  <a:lnTo>
                    <a:pt x="1993209" y="13716"/>
                  </a:lnTo>
                  <a:lnTo>
                    <a:pt x="1971873" y="4572"/>
                  </a:lnTo>
                  <a:lnTo>
                    <a:pt x="1959681" y="1524"/>
                  </a:lnTo>
                  <a:lnTo>
                    <a:pt x="1949013" y="0"/>
                  </a:lnTo>
                  <a:close/>
                </a:path>
                <a:path w="2057400" h="632460">
                  <a:moveTo>
                    <a:pt x="2011192" y="25908"/>
                  </a:moveTo>
                  <a:lnTo>
                    <a:pt x="1947489" y="25908"/>
                  </a:lnTo>
                  <a:lnTo>
                    <a:pt x="1965777" y="28956"/>
                  </a:lnTo>
                  <a:lnTo>
                    <a:pt x="1974921" y="33528"/>
                  </a:lnTo>
                  <a:lnTo>
                    <a:pt x="2009973" y="59436"/>
                  </a:lnTo>
                  <a:lnTo>
                    <a:pt x="2023689" y="83820"/>
                  </a:lnTo>
                  <a:lnTo>
                    <a:pt x="2026737" y="91440"/>
                  </a:lnTo>
                  <a:lnTo>
                    <a:pt x="2029785" y="100584"/>
                  </a:lnTo>
                  <a:lnTo>
                    <a:pt x="2031309" y="111252"/>
                  </a:lnTo>
                  <a:lnTo>
                    <a:pt x="2031309" y="632399"/>
                  </a:lnTo>
                  <a:lnTo>
                    <a:pt x="2057217" y="632399"/>
                  </a:lnTo>
                  <a:lnTo>
                    <a:pt x="2057217" y="118872"/>
                  </a:lnTo>
                  <a:lnTo>
                    <a:pt x="2054169" y="94488"/>
                  </a:lnTo>
                  <a:lnTo>
                    <a:pt x="2035881" y="51816"/>
                  </a:lnTo>
                  <a:lnTo>
                    <a:pt x="2013021" y="27432"/>
                  </a:lnTo>
                  <a:lnTo>
                    <a:pt x="2011192" y="2590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3" name="object 23"/>
          <p:cNvSpPr txBox="1"/>
          <p:nvPr/>
        </p:nvSpPr>
        <p:spPr>
          <a:xfrm>
            <a:off x="7462333" y="3062182"/>
            <a:ext cx="1346835" cy="51244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indent="19685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Liberation Sans Narrow"/>
                <a:cs typeface="Liberation Sans Narrow"/>
              </a:rPr>
              <a:t>Indicators for the  personal</a:t>
            </a:r>
            <a:r>
              <a:rPr sz="1600" spc="-85" dirty="0">
                <a:latin typeface="Liberation Sans Narrow"/>
                <a:cs typeface="Liberation Sans Narrow"/>
              </a:rPr>
              <a:t> </a:t>
            </a:r>
            <a:r>
              <a:rPr sz="1600" spc="-5" dirty="0">
                <a:latin typeface="Liberation Sans Narrow"/>
                <a:cs typeface="Liberation Sans Narrow"/>
              </a:rPr>
              <a:t>calendar</a:t>
            </a:r>
            <a:endParaRPr sz="1600">
              <a:latin typeface="Liberation Sans Narrow"/>
              <a:cs typeface="Liberation Sans Narrow"/>
            </a:endParaRPr>
          </a:p>
        </p:txBody>
      </p:sp>
      <p:grpSp>
        <p:nvGrpSpPr>
          <p:cNvPr id="24" name="object 24"/>
          <p:cNvGrpSpPr/>
          <p:nvPr/>
        </p:nvGrpSpPr>
        <p:grpSpPr>
          <a:xfrm>
            <a:off x="1769641" y="1540350"/>
            <a:ext cx="2057400" cy="883919"/>
            <a:chOff x="1778876" y="1951085"/>
            <a:chExt cx="2057400" cy="883919"/>
          </a:xfrm>
        </p:grpSpPr>
        <p:sp>
          <p:nvSpPr>
            <p:cNvPr id="25" name="object 25"/>
            <p:cNvSpPr/>
            <p:nvPr/>
          </p:nvSpPr>
          <p:spPr>
            <a:xfrm>
              <a:off x="1791068" y="1963277"/>
              <a:ext cx="2033270" cy="858519"/>
            </a:xfrm>
            <a:custGeom>
              <a:avLst/>
              <a:gdLst/>
              <a:ahLst/>
              <a:cxnLst/>
              <a:rect l="l" t="t" r="r" b="b"/>
              <a:pathLst>
                <a:path w="2033270" h="858519">
                  <a:moveTo>
                    <a:pt x="1924656" y="0"/>
                  </a:moveTo>
                  <a:lnTo>
                    <a:pt x="108191" y="0"/>
                  </a:lnTo>
                  <a:lnTo>
                    <a:pt x="66217" y="8305"/>
                  </a:lnTo>
                  <a:lnTo>
                    <a:pt x="31811" y="31036"/>
                  </a:lnTo>
                  <a:lnTo>
                    <a:pt x="8548" y="64910"/>
                  </a:lnTo>
                  <a:lnTo>
                    <a:pt x="0" y="106649"/>
                  </a:lnTo>
                  <a:lnTo>
                    <a:pt x="0" y="751240"/>
                  </a:lnTo>
                  <a:lnTo>
                    <a:pt x="8548" y="792983"/>
                  </a:lnTo>
                  <a:lnTo>
                    <a:pt x="31811" y="826869"/>
                  </a:lnTo>
                  <a:lnTo>
                    <a:pt x="66217" y="849610"/>
                  </a:lnTo>
                  <a:lnTo>
                    <a:pt x="108191" y="857920"/>
                  </a:lnTo>
                  <a:lnTo>
                    <a:pt x="1924656" y="857920"/>
                  </a:lnTo>
                  <a:lnTo>
                    <a:pt x="1966638" y="849610"/>
                  </a:lnTo>
                  <a:lnTo>
                    <a:pt x="2001047" y="826869"/>
                  </a:lnTo>
                  <a:lnTo>
                    <a:pt x="2024311" y="792983"/>
                  </a:lnTo>
                  <a:lnTo>
                    <a:pt x="2032860" y="751240"/>
                  </a:lnTo>
                  <a:lnTo>
                    <a:pt x="2032860" y="106649"/>
                  </a:lnTo>
                  <a:lnTo>
                    <a:pt x="2024311" y="64910"/>
                  </a:lnTo>
                  <a:lnTo>
                    <a:pt x="2001047" y="31036"/>
                  </a:lnTo>
                  <a:lnTo>
                    <a:pt x="1966638" y="8305"/>
                  </a:lnTo>
                  <a:lnTo>
                    <a:pt x="1924656" y="0"/>
                  </a:lnTo>
                  <a:close/>
                </a:path>
              </a:pathLst>
            </a:custGeom>
            <a:solidFill>
              <a:srgbClr val="B7EAF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1778876" y="1951085"/>
              <a:ext cx="2057400" cy="883919"/>
            </a:xfrm>
            <a:custGeom>
              <a:avLst/>
              <a:gdLst/>
              <a:ahLst/>
              <a:cxnLst/>
              <a:rect l="l" t="t" r="r" b="b"/>
              <a:pathLst>
                <a:path w="2057400" h="883919">
                  <a:moveTo>
                    <a:pt x="1949040" y="0"/>
                  </a:moveTo>
                  <a:lnTo>
                    <a:pt x="106667" y="0"/>
                  </a:lnTo>
                  <a:lnTo>
                    <a:pt x="94475" y="1524"/>
                  </a:lnTo>
                  <a:lnTo>
                    <a:pt x="51816" y="19812"/>
                  </a:lnTo>
                  <a:lnTo>
                    <a:pt x="19812" y="53309"/>
                  </a:lnTo>
                  <a:lnTo>
                    <a:pt x="3048" y="95981"/>
                  </a:lnTo>
                  <a:lnTo>
                    <a:pt x="0" y="108173"/>
                  </a:lnTo>
                  <a:lnTo>
                    <a:pt x="0" y="775624"/>
                  </a:lnTo>
                  <a:lnTo>
                    <a:pt x="6096" y="800008"/>
                  </a:lnTo>
                  <a:lnTo>
                    <a:pt x="27432" y="839632"/>
                  </a:lnTo>
                  <a:lnTo>
                    <a:pt x="74663" y="874684"/>
                  </a:lnTo>
                  <a:lnTo>
                    <a:pt x="120383" y="883828"/>
                  </a:lnTo>
                  <a:lnTo>
                    <a:pt x="1938372" y="883828"/>
                  </a:lnTo>
                  <a:lnTo>
                    <a:pt x="1994760" y="868588"/>
                  </a:lnTo>
                  <a:lnTo>
                    <a:pt x="2010915" y="857920"/>
                  </a:lnTo>
                  <a:lnTo>
                    <a:pt x="109715" y="857920"/>
                  </a:lnTo>
                  <a:lnTo>
                    <a:pt x="100571" y="856396"/>
                  </a:lnTo>
                  <a:lnTo>
                    <a:pt x="59436" y="836584"/>
                  </a:lnTo>
                  <a:lnTo>
                    <a:pt x="32004" y="800008"/>
                  </a:lnTo>
                  <a:lnTo>
                    <a:pt x="25908" y="772576"/>
                  </a:lnTo>
                  <a:lnTo>
                    <a:pt x="25908" y="108173"/>
                  </a:lnTo>
                  <a:lnTo>
                    <a:pt x="27432" y="99029"/>
                  </a:lnTo>
                  <a:lnTo>
                    <a:pt x="30480" y="89885"/>
                  </a:lnTo>
                  <a:lnTo>
                    <a:pt x="33528" y="82265"/>
                  </a:lnTo>
                  <a:lnTo>
                    <a:pt x="36576" y="73121"/>
                  </a:lnTo>
                  <a:lnTo>
                    <a:pt x="41148" y="65501"/>
                  </a:lnTo>
                  <a:lnTo>
                    <a:pt x="47244" y="57881"/>
                  </a:lnTo>
                  <a:lnTo>
                    <a:pt x="53340" y="51785"/>
                  </a:lnTo>
                  <a:lnTo>
                    <a:pt x="60960" y="45689"/>
                  </a:lnTo>
                  <a:lnTo>
                    <a:pt x="67043" y="39593"/>
                  </a:lnTo>
                  <a:lnTo>
                    <a:pt x="74663" y="35021"/>
                  </a:lnTo>
                  <a:lnTo>
                    <a:pt x="102095" y="25908"/>
                  </a:lnTo>
                  <a:lnTo>
                    <a:pt x="111239" y="24384"/>
                  </a:lnTo>
                  <a:lnTo>
                    <a:pt x="2010762" y="24384"/>
                  </a:lnTo>
                  <a:lnTo>
                    <a:pt x="2003904" y="19812"/>
                  </a:lnTo>
                  <a:lnTo>
                    <a:pt x="1993236" y="13716"/>
                  </a:lnTo>
                  <a:lnTo>
                    <a:pt x="1971900" y="4572"/>
                  </a:lnTo>
                  <a:lnTo>
                    <a:pt x="1961232" y="1524"/>
                  </a:lnTo>
                  <a:lnTo>
                    <a:pt x="1949040" y="0"/>
                  </a:lnTo>
                  <a:close/>
                </a:path>
                <a:path w="2057400" h="883919">
                  <a:moveTo>
                    <a:pt x="2010762" y="24384"/>
                  </a:moveTo>
                  <a:lnTo>
                    <a:pt x="1936848" y="24384"/>
                  </a:lnTo>
                  <a:lnTo>
                    <a:pt x="1947516" y="25908"/>
                  </a:lnTo>
                  <a:lnTo>
                    <a:pt x="1965804" y="28956"/>
                  </a:lnTo>
                  <a:lnTo>
                    <a:pt x="2010000" y="59405"/>
                  </a:lnTo>
                  <a:lnTo>
                    <a:pt x="2031336" y="109697"/>
                  </a:lnTo>
                  <a:lnTo>
                    <a:pt x="2031336" y="774100"/>
                  </a:lnTo>
                  <a:lnTo>
                    <a:pt x="2016096" y="816772"/>
                  </a:lnTo>
                  <a:lnTo>
                    <a:pt x="1996284" y="836584"/>
                  </a:lnTo>
                  <a:lnTo>
                    <a:pt x="1990188" y="842680"/>
                  </a:lnTo>
                  <a:lnTo>
                    <a:pt x="1982568" y="847252"/>
                  </a:lnTo>
                  <a:lnTo>
                    <a:pt x="1955136" y="856396"/>
                  </a:lnTo>
                  <a:lnTo>
                    <a:pt x="1945992" y="857920"/>
                  </a:lnTo>
                  <a:lnTo>
                    <a:pt x="2010915" y="857920"/>
                  </a:lnTo>
                  <a:lnTo>
                    <a:pt x="2037432" y="830488"/>
                  </a:lnTo>
                  <a:lnTo>
                    <a:pt x="2054196" y="786292"/>
                  </a:lnTo>
                  <a:lnTo>
                    <a:pt x="2057244" y="775624"/>
                  </a:lnTo>
                  <a:lnTo>
                    <a:pt x="2057244" y="106649"/>
                  </a:lnTo>
                  <a:lnTo>
                    <a:pt x="2051148" y="82265"/>
                  </a:lnTo>
                  <a:lnTo>
                    <a:pt x="2029812" y="42641"/>
                  </a:lnTo>
                  <a:lnTo>
                    <a:pt x="2013048" y="25908"/>
                  </a:lnTo>
                  <a:lnTo>
                    <a:pt x="2010762" y="24384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7" name="object 27"/>
          <p:cNvSpPr txBox="1"/>
          <p:nvPr/>
        </p:nvSpPr>
        <p:spPr>
          <a:xfrm>
            <a:off x="2052573" y="1620591"/>
            <a:ext cx="1395095" cy="7562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065" marR="5080" algn="ctr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Liberation Sans Narrow"/>
                <a:cs typeface="Liberation Sans Narrow"/>
              </a:rPr>
              <a:t>Entry Screens</a:t>
            </a:r>
            <a:r>
              <a:rPr sz="1600" spc="-70" dirty="0">
                <a:latin typeface="Liberation Sans Narrow"/>
                <a:cs typeface="Liberation Sans Narrow"/>
              </a:rPr>
              <a:t> </a:t>
            </a:r>
            <a:r>
              <a:rPr sz="1600" spc="-5" dirty="0">
                <a:latin typeface="Liberation Sans Narrow"/>
                <a:cs typeface="Liberation Sans Narrow"/>
              </a:rPr>
              <a:t>and  </a:t>
            </a:r>
            <a:r>
              <a:rPr sz="1600" spc="-10" dirty="0">
                <a:latin typeface="Liberation Sans Narrow"/>
                <a:cs typeface="Liberation Sans Narrow"/>
              </a:rPr>
              <a:t>Time </a:t>
            </a:r>
            <a:r>
              <a:rPr sz="1600" spc="-5" dirty="0">
                <a:latin typeface="Liberation Sans Narrow"/>
                <a:cs typeface="Liberation Sans Narrow"/>
              </a:rPr>
              <a:t>constraint  classes</a:t>
            </a:r>
            <a:endParaRPr sz="1600">
              <a:latin typeface="Liberation Sans Narrow"/>
              <a:cs typeface="Liberation Sans Narrow"/>
            </a:endParaRPr>
          </a:p>
        </p:txBody>
      </p:sp>
      <p:grpSp>
        <p:nvGrpSpPr>
          <p:cNvPr id="28" name="object 28"/>
          <p:cNvGrpSpPr/>
          <p:nvPr/>
        </p:nvGrpSpPr>
        <p:grpSpPr>
          <a:xfrm>
            <a:off x="3686678" y="2320547"/>
            <a:ext cx="370840" cy="429895"/>
            <a:chOff x="3695913" y="2731282"/>
            <a:chExt cx="370840" cy="429895"/>
          </a:xfrm>
        </p:grpSpPr>
        <p:sp>
          <p:nvSpPr>
            <p:cNvPr id="29" name="object 29"/>
            <p:cNvSpPr/>
            <p:nvPr/>
          </p:nvSpPr>
          <p:spPr>
            <a:xfrm>
              <a:off x="3709629" y="2746522"/>
              <a:ext cx="340360" cy="396240"/>
            </a:xfrm>
            <a:custGeom>
              <a:avLst/>
              <a:gdLst/>
              <a:ahLst/>
              <a:cxnLst/>
              <a:rect l="l" t="t" r="r" b="b"/>
              <a:pathLst>
                <a:path w="340360" h="396239">
                  <a:moveTo>
                    <a:pt x="3047" y="0"/>
                  </a:moveTo>
                  <a:lnTo>
                    <a:pt x="0" y="278891"/>
                  </a:lnTo>
                  <a:lnTo>
                    <a:pt x="68579" y="225551"/>
                  </a:lnTo>
                  <a:lnTo>
                    <a:pt x="202661" y="396209"/>
                  </a:lnTo>
                  <a:lnTo>
                    <a:pt x="339821" y="289559"/>
                  </a:lnTo>
                  <a:lnTo>
                    <a:pt x="205709" y="118871"/>
                  </a:lnTo>
                  <a:lnTo>
                    <a:pt x="274289" y="65531"/>
                  </a:lnTo>
                  <a:lnTo>
                    <a:pt x="3047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3695913" y="2731282"/>
              <a:ext cx="370840" cy="429895"/>
            </a:xfrm>
            <a:custGeom>
              <a:avLst/>
              <a:gdLst/>
              <a:ahLst/>
              <a:cxnLst/>
              <a:rect l="l" t="t" r="r" b="b"/>
              <a:pathLst>
                <a:path w="370839" h="429894">
                  <a:moveTo>
                    <a:pt x="104066" y="248412"/>
                  </a:moveTo>
                  <a:lnTo>
                    <a:pt x="71628" y="248412"/>
                  </a:lnTo>
                  <a:lnTo>
                    <a:pt x="89916" y="251460"/>
                  </a:lnTo>
                  <a:lnTo>
                    <a:pt x="79950" y="259061"/>
                  </a:lnTo>
                  <a:lnTo>
                    <a:pt x="213329" y="429737"/>
                  </a:lnTo>
                  <a:lnTo>
                    <a:pt x="246694" y="403829"/>
                  </a:lnTo>
                  <a:lnTo>
                    <a:pt x="225521" y="403829"/>
                  </a:lnTo>
                  <a:lnTo>
                    <a:pt x="208757" y="402305"/>
                  </a:lnTo>
                  <a:lnTo>
                    <a:pt x="218403" y="394721"/>
                  </a:lnTo>
                  <a:lnTo>
                    <a:pt x="104066" y="248412"/>
                  </a:lnTo>
                  <a:close/>
                </a:path>
                <a:path w="370839" h="429894">
                  <a:moveTo>
                    <a:pt x="218403" y="394721"/>
                  </a:moveTo>
                  <a:lnTo>
                    <a:pt x="208757" y="402305"/>
                  </a:lnTo>
                  <a:lnTo>
                    <a:pt x="225521" y="403829"/>
                  </a:lnTo>
                  <a:lnTo>
                    <a:pt x="218403" y="394721"/>
                  </a:lnTo>
                  <a:close/>
                </a:path>
                <a:path w="370839" h="429894">
                  <a:moveTo>
                    <a:pt x="335334" y="302778"/>
                  </a:moveTo>
                  <a:lnTo>
                    <a:pt x="218403" y="394721"/>
                  </a:lnTo>
                  <a:lnTo>
                    <a:pt x="225521" y="403829"/>
                  </a:lnTo>
                  <a:lnTo>
                    <a:pt x="246694" y="403829"/>
                  </a:lnTo>
                  <a:lnTo>
                    <a:pt x="364413" y="312420"/>
                  </a:lnTo>
                  <a:lnTo>
                    <a:pt x="342869" y="312420"/>
                  </a:lnTo>
                  <a:lnTo>
                    <a:pt x="335334" y="302778"/>
                  </a:lnTo>
                  <a:close/>
                </a:path>
                <a:path w="370839" h="429894">
                  <a:moveTo>
                    <a:pt x="4572" y="0"/>
                  </a:moveTo>
                  <a:lnTo>
                    <a:pt x="0" y="320040"/>
                  </a:lnTo>
                  <a:lnTo>
                    <a:pt x="33968" y="294132"/>
                  </a:lnTo>
                  <a:lnTo>
                    <a:pt x="25908" y="294132"/>
                  </a:lnTo>
                  <a:lnTo>
                    <a:pt x="6096" y="284988"/>
                  </a:lnTo>
                  <a:lnTo>
                    <a:pt x="26185" y="268837"/>
                  </a:lnTo>
                  <a:lnTo>
                    <a:pt x="28782" y="32511"/>
                  </a:lnTo>
                  <a:lnTo>
                    <a:pt x="13716" y="28956"/>
                  </a:lnTo>
                  <a:lnTo>
                    <a:pt x="28956" y="16764"/>
                  </a:lnTo>
                  <a:lnTo>
                    <a:pt x="74358" y="16764"/>
                  </a:lnTo>
                  <a:lnTo>
                    <a:pt x="4572" y="0"/>
                  </a:lnTo>
                  <a:close/>
                </a:path>
                <a:path w="370839" h="429894">
                  <a:moveTo>
                    <a:pt x="344393" y="295656"/>
                  </a:moveTo>
                  <a:lnTo>
                    <a:pt x="335334" y="302778"/>
                  </a:lnTo>
                  <a:lnTo>
                    <a:pt x="342869" y="312420"/>
                  </a:lnTo>
                  <a:lnTo>
                    <a:pt x="344393" y="295656"/>
                  </a:lnTo>
                  <a:close/>
                </a:path>
                <a:path w="370839" h="429894">
                  <a:moveTo>
                    <a:pt x="360773" y="295656"/>
                  </a:moveTo>
                  <a:lnTo>
                    <a:pt x="344393" y="295656"/>
                  </a:lnTo>
                  <a:lnTo>
                    <a:pt x="342869" y="312420"/>
                  </a:lnTo>
                  <a:lnTo>
                    <a:pt x="364413" y="312420"/>
                  </a:lnTo>
                  <a:lnTo>
                    <a:pt x="370301" y="307848"/>
                  </a:lnTo>
                  <a:lnTo>
                    <a:pt x="360773" y="295656"/>
                  </a:lnTo>
                  <a:close/>
                </a:path>
                <a:path w="370839" h="429894">
                  <a:moveTo>
                    <a:pt x="257866" y="86570"/>
                  </a:moveTo>
                  <a:lnTo>
                    <a:pt x="201137" y="131064"/>
                  </a:lnTo>
                  <a:lnTo>
                    <a:pt x="335334" y="302778"/>
                  </a:lnTo>
                  <a:lnTo>
                    <a:pt x="344393" y="295656"/>
                  </a:lnTo>
                  <a:lnTo>
                    <a:pt x="360773" y="295656"/>
                  </a:lnTo>
                  <a:lnTo>
                    <a:pt x="241670" y="143256"/>
                  </a:lnTo>
                  <a:lnTo>
                    <a:pt x="227045" y="143256"/>
                  </a:lnTo>
                  <a:lnTo>
                    <a:pt x="228569" y="126492"/>
                  </a:lnTo>
                  <a:lnTo>
                    <a:pt x="248652" y="126492"/>
                  </a:lnTo>
                  <a:lnTo>
                    <a:pt x="291866" y="92964"/>
                  </a:lnTo>
                  <a:lnTo>
                    <a:pt x="284957" y="92964"/>
                  </a:lnTo>
                  <a:lnTo>
                    <a:pt x="257866" y="86570"/>
                  </a:lnTo>
                  <a:close/>
                </a:path>
                <a:path w="370839" h="429894">
                  <a:moveTo>
                    <a:pt x="26185" y="268837"/>
                  </a:moveTo>
                  <a:lnTo>
                    <a:pt x="6096" y="284988"/>
                  </a:lnTo>
                  <a:lnTo>
                    <a:pt x="25908" y="294132"/>
                  </a:lnTo>
                  <a:lnTo>
                    <a:pt x="26185" y="268837"/>
                  </a:lnTo>
                  <a:close/>
                </a:path>
                <a:path w="370839" h="429894">
                  <a:moveTo>
                    <a:pt x="83820" y="222504"/>
                  </a:moveTo>
                  <a:lnTo>
                    <a:pt x="26185" y="268837"/>
                  </a:lnTo>
                  <a:lnTo>
                    <a:pt x="25908" y="294132"/>
                  </a:lnTo>
                  <a:lnTo>
                    <a:pt x="33968" y="294132"/>
                  </a:lnTo>
                  <a:lnTo>
                    <a:pt x="79950" y="259061"/>
                  </a:lnTo>
                  <a:lnTo>
                    <a:pt x="71628" y="248412"/>
                  </a:lnTo>
                  <a:lnTo>
                    <a:pt x="104066" y="248412"/>
                  </a:lnTo>
                  <a:lnTo>
                    <a:pt x="83820" y="222504"/>
                  </a:lnTo>
                  <a:close/>
                </a:path>
                <a:path w="370839" h="429894">
                  <a:moveTo>
                    <a:pt x="71628" y="248412"/>
                  </a:moveTo>
                  <a:lnTo>
                    <a:pt x="79950" y="259061"/>
                  </a:lnTo>
                  <a:lnTo>
                    <a:pt x="89916" y="251460"/>
                  </a:lnTo>
                  <a:lnTo>
                    <a:pt x="71628" y="248412"/>
                  </a:lnTo>
                  <a:close/>
                </a:path>
                <a:path w="370839" h="429894">
                  <a:moveTo>
                    <a:pt x="228569" y="126492"/>
                  </a:moveTo>
                  <a:lnTo>
                    <a:pt x="227045" y="143256"/>
                  </a:lnTo>
                  <a:lnTo>
                    <a:pt x="236150" y="136192"/>
                  </a:lnTo>
                  <a:lnTo>
                    <a:pt x="228569" y="126492"/>
                  </a:lnTo>
                  <a:close/>
                </a:path>
                <a:path w="370839" h="429894">
                  <a:moveTo>
                    <a:pt x="236150" y="136192"/>
                  </a:moveTo>
                  <a:lnTo>
                    <a:pt x="227045" y="143256"/>
                  </a:lnTo>
                  <a:lnTo>
                    <a:pt x="241670" y="143256"/>
                  </a:lnTo>
                  <a:lnTo>
                    <a:pt x="236150" y="136192"/>
                  </a:lnTo>
                  <a:close/>
                </a:path>
                <a:path w="370839" h="429894">
                  <a:moveTo>
                    <a:pt x="248652" y="126492"/>
                  </a:moveTo>
                  <a:lnTo>
                    <a:pt x="228569" y="126492"/>
                  </a:lnTo>
                  <a:lnTo>
                    <a:pt x="236150" y="136192"/>
                  </a:lnTo>
                  <a:lnTo>
                    <a:pt x="248652" y="126492"/>
                  </a:lnTo>
                  <a:close/>
                </a:path>
                <a:path w="370839" h="429894">
                  <a:moveTo>
                    <a:pt x="278861" y="70104"/>
                  </a:moveTo>
                  <a:lnTo>
                    <a:pt x="257866" y="86570"/>
                  </a:lnTo>
                  <a:lnTo>
                    <a:pt x="284957" y="92964"/>
                  </a:lnTo>
                  <a:lnTo>
                    <a:pt x="278861" y="70104"/>
                  </a:lnTo>
                  <a:close/>
                </a:path>
                <a:path w="370839" h="429894">
                  <a:moveTo>
                    <a:pt x="296404" y="70104"/>
                  </a:moveTo>
                  <a:lnTo>
                    <a:pt x="278861" y="70104"/>
                  </a:lnTo>
                  <a:lnTo>
                    <a:pt x="284957" y="92964"/>
                  </a:lnTo>
                  <a:lnTo>
                    <a:pt x="291866" y="92964"/>
                  </a:lnTo>
                  <a:lnTo>
                    <a:pt x="315437" y="74676"/>
                  </a:lnTo>
                  <a:lnTo>
                    <a:pt x="296404" y="70104"/>
                  </a:lnTo>
                  <a:close/>
                </a:path>
                <a:path w="370839" h="429894">
                  <a:moveTo>
                    <a:pt x="74358" y="16764"/>
                  </a:moveTo>
                  <a:lnTo>
                    <a:pt x="28956" y="16764"/>
                  </a:lnTo>
                  <a:lnTo>
                    <a:pt x="28782" y="32511"/>
                  </a:lnTo>
                  <a:lnTo>
                    <a:pt x="257866" y="86570"/>
                  </a:lnTo>
                  <a:lnTo>
                    <a:pt x="278861" y="70104"/>
                  </a:lnTo>
                  <a:lnTo>
                    <a:pt x="296404" y="70104"/>
                  </a:lnTo>
                  <a:lnTo>
                    <a:pt x="74358" y="16764"/>
                  </a:lnTo>
                  <a:close/>
                </a:path>
                <a:path w="370839" h="429894">
                  <a:moveTo>
                    <a:pt x="28956" y="16764"/>
                  </a:moveTo>
                  <a:lnTo>
                    <a:pt x="13716" y="28956"/>
                  </a:lnTo>
                  <a:lnTo>
                    <a:pt x="28782" y="32511"/>
                  </a:lnTo>
                  <a:lnTo>
                    <a:pt x="28956" y="16764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1" name="object 31"/>
          <p:cNvSpPr/>
          <p:nvPr/>
        </p:nvSpPr>
        <p:spPr>
          <a:xfrm>
            <a:off x="869030" y="3163258"/>
            <a:ext cx="26034" cy="102235"/>
          </a:xfrm>
          <a:custGeom>
            <a:avLst/>
            <a:gdLst/>
            <a:ahLst/>
            <a:cxnLst/>
            <a:rect l="l" t="t" r="r" b="b"/>
            <a:pathLst>
              <a:path w="26034" h="102235">
                <a:moveTo>
                  <a:pt x="25908" y="0"/>
                </a:moveTo>
                <a:lnTo>
                  <a:pt x="0" y="0"/>
                </a:lnTo>
                <a:lnTo>
                  <a:pt x="0" y="102108"/>
                </a:lnTo>
                <a:lnTo>
                  <a:pt x="25908" y="102108"/>
                </a:lnTo>
                <a:lnTo>
                  <a:pt x="25908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69030" y="2984980"/>
            <a:ext cx="26034" cy="102235"/>
          </a:xfrm>
          <a:custGeom>
            <a:avLst/>
            <a:gdLst/>
            <a:ahLst/>
            <a:cxnLst/>
            <a:rect l="l" t="t" r="r" b="b"/>
            <a:pathLst>
              <a:path w="26034" h="102235">
                <a:moveTo>
                  <a:pt x="25908" y="0"/>
                </a:moveTo>
                <a:lnTo>
                  <a:pt x="0" y="0"/>
                </a:lnTo>
                <a:lnTo>
                  <a:pt x="0" y="102077"/>
                </a:lnTo>
                <a:lnTo>
                  <a:pt x="25908" y="102077"/>
                </a:lnTo>
                <a:lnTo>
                  <a:pt x="25908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869030" y="2808196"/>
            <a:ext cx="26034" cy="100965"/>
          </a:xfrm>
          <a:custGeom>
            <a:avLst/>
            <a:gdLst/>
            <a:ahLst/>
            <a:cxnLst/>
            <a:rect l="l" t="t" r="r" b="b"/>
            <a:pathLst>
              <a:path w="26034" h="100964">
                <a:moveTo>
                  <a:pt x="25908" y="0"/>
                </a:moveTo>
                <a:lnTo>
                  <a:pt x="0" y="0"/>
                </a:lnTo>
                <a:lnTo>
                  <a:pt x="0" y="100584"/>
                </a:lnTo>
                <a:lnTo>
                  <a:pt x="25908" y="100584"/>
                </a:lnTo>
                <a:lnTo>
                  <a:pt x="25908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869030" y="2629919"/>
            <a:ext cx="26034" cy="102235"/>
          </a:xfrm>
          <a:custGeom>
            <a:avLst/>
            <a:gdLst/>
            <a:ahLst/>
            <a:cxnLst/>
            <a:rect l="l" t="t" r="r" b="b"/>
            <a:pathLst>
              <a:path w="26034" h="102235">
                <a:moveTo>
                  <a:pt x="25908" y="0"/>
                </a:moveTo>
                <a:lnTo>
                  <a:pt x="0" y="0"/>
                </a:lnTo>
                <a:lnTo>
                  <a:pt x="0" y="102077"/>
                </a:lnTo>
                <a:lnTo>
                  <a:pt x="25908" y="102077"/>
                </a:lnTo>
                <a:lnTo>
                  <a:pt x="25908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869030" y="2451611"/>
            <a:ext cx="26034" cy="102235"/>
          </a:xfrm>
          <a:custGeom>
            <a:avLst/>
            <a:gdLst/>
            <a:ahLst/>
            <a:cxnLst/>
            <a:rect l="l" t="t" r="r" b="b"/>
            <a:pathLst>
              <a:path w="26034" h="102235">
                <a:moveTo>
                  <a:pt x="25908" y="0"/>
                </a:moveTo>
                <a:lnTo>
                  <a:pt x="0" y="0"/>
                </a:lnTo>
                <a:lnTo>
                  <a:pt x="0" y="102108"/>
                </a:lnTo>
                <a:lnTo>
                  <a:pt x="25908" y="102108"/>
                </a:lnTo>
                <a:lnTo>
                  <a:pt x="25908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869030" y="2274857"/>
            <a:ext cx="26034" cy="100965"/>
          </a:xfrm>
          <a:custGeom>
            <a:avLst/>
            <a:gdLst/>
            <a:ahLst/>
            <a:cxnLst/>
            <a:rect l="l" t="t" r="r" b="b"/>
            <a:pathLst>
              <a:path w="26034" h="100964">
                <a:moveTo>
                  <a:pt x="25908" y="0"/>
                </a:moveTo>
                <a:lnTo>
                  <a:pt x="0" y="0"/>
                </a:lnTo>
                <a:lnTo>
                  <a:pt x="0" y="100553"/>
                </a:lnTo>
                <a:lnTo>
                  <a:pt x="25908" y="100553"/>
                </a:lnTo>
                <a:lnTo>
                  <a:pt x="25908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869030" y="2096549"/>
            <a:ext cx="26034" cy="102235"/>
          </a:xfrm>
          <a:custGeom>
            <a:avLst/>
            <a:gdLst/>
            <a:ahLst/>
            <a:cxnLst/>
            <a:rect l="l" t="t" r="r" b="b"/>
            <a:pathLst>
              <a:path w="26034" h="102235">
                <a:moveTo>
                  <a:pt x="25908" y="0"/>
                </a:moveTo>
                <a:lnTo>
                  <a:pt x="0" y="0"/>
                </a:lnTo>
                <a:lnTo>
                  <a:pt x="0" y="102108"/>
                </a:lnTo>
                <a:lnTo>
                  <a:pt x="25908" y="102108"/>
                </a:lnTo>
                <a:lnTo>
                  <a:pt x="25908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869030" y="1918272"/>
            <a:ext cx="26034" cy="102235"/>
          </a:xfrm>
          <a:custGeom>
            <a:avLst/>
            <a:gdLst/>
            <a:ahLst/>
            <a:cxnLst/>
            <a:rect l="l" t="t" r="r" b="b"/>
            <a:pathLst>
              <a:path w="26034" h="102235">
                <a:moveTo>
                  <a:pt x="25908" y="0"/>
                </a:moveTo>
                <a:lnTo>
                  <a:pt x="0" y="0"/>
                </a:lnTo>
                <a:lnTo>
                  <a:pt x="0" y="102077"/>
                </a:lnTo>
                <a:lnTo>
                  <a:pt x="25908" y="102077"/>
                </a:lnTo>
                <a:lnTo>
                  <a:pt x="25908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869030" y="1741488"/>
            <a:ext cx="26034" cy="100965"/>
          </a:xfrm>
          <a:custGeom>
            <a:avLst/>
            <a:gdLst/>
            <a:ahLst/>
            <a:cxnLst/>
            <a:rect l="l" t="t" r="r" b="b"/>
            <a:pathLst>
              <a:path w="26034" h="100964">
                <a:moveTo>
                  <a:pt x="25908" y="0"/>
                </a:moveTo>
                <a:lnTo>
                  <a:pt x="0" y="0"/>
                </a:lnTo>
                <a:lnTo>
                  <a:pt x="0" y="100584"/>
                </a:lnTo>
                <a:lnTo>
                  <a:pt x="25908" y="100584"/>
                </a:lnTo>
                <a:lnTo>
                  <a:pt x="25908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869030" y="1563210"/>
            <a:ext cx="26034" cy="102235"/>
          </a:xfrm>
          <a:custGeom>
            <a:avLst/>
            <a:gdLst/>
            <a:ahLst/>
            <a:cxnLst/>
            <a:rect l="l" t="t" r="r" b="b"/>
            <a:pathLst>
              <a:path w="26034" h="102235">
                <a:moveTo>
                  <a:pt x="25908" y="0"/>
                </a:moveTo>
                <a:lnTo>
                  <a:pt x="0" y="0"/>
                </a:lnTo>
                <a:lnTo>
                  <a:pt x="0" y="102077"/>
                </a:lnTo>
                <a:lnTo>
                  <a:pt x="25908" y="102077"/>
                </a:lnTo>
                <a:lnTo>
                  <a:pt x="25908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869020" y="1354425"/>
            <a:ext cx="172720" cy="132715"/>
          </a:xfrm>
          <a:custGeom>
            <a:avLst/>
            <a:gdLst/>
            <a:ahLst/>
            <a:cxnLst/>
            <a:rect l="l" t="t" r="r" b="b"/>
            <a:pathLst>
              <a:path w="172719" h="132714">
                <a:moveTo>
                  <a:pt x="25908" y="30480"/>
                </a:moveTo>
                <a:lnTo>
                  <a:pt x="0" y="30480"/>
                </a:lnTo>
                <a:lnTo>
                  <a:pt x="0" y="132588"/>
                </a:lnTo>
                <a:lnTo>
                  <a:pt x="25908" y="132588"/>
                </a:lnTo>
                <a:lnTo>
                  <a:pt x="25908" y="30480"/>
                </a:lnTo>
                <a:close/>
              </a:path>
              <a:path w="172719" h="132714">
                <a:moveTo>
                  <a:pt x="172199" y="0"/>
                </a:moveTo>
                <a:lnTo>
                  <a:pt x="70104" y="0"/>
                </a:lnTo>
                <a:lnTo>
                  <a:pt x="70104" y="24384"/>
                </a:lnTo>
                <a:lnTo>
                  <a:pt x="172199" y="24384"/>
                </a:lnTo>
                <a:lnTo>
                  <a:pt x="172199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1117430" y="1354422"/>
            <a:ext cx="102235" cy="24765"/>
          </a:xfrm>
          <a:custGeom>
            <a:avLst/>
            <a:gdLst/>
            <a:ahLst/>
            <a:cxnLst/>
            <a:rect l="l" t="t" r="r" b="b"/>
            <a:pathLst>
              <a:path w="102234" h="24764">
                <a:moveTo>
                  <a:pt x="102095" y="0"/>
                </a:moveTo>
                <a:lnTo>
                  <a:pt x="0" y="0"/>
                </a:lnTo>
                <a:lnTo>
                  <a:pt x="0" y="24384"/>
                </a:lnTo>
                <a:lnTo>
                  <a:pt x="102095" y="24384"/>
                </a:lnTo>
                <a:lnTo>
                  <a:pt x="102095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1295714" y="1354422"/>
            <a:ext cx="100965" cy="24765"/>
          </a:xfrm>
          <a:custGeom>
            <a:avLst/>
            <a:gdLst/>
            <a:ahLst/>
            <a:cxnLst/>
            <a:rect l="l" t="t" r="r" b="b"/>
            <a:pathLst>
              <a:path w="100965" h="24764">
                <a:moveTo>
                  <a:pt x="100584" y="0"/>
                </a:moveTo>
                <a:lnTo>
                  <a:pt x="0" y="0"/>
                </a:lnTo>
                <a:lnTo>
                  <a:pt x="0" y="24384"/>
                </a:lnTo>
                <a:lnTo>
                  <a:pt x="100584" y="24384"/>
                </a:lnTo>
                <a:lnTo>
                  <a:pt x="100584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1472486" y="1354422"/>
            <a:ext cx="102235" cy="24765"/>
          </a:xfrm>
          <a:custGeom>
            <a:avLst/>
            <a:gdLst/>
            <a:ahLst/>
            <a:cxnLst/>
            <a:rect l="l" t="t" r="r" b="b"/>
            <a:pathLst>
              <a:path w="102234" h="24764">
                <a:moveTo>
                  <a:pt x="102095" y="0"/>
                </a:moveTo>
                <a:lnTo>
                  <a:pt x="0" y="0"/>
                </a:lnTo>
                <a:lnTo>
                  <a:pt x="0" y="24384"/>
                </a:lnTo>
                <a:lnTo>
                  <a:pt x="102095" y="24384"/>
                </a:lnTo>
                <a:lnTo>
                  <a:pt x="102095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1650782" y="1354422"/>
            <a:ext cx="102235" cy="24765"/>
          </a:xfrm>
          <a:custGeom>
            <a:avLst/>
            <a:gdLst/>
            <a:ahLst/>
            <a:cxnLst/>
            <a:rect l="l" t="t" r="r" b="b"/>
            <a:pathLst>
              <a:path w="102235" h="24764">
                <a:moveTo>
                  <a:pt x="102095" y="0"/>
                </a:moveTo>
                <a:lnTo>
                  <a:pt x="0" y="0"/>
                </a:lnTo>
                <a:lnTo>
                  <a:pt x="0" y="24384"/>
                </a:lnTo>
                <a:lnTo>
                  <a:pt x="102095" y="24384"/>
                </a:lnTo>
                <a:lnTo>
                  <a:pt x="102095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1829077" y="1354422"/>
            <a:ext cx="100965" cy="24765"/>
          </a:xfrm>
          <a:custGeom>
            <a:avLst/>
            <a:gdLst/>
            <a:ahLst/>
            <a:cxnLst/>
            <a:rect l="l" t="t" r="r" b="b"/>
            <a:pathLst>
              <a:path w="100964" h="24764">
                <a:moveTo>
                  <a:pt x="100571" y="0"/>
                </a:moveTo>
                <a:lnTo>
                  <a:pt x="0" y="0"/>
                </a:lnTo>
                <a:lnTo>
                  <a:pt x="0" y="24384"/>
                </a:lnTo>
                <a:lnTo>
                  <a:pt x="100571" y="24384"/>
                </a:lnTo>
                <a:lnTo>
                  <a:pt x="100571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2005837" y="1354422"/>
            <a:ext cx="102235" cy="24765"/>
          </a:xfrm>
          <a:custGeom>
            <a:avLst/>
            <a:gdLst/>
            <a:ahLst/>
            <a:cxnLst/>
            <a:rect l="l" t="t" r="r" b="b"/>
            <a:pathLst>
              <a:path w="102235" h="24764">
                <a:moveTo>
                  <a:pt x="102108" y="0"/>
                </a:moveTo>
                <a:lnTo>
                  <a:pt x="0" y="0"/>
                </a:lnTo>
                <a:lnTo>
                  <a:pt x="0" y="24384"/>
                </a:lnTo>
                <a:lnTo>
                  <a:pt x="102108" y="24384"/>
                </a:lnTo>
                <a:lnTo>
                  <a:pt x="102108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2184133" y="1354422"/>
            <a:ext cx="102235" cy="24765"/>
          </a:xfrm>
          <a:custGeom>
            <a:avLst/>
            <a:gdLst/>
            <a:ahLst/>
            <a:cxnLst/>
            <a:rect l="l" t="t" r="r" b="b"/>
            <a:pathLst>
              <a:path w="102235" h="24764">
                <a:moveTo>
                  <a:pt x="102095" y="0"/>
                </a:moveTo>
                <a:lnTo>
                  <a:pt x="0" y="0"/>
                </a:lnTo>
                <a:lnTo>
                  <a:pt x="0" y="24384"/>
                </a:lnTo>
                <a:lnTo>
                  <a:pt x="102095" y="24384"/>
                </a:lnTo>
                <a:lnTo>
                  <a:pt x="102095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2362429" y="1354422"/>
            <a:ext cx="100965" cy="24765"/>
          </a:xfrm>
          <a:custGeom>
            <a:avLst/>
            <a:gdLst/>
            <a:ahLst/>
            <a:cxnLst/>
            <a:rect l="l" t="t" r="r" b="b"/>
            <a:pathLst>
              <a:path w="100964" h="24764">
                <a:moveTo>
                  <a:pt x="100574" y="0"/>
                </a:moveTo>
                <a:lnTo>
                  <a:pt x="0" y="0"/>
                </a:lnTo>
                <a:lnTo>
                  <a:pt x="0" y="24384"/>
                </a:lnTo>
                <a:lnTo>
                  <a:pt x="100574" y="24384"/>
                </a:lnTo>
                <a:lnTo>
                  <a:pt x="100574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2539204" y="1354422"/>
            <a:ext cx="102235" cy="24765"/>
          </a:xfrm>
          <a:custGeom>
            <a:avLst/>
            <a:gdLst/>
            <a:ahLst/>
            <a:cxnLst/>
            <a:rect l="l" t="t" r="r" b="b"/>
            <a:pathLst>
              <a:path w="102235" h="24764">
                <a:moveTo>
                  <a:pt x="102095" y="0"/>
                </a:moveTo>
                <a:lnTo>
                  <a:pt x="0" y="0"/>
                </a:lnTo>
                <a:lnTo>
                  <a:pt x="0" y="24384"/>
                </a:lnTo>
                <a:lnTo>
                  <a:pt x="102095" y="24384"/>
                </a:lnTo>
                <a:lnTo>
                  <a:pt x="102095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2717487" y="1354422"/>
            <a:ext cx="102235" cy="24765"/>
          </a:xfrm>
          <a:custGeom>
            <a:avLst/>
            <a:gdLst/>
            <a:ahLst/>
            <a:cxnLst/>
            <a:rect l="l" t="t" r="r" b="b"/>
            <a:pathLst>
              <a:path w="102235" h="24764">
                <a:moveTo>
                  <a:pt x="102108" y="0"/>
                </a:moveTo>
                <a:lnTo>
                  <a:pt x="0" y="0"/>
                </a:lnTo>
                <a:lnTo>
                  <a:pt x="0" y="24384"/>
                </a:lnTo>
                <a:lnTo>
                  <a:pt x="102108" y="24384"/>
                </a:lnTo>
                <a:lnTo>
                  <a:pt x="102108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2895783" y="1354422"/>
            <a:ext cx="100965" cy="24765"/>
          </a:xfrm>
          <a:custGeom>
            <a:avLst/>
            <a:gdLst/>
            <a:ahLst/>
            <a:cxnLst/>
            <a:rect l="l" t="t" r="r" b="b"/>
            <a:pathLst>
              <a:path w="100964" h="24764">
                <a:moveTo>
                  <a:pt x="100571" y="0"/>
                </a:moveTo>
                <a:lnTo>
                  <a:pt x="0" y="0"/>
                </a:lnTo>
                <a:lnTo>
                  <a:pt x="0" y="24384"/>
                </a:lnTo>
                <a:lnTo>
                  <a:pt x="100571" y="24384"/>
                </a:lnTo>
                <a:lnTo>
                  <a:pt x="100571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3072567" y="1354422"/>
            <a:ext cx="102235" cy="24765"/>
          </a:xfrm>
          <a:custGeom>
            <a:avLst/>
            <a:gdLst/>
            <a:ahLst/>
            <a:cxnLst/>
            <a:rect l="l" t="t" r="r" b="b"/>
            <a:pathLst>
              <a:path w="102235" h="24764">
                <a:moveTo>
                  <a:pt x="102077" y="0"/>
                </a:moveTo>
                <a:lnTo>
                  <a:pt x="0" y="0"/>
                </a:lnTo>
                <a:lnTo>
                  <a:pt x="0" y="24384"/>
                </a:lnTo>
                <a:lnTo>
                  <a:pt x="102077" y="24384"/>
                </a:lnTo>
                <a:lnTo>
                  <a:pt x="102077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3250845" y="1354422"/>
            <a:ext cx="102235" cy="24765"/>
          </a:xfrm>
          <a:custGeom>
            <a:avLst/>
            <a:gdLst/>
            <a:ahLst/>
            <a:cxnLst/>
            <a:rect l="l" t="t" r="r" b="b"/>
            <a:pathLst>
              <a:path w="102235" h="24764">
                <a:moveTo>
                  <a:pt x="102108" y="0"/>
                </a:moveTo>
                <a:lnTo>
                  <a:pt x="0" y="0"/>
                </a:lnTo>
                <a:lnTo>
                  <a:pt x="0" y="24384"/>
                </a:lnTo>
                <a:lnTo>
                  <a:pt x="102108" y="24384"/>
                </a:lnTo>
                <a:lnTo>
                  <a:pt x="102108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3429122" y="1354422"/>
            <a:ext cx="100965" cy="24765"/>
          </a:xfrm>
          <a:custGeom>
            <a:avLst/>
            <a:gdLst/>
            <a:ahLst/>
            <a:cxnLst/>
            <a:rect l="l" t="t" r="r" b="b"/>
            <a:pathLst>
              <a:path w="100964" h="24764">
                <a:moveTo>
                  <a:pt x="100584" y="0"/>
                </a:moveTo>
                <a:lnTo>
                  <a:pt x="0" y="0"/>
                </a:lnTo>
                <a:lnTo>
                  <a:pt x="0" y="24384"/>
                </a:lnTo>
                <a:lnTo>
                  <a:pt x="100584" y="24384"/>
                </a:lnTo>
                <a:lnTo>
                  <a:pt x="100584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3605906" y="1354422"/>
            <a:ext cx="102235" cy="24765"/>
          </a:xfrm>
          <a:custGeom>
            <a:avLst/>
            <a:gdLst/>
            <a:ahLst/>
            <a:cxnLst/>
            <a:rect l="l" t="t" r="r" b="b"/>
            <a:pathLst>
              <a:path w="102235" h="24764">
                <a:moveTo>
                  <a:pt x="102108" y="0"/>
                </a:moveTo>
                <a:lnTo>
                  <a:pt x="0" y="0"/>
                </a:lnTo>
                <a:lnTo>
                  <a:pt x="0" y="24384"/>
                </a:lnTo>
                <a:lnTo>
                  <a:pt x="102108" y="24384"/>
                </a:lnTo>
                <a:lnTo>
                  <a:pt x="102108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3784214" y="1354422"/>
            <a:ext cx="102235" cy="24765"/>
          </a:xfrm>
          <a:custGeom>
            <a:avLst/>
            <a:gdLst/>
            <a:ahLst/>
            <a:cxnLst/>
            <a:rect l="l" t="t" r="r" b="b"/>
            <a:pathLst>
              <a:path w="102235" h="24764">
                <a:moveTo>
                  <a:pt x="102077" y="0"/>
                </a:moveTo>
                <a:lnTo>
                  <a:pt x="0" y="0"/>
                </a:lnTo>
                <a:lnTo>
                  <a:pt x="0" y="24384"/>
                </a:lnTo>
                <a:lnTo>
                  <a:pt x="102077" y="24384"/>
                </a:lnTo>
                <a:lnTo>
                  <a:pt x="102077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3962491" y="1354422"/>
            <a:ext cx="100965" cy="24765"/>
          </a:xfrm>
          <a:custGeom>
            <a:avLst/>
            <a:gdLst/>
            <a:ahLst/>
            <a:cxnLst/>
            <a:rect l="l" t="t" r="r" b="b"/>
            <a:pathLst>
              <a:path w="100964" h="24764">
                <a:moveTo>
                  <a:pt x="100584" y="0"/>
                </a:moveTo>
                <a:lnTo>
                  <a:pt x="0" y="0"/>
                </a:lnTo>
                <a:lnTo>
                  <a:pt x="0" y="24384"/>
                </a:lnTo>
                <a:lnTo>
                  <a:pt x="100584" y="24384"/>
                </a:lnTo>
                <a:lnTo>
                  <a:pt x="100584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4139245" y="1354422"/>
            <a:ext cx="102235" cy="24765"/>
          </a:xfrm>
          <a:custGeom>
            <a:avLst/>
            <a:gdLst/>
            <a:ahLst/>
            <a:cxnLst/>
            <a:rect l="l" t="t" r="r" b="b"/>
            <a:pathLst>
              <a:path w="102235" h="24764">
                <a:moveTo>
                  <a:pt x="102108" y="0"/>
                </a:moveTo>
                <a:lnTo>
                  <a:pt x="0" y="0"/>
                </a:lnTo>
                <a:lnTo>
                  <a:pt x="0" y="24384"/>
                </a:lnTo>
                <a:lnTo>
                  <a:pt x="102108" y="24384"/>
                </a:lnTo>
                <a:lnTo>
                  <a:pt x="102108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4317553" y="1354422"/>
            <a:ext cx="102235" cy="24765"/>
          </a:xfrm>
          <a:custGeom>
            <a:avLst/>
            <a:gdLst/>
            <a:ahLst/>
            <a:cxnLst/>
            <a:rect l="l" t="t" r="r" b="b"/>
            <a:pathLst>
              <a:path w="102235" h="24764">
                <a:moveTo>
                  <a:pt x="102108" y="0"/>
                </a:moveTo>
                <a:lnTo>
                  <a:pt x="0" y="0"/>
                </a:lnTo>
                <a:lnTo>
                  <a:pt x="0" y="24384"/>
                </a:lnTo>
                <a:lnTo>
                  <a:pt x="102108" y="24384"/>
                </a:lnTo>
                <a:lnTo>
                  <a:pt x="102108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4495861" y="1354422"/>
            <a:ext cx="100965" cy="24765"/>
          </a:xfrm>
          <a:custGeom>
            <a:avLst/>
            <a:gdLst/>
            <a:ahLst/>
            <a:cxnLst/>
            <a:rect l="l" t="t" r="r" b="b"/>
            <a:pathLst>
              <a:path w="100964" h="24764">
                <a:moveTo>
                  <a:pt x="100553" y="0"/>
                </a:moveTo>
                <a:lnTo>
                  <a:pt x="0" y="0"/>
                </a:lnTo>
                <a:lnTo>
                  <a:pt x="0" y="24384"/>
                </a:lnTo>
                <a:lnTo>
                  <a:pt x="100553" y="24384"/>
                </a:lnTo>
                <a:lnTo>
                  <a:pt x="100553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4672614" y="1354422"/>
            <a:ext cx="102235" cy="24765"/>
          </a:xfrm>
          <a:custGeom>
            <a:avLst/>
            <a:gdLst/>
            <a:ahLst/>
            <a:cxnLst/>
            <a:rect l="l" t="t" r="r" b="b"/>
            <a:pathLst>
              <a:path w="102235" h="24764">
                <a:moveTo>
                  <a:pt x="102108" y="0"/>
                </a:moveTo>
                <a:lnTo>
                  <a:pt x="0" y="0"/>
                </a:lnTo>
                <a:lnTo>
                  <a:pt x="0" y="24384"/>
                </a:lnTo>
                <a:lnTo>
                  <a:pt x="102108" y="24384"/>
                </a:lnTo>
                <a:lnTo>
                  <a:pt x="102108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4850922" y="1354422"/>
            <a:ext cx="102235" cy="24765"/>
          </a:xfrm>
          <a:custGeom>
            <a:avLst/>
            <a:gdLst/>
            <a:ahLst/>
            <a:cxnLst/>
            <a:rect l="l" t="t" r="r" b="b"/>
            <a:pathLst>
              <a:path w="102235" h="24764">
                <a:moveTo>
                  <a:pt x="102108" y="0"/>
                </a:moveTo>
                <a:lnTo>
                  <a:pt x="0" y="0"/>
                </a:lnTo>
                <a:lnTo>
                  <a:pt x="0" y="24384"/>
                </a:lnTo>
                <a:lnTo>
                  <a:pt x="102108" y="24384"/>
                </a:lnTo>
                <a:lnTo>
                  <a:pt x="102108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29200" y="1354422"/>
            <a:ext cx="100965" cy="24765"/>
          </a:xfrm>
          <a:custGeom>
            <a:avLst/>
            <a:gdLst/>
            <a:ahLst/>
            <a:cxnLst/>
            <a:rect l="l" t="t" r="r" b="b"/>
            <a:pathLst>
              <a:path w="100964" h="24764">
                <a:moveTo>
                  <a:pt x="100584" y="0"/>
                </a:moveTo>
                <a:lnTo>
                  <a:pt x="0" y="0"/>
                </a:lnTo>
                <a:lnTo>
                  <a:pt x="0" y="24384"/>
                </a:lnTo>
                <a:lnTo>
                  <a:pt x="100584" y="24384"/>
                </a:lnTo>
                <a:lnTo>
                  <a:pt x="100584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205984" y="1354422"/>
            <a:ext cx="102235" cy="24765"/>
          </a:xfrm>
          <a:custGeom>
            <a:avLst/>
            <a:gdLst/>
            <a:ahLst/>
            <a:cxnLst/>
            <a:rect l="l" t="t" r="r" b="b"/>
            <a:pathLst>
              <a:path w="102235" h="24764">
                <a:moveTo>
                  <a:pt x="102077" y="0"/>
                </a:moveTo>
                <a:lnTo>
                  <a:pt x="0" y="0"/>
                </a:lnTo>
                <a:lnTo>
                  <a:pt x="0" y="24384"/>
                </a:lnTo>
                <a:lnTo>
                  <a:pt x="102077" y="24384"/>
                </a:lnTo>
                <a:lnTo>
                  <a:pt x="102077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5384262" y="1354422"/>
            <a:ext cx="102235" cy="24765"/>
          </a:xfrm>
          <a:custGeom>
            <a:avLst/>
            <a:gdLst/>
            <a:ahLst/>
            <a:cxnLst/>
            <a:rect l="l" t="t" r="r" b="b"/>
            <a:pathLst>
              <a:path w="102235" h="24764">
                <a:moveTo>
                  <a:pt x="102108" y="0"/>
                </a:moveTo>
                <a:lnTo>
                  <a:pt x="0" y="0"/>
                </a:lnTo>
                <a:lnTo>
                  <a:pt x="0" y="24384"/>
                </a:lnTo>
                <a:lnTo>
                  <a:pt x="102108" y="24384"/>
                </a:lnTo>
                <a:lnTo>
                  <a:pt x="102108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5562570" y="1354422"/>
            <a:ext cx="100965" cy="24765"/>
          </a:xfrm>
          <a:custGeom>
            <a:avLst/>
            <a:gdLst/>
            <a:ahLst/>
            <a:cxnLst/>
            <a:rect l="l" t="t" r="r" b="b"/>
            <a:pathLst>
              <a:path w="100964" h="24764">
                <a:moveTo>
                  <a:pt x="100584" y="0"/>
                </a:moveTo>
                <a:lnTo>
                  <a:pt x="0" y="0"/>
                </a:lnTo>
                <a:lnTo>
                  <a:pt x="0" y="24384"/>
                </a:lnTo>
                <a:lnTo>
                  <a:pt x="100584" y="24384"/>
                </a:lnTo>
                <a:lnTo>
                  <a:pt x="100584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739323" y="1354422"/>
            <a:ext cx="102235" cy="24765"/>
          </a:xfrm>
          <a:custGeom>
            <a:avLst/>
            <a:gdLst/>
            <a:ahLst/>
            <a:cxnLst/>
            <a:rect l="l" t="t" r="r" b="b"/>
            <a:pathLst>
              <a:path w="102235" h="24764">
                <a:moveTo>
                  <a:pt x="102108" y="0"/>
                </a:moveTo>
                <a:lnTo>
                  <a:pt x="0" y="0"/>
                </a:lnTo>
                <a:lnTo>
                  <a:pt x="0" y="24384"/>
                </a:lnTo>
                <a:lnTo>
                  <a:pt x="102108" y="24384"/>
                </a:lnTo>
                <a:lnTo>
                  <a:pt x="102108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917631" y="1354422"/>
            <a:ext cx="102235" cy="24765"/>
          </a:xfrm>
          <a:custGeom>
            <a:avLst/>
            <a:gdLst/>
            <a:ahLst/>
            <a:cxnLst/>
            <a:rect l="l" t="t" r="r" b="b"/>
            <a:pathLst>
              <a:path w="102235" h="24764">
                <a:moveTo>
                  <a:pt x="102077" y="0"/>
                </a:moveTo>
                <a:lnTo>
                  <a:pt x="0" y="0"/>
                </a:lnTo>
                <a:lnTo>
                  <a:pt x="0" y="24384"/>
                </a:lnTo>
                <a:lnTo>
                  <a:pt x="102077" y="24384"/>
                </a:lnTo>
                <a:lnTo>
                  <a:pt x="102077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095909" y="1354422"/>
            <a:ext cx="100965" cy="24765"/>
          </a:xfrm>
          <a:custGeom>
            <a:avLst/>
            <a:gdLst/>
            <a:ahLst/>
            <a:cxnLst/>
            <a:rect l="l" t="t" r="r" b="b"/>
            <a:pathLst>
              <a:path w="100964" h="24764">
                <a:moveTo>
                  <a:pt x="100584" y="0"/>
                </a:moveTo>
                <a:lnTo>
                  <a:pt x="0" y="0"/>
                </a:lnTo>
                <a:lnTo>
                  <a:pt x="0" y="24384"/>
                </a:lnTo>
                <a:lnTo>
                  <a:pt x="100584" y="24384"/>
                </a:lnTo>
                <a:lnTo>
                  <a:pt x="100584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272693" y="1354422"/>
            <a:ext cx="102235" cy="24765"/>
          </a:xfrm>
          <a:custGeom>
            <a:avLst/>
            <a:gdLst/>
            <a:ahLst/>
            <a:cxnLst/>
            <a:rect l="l" t="t" r="r" b="b"/>
            <a:pathLst>
              <a:path w="102235" h="24764">
                <a:moveTo>
                  <a:pt x="102108" y="0"/>
                </a:moveTo>
                <a:lnTo>
                  <a:pt x="0" y="0"/>
                </a:lnTo>
                <a:lnTo>
                  <a:pt x="0" y="24384"/>
                </a:lnTo>
                <a:lnTo>
                  <a:pt x="102108" y="24384"/>
                </a:lnTo>
                <a:lnTo>
                  <a:pt x="102108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6450970" y="1354422"/>
            <a:ext cx="102235" cy="24765"/>
          </a:xfrm>
          <a:custGeom>
            <a:avLst/>
            <a:gdLst/>
            <a:ahLst/>
            <a:cxnLst/>
            <a:rect l="l" t="t" r="r" b="b"/>
            <a:pathLst>
              <a:path w="102234" h="24764">
                <a:moveTo>
                  <a:pt x="102108" y="0"/>
                </a:moveTo>
                <a:lnTo>
                  <a:pt x="0" y="0"/>
                </a:lnTo>
                <a:lnTo>
                  <a:pt x="0" y="24384"/>
                </a:lnTo>
                <a:lnTo>
                  <a:pt x="102108" y="24384"/>
                </a:lnTo>
                <a:lnTo>
                  <a:pt x="102108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6629278" y="1354422"/>
            <a:ext cx="100965" cy="24765"/>
          </a:xfrm>
          <a:custGeom>
            <a:avLst/>
            <a:gdLst/>
            <a:ahLst/>
            <a:cxnLst/>
            <a:rect l="l" t="t" r="r" b="b"/>
            <a:pathLst>
              <a:path w="100965" h="24764">
                <a:moveTo>
                  <a:pt x="100553" y="0"/>
                </a:moveTo>
                <a:lnTo>
                  <a:pt x="0" y="0"/>
                </a:lnTo>
                <a:lnTo>
                  <a:pt x="0" y="24384"/>
                </a:lnTo>
                <a:lnTo>
                  <a:pt x="100553" y="24384"/>
                </a:lnTo>
                <a:lnTo>
                  <a:pt x="100553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6806031" y="1354422"/>
            <a:ext cx="102235" cy="24765"/>
          </a:xfrm>
          <a:custGeom>
            <a:avLst/>
            <a:gdLst/>
            <a:ahLst/>
            <a:cxnLst/>
            <a:rect l="l" t="t" r="r" b="b"/>
            <a:pathLst>
              <a:path w="102234" h="24764">
                <a:moveTo>
                  <a:pt x="102108" y="0"/>
                </a:moveTo>
                <a:lnTo>
                  <a:pt x="0" y="0"/>
                </a:lnTo>
                <a:lnTo>
                  <a:pt x="0" y="24384"/>
                </a:lnTo>
                <a:lnTo>
                  <a:pt x="102108" y="24384"/>
                </a:lnTo>
                <a:lnTo>
                  <a:pt x="102108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6984340" y="1354422"/>
            <a:ext cx="102235" cy="24765"/>
          </a:xfrm>
          <a:custGeom>
            <a:avLst/>
            <a:gdLst/>
            <a:ahLst/>
            <a:cxnLst/>
            <a:rect l="l" t="t" r="r" b="b"/>
            <a:pathLst>
              <a:path w="102234" h="24764">
                <a:moveTo>
                  <a:pt x="102108" y="0"/>
                </a:moveTo>
                <a:lnTo>
                  <a:pt x="0" y="0"/>
                </a:lnTo>
                <a:lnTo>
                  <a:pt x="0" y="24384"/>
                </a:lnTo>
                <a:lnTo>
                  <a:pt x="102108" y="24384"/>
                </a:lnTo>
                <a:lnTo>
                  <a:pt x="102108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7162617" y="1354422"/>
            <a:ext cx="100965" cy="24765"/>
          </a:xfrm>
          <a:custGeom>
            <a:avLst/>
            <a:gdLst/>
            <a:ahLst/>
            <a:cxnLst/>
            <a:rect l="l" t="t" r="r" b="b"/>
            <a:pathLst>
              <a:path w="100965" h="24764">
                <a:moveTo>
                  <a:pt x="100584" y="0"/>
                </a:moveTo>
                <a:lnTo>
                  <a:pt x="0" y="0"/>
                </a:lnTo>
                <a:lnTo>
                  <a:pt x="0" y="24384"/>
                </a:lnTo>
                <a:lnTo>
                  <a:pt x="100584" y="24384"/>
                </a:lnTo>
                <a:lnTo>
                  <a:pt x="100584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7339401" y="1354422"/>
            <a:ext cx="102235" cy="24765"/>
          </a:xfrm>
          <a:custGeom>
            <a:avLst/>
            <a:gdLst/>
            <a:ahLst/>
            <a:cxnLst/>
            <a:rect l="l" t="t" r="r" b="b"/>
            <a:pathLst>
              <a:path w="102234" h="24764">
                <a:moveTo>
                  <a:pt x="102077" y="0"/>
                </a:moveTo>
                <a:lnTo>
                  <a:pt x="0" y="0"/>
                </a:lnTo>
                <a:lnTo>
                  <a:pt x="0" y="24384"/>
                </a:lnTo>
                <a:lnTo>
                  <a:pt x="102077" y="24384"/>
                </a:lnTo>
                <a:lnTo>
                  <a:pt x="102077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7517679" y="1354422"/>
            <a:ext cx="102235" cy="24765"/>
          </a:xfrm>
          <a:custGeom>
            <a:avLst/>
            <a:gdLst/>
            <a:ahLst/>
            <a:cxnLst/>
            <a:rect l="l" t="t" r="r" b="b"/>
            <a:pathLst>
              <a:path w="102234" h="24764">
                <a:moveTo>
                  <a:pt x="102108" y="0"/>
                </a:moveTo>
                <a:lnTo>
                  <a:pt x="0" y="0"/>
                </a:lnTo>
                <a:lnTo>
                  <a:pt x="0" y="24384"/>
                </a:lnTo>
                <a:lnTo>
                  <a:pt x="102108" y="24384"/>
                </a:lnTo>
                <a:lnTo>
                  <a:pt x="102108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7695987" y="1354422"/>
            <a:ext cx="100965" cy="24765"/>
          </a:xfrm>
          <a:custGeom>
            <a:avLst/>
            <a:gdLst/>
            <a:ahLst/>
            <a:cxnLst/>
            <a:rect l="l" t="t" r="r" b="b"/>
            <a:pathLst>
              <a:path w="100965" h="24764">
                <a:moveTo>
                  <a:pt x="100584" y="0"/>
                </a:moveTo>
                <a:lnTo>
                  <a:pt x="0" y="0"/>
                </a:lnTo>
                <a:lnTo>
                  <a:pt x="0" y="24384"/>
                </a:lnTo>
                <a:lnTo>
                  <a:pt x="100584" y="24384"/>
                </a:lnTo>
                <a:lnTo>
                  <a:pt x="100584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7872740" y="1354422"/>
            <a:ext cx="102235" cy="24765"/>
          </a:xfrm>
          <a:custGeom>
            <a:avLst/>
            <a:gdLst/>
            <a:ahLst/>
            <a:cxnLst/>
            <a:rect l="l" t="t" r="r" b="b"/>
            <a:pathLst>
              <a:path w="102234" h="24764">
                <a:moveTo>
                  <a:pt x="102108" y="0"/>
                </a:moveTo>
                <a:lnTo>
                  <a:pt x="0" y="0"/>
                </a:lnTo>
                <a:lnTo>
                  <a:pt x="0" y="24384"/>
                </a:lnTo>
                <a:lnTo>
                  <a:pt x="102108" y="24384"/>
                </a:lnTo>
                <a:lnTo>
                  <a:pt x="102108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8051048" y="1354422"/>
            <a:ext cx="102235" cy="24765"/>
          </a:xfrm>
          <a:custGeom>
            <a:avLst/>
            <a:gdLst/>
            <a:ahLst/>
            <a:cxnLst/>
            <a:rect l="l" t="t" r="r" b="b"/>
            <a:pathLst>
              <a:path w="102234" h="24764">
                <a:moveTo>
                  <a:pt x="102108" y="0"/>
                </a:moveTo>
                <a:lnTo>
                  <a:pt x="0" y="0"/>
                </a:lnTo>
                <a:lnTo>
                  <a:pt x="0" y="24384"/>
                </a:lnTo>
                <a:lnTo>
                  <a:pt x="102108" y="24384"/>
                </a:lnTo>
                <a:lnTo>
                  <a:pt x="102108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8229356" y="1354422"/>
            <a:ext cx="100965" cy="24765"/>
          </a:xfrm>
          <a:custGeom>
            <a:avLst/>
            <a:gdLst/>
            <a:ahLst/>
            <a:cxnLst/>
            <a:rect l="l" t="t" r="r" b="b"/>
            <a:pathLst>
              <a:path w="100965" h="24764">
                <a:moveTo>
                  <a:pt x="100553" y="0"/>
                </a:moveTo>
                <a:lnTo>
                  <a:pt x="0" y="0"/>
                </a:lnTo>
                <a:lnTo>
                  <a:pt x="0" y="24384"/>
                </a:lnTo>
                <a:lnTo>
                  <a:pt x="100553" y="24384"/>
                </a:lnTo>
                <a:lnTo>
                  <a:pt x="100553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8406110" y="1354422"/>
            <a:ext cx="102235" cy="24765"/>
          </a:xfrm>
          <a:custGeom>
            <a:avLst/>
            <a:gdLst/>
            <a:ahLst/>
            <a:cxnLst/>
            <a:rect l="l" t="t" r="r" b="b"/>
            <a:pathLst>
              <a:path w="102234" h="24764">
                <a:moveTo>
                  <a:pt x="102108" y="0"/>
                </a:moveTo>
                <a:lnTo>
                  <a:pt x="0" y="0"/>
                </a:lnTo>
                <a:lnTo>
                  <a:pt x="0" y="24384"/>
                </a:lnTo>
                <a:lnTo>
                  <a:pt x="102108" y="24384"/>
                </a:lnTo>
                <a:lnTo>
                  <a:pt x="102108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8584387" y="1354422"/>
            <a:ext cx="102235" cy="24765"/>
          </a:xfrm>
          <a:custGeom>
            <a:avLst/>
            <a:gdLst/>
            <a:ahLst/>
            <a:cxnLst/>
            <a:rect l="l" t="t" r="r" b="b"/>
            <a:pathLst>
              <a:path w="102234" h="24764">
                <a:moveTo>
                  <a:pt x="102108" y="0"/>
                </a:moveTo>
                <a:lnTo>
                  <a:pt x="0" y="0"/>
                </a:lnTo>
                <a:lnTo>
                  <a:pt x="0" y="24384"/>
                </a:lnTo>
                <a:lnTo>
                  <a:pt x="102108" y="24384"/>
                </a:lnTo>
                <a:lnTo>
                  <a:pt x="102108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8762696" y="1354422"/>
            <a:ext cx="100965" cy="24765"/>
          </a:xfrm>
          <a:custGeom>
            <a:avLst/>
            <a:gdLst/>
            <a:ahLst/>
            <a:cxnLst/>
            <a:rect l="l" t="t" r="r" b="b"/>
            <a:pathLst>
              <a:path w="100965" h="24764">
                <a:moveTo>
                  <a:pt x="100584" y="0"/>
                </a:moveTo>
                <a:lnTo>
                  <a:pt x="0" y="0"/>
                </a:lnTo>
                <a:lnTo>
                  <a:pt x="0" y="24384"/>
                </a:lnTo>
                <a:lnTo>
                  <a:pt x="100584" y="24384"/>
                </a:lnTo>
                <a:lnTo>
                  <a:pt x="100584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8939480" y="1354422"/>
            <a:ext cx="102235" cy="24765"/>
          </a:xfrm>
          <a:custGeom>
            <a:avLst/>
            <a:gdLst/>
            <a:ahLst/>
            <a:cxnLst/>
            <a:rect l="l" t="t" r="r" b="b"/>
            <a:pathLst>
              <a:path w="102234" h="24764">
                <a:moveTo>
                  <a:pt x="102077" y="0"/>
                </a:moveTo>
                <a:lnTo>
                  <a:pt x="0" y="0"/>
                </a:lnTo>
                <a:lnTo>
                  <a:pt x="0" y="24384"/>
                </a:lnTo>
                <a:lnTo>
                  <a:pt x="102077" y="24384"/>
                </a:lnTo>
                <a:lnTo>
                  <a:pt x="102077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9117747" y="1354425"/>
            <a:ext cx="134620" cy="169545"/>
          </a:xfrm>
          <a:custGeom>
            <a:avLst/>
            <a:gdLst/>
            <a:ahLst/>
            <a:cxnLst/>
            <a:rect l="l" t="t" r="r" b="b"/>
            <a:pathLst>
              <a:path w="134620" h="169544">
                <a:moveTo>
                  <a:pt x="102108" y="0"/>
                </a:moveTo>
                <a:lnTo>
                  <a:pt x="0" y="0"/>
                </a:lnTo>
                <a:lnTo>
                  <a:pt x="0" y="24384"/>
                </a:lnTo>
                <a:lnTo>
                  <a:pt x="102108" y="24384"/>
                </a:lnTo>
                <a:lnTo>
                  <a:pt x="102108" y="0"/>
                </a:lnTo>
                <a:close/>
              </a:path>
              <a:path w="134620" h="169544">
                <a:moveTo>
                  <a:pt x="134112" y="67056"/>
                </a:moveTo>
                <a:lnTo>
                  <a:pt x="109728" y="67056"/>
                </a:lnTo>
                <a:lnTo>
                  <a:pt x="109728" y="169164"/>
                </a:lnTo>
                <a:lnTo>
                  <a:pt x="134112" y="169164"/>
                </a:lnTo>
                <a:lnTo>
                  <a:pt x="134112" y="67056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9227485" y="1599756"/>
            <a:ext cx="24765" cy="102235"/>
          </a:xfrm>
          <a:custGeom>
            <a:avLst/>
            <a:gdLst/>
            <a:ahLst/>
            <a:cxnLst/>
            <a:rect l="l" t="t" r="r" b="b"/>
            <a:pathLst>
              <a:path w="24765" h="102235">
                <a:moveTo>
                  <a:pt x="24384" y="0"/>
                </a:moveTo>
                <a:lnTo>
                  <a:pt x="0" y="0"/>
                </a:lnTo>
                <a:lnTo>
                  <a:pt x="0" y="102108"/>
                </a:lnTo>
                <a:lnTo>
                  <a:pt x="24384" y="102108"/>
                </a:lnTo>
                <a:lnTo>
                  <a:pt x="24384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9227485" y="1778064"/>
            <a:ext cx="24765" cy="100965"/>
          </a:xfrm>
          <a:custGeom>
            <a:avLst/>
            <a:gdLst/>
            <a:ahLst/>
            <a:cxnLst/>
            <a:rect l="l" t="t" r="r" b="b"/>
            <a:pathLst>
              <a:path w="24765" h="100964">
                <a:moveTo>
                  <a:pt x="24384" y="0"/>
                </a:moveTo>
                <a:lnTo>
                  <a:pt x="0" y="0"/>
                </a:lnTo>
                <a:lnTo>
                  <a:pt x="0" y="100584"/>
                </a:lnTo>
                <a:lnTo>
                  <a:pt x="24384" y="100584"/>
                </a:lnTo>
                <a:lnTo>
                  <a:pt x="24384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9227485" y="1954848"/>
            <a:ext cx="24765" cy="102235"/>
          </a:xfrm>
          <a:custGeom>
            <a:avLst/>
            <a:gdLst/>
            <a:ahLst/>
            <a:cxnLst/>
            <a:rect l="l" t="t" r="r" b="b"/>
            <a:pathLst>
              <a:path w="24765" h="102235">
                <a:moveTo>
                  <a:pt x="24384" y="0"/>
                </a:moveTo>
                <a:lnTo>
                  <a:pt x="0" y="0"/>
                </a:lnTo>
                <a:lnTo>
                  <a:pt x="0" y="102077"/>
                </a:lnTo>
                <a:lnTo>
                  <a:pt x="24384" y="102077"/>
                </a:lnTo>
                <a:lnTo>
                  <a:pt x="24384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9227485" y="2133125"/>
            <a:ext cx="24765" cy="102235"/>
          </a:xfrm>
          <a:custGeom>
            <a:avLst/>
            <a:gdLst/>
            <a:ahLst/>
            <a:cxnLst/>
            <a:rect l="l" t="t" r="r" b="b"/>
            <a:pathLst>
              <a:path w="24765" h="102235">
                <a:moveTo>
                  <a:pt x="24384" y="0"/>
                </a:moveTo>
                <a:lnTo>
                  <a:pt x="0" y="0"/>
                </a:lnTo>
                <a:lnTo>
                  <a:pt x="0" y="102108"/>
                </a:lnTo>
                <a:lnTo>
                  <a:pt x="24384" y="102108"/>
                </a:lnTo>
                <a:lnTo>
                  <a:pt x="24384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9227485" y="2311403"/>
            <a:ext cx="24765" cy="100965"/>
          </a:xfrm>
          <a:custGeom>
            <a:avLst/>
            <a:gdLst/>
            <a:ahLst/>
            <a:cxnLst/>
            <a:rect l="l" t="t" r="r" b="b"/>
            <a:pathLst>
              <a:path w="24765" h="100964">
                <a:moveTo>
                  <a:pt x="24384" y="0"/>
                </a:moveTo>
                <a:lnTo>
                  <a:pt x="0" y="0"/>
                </a:lnTo>
                <a:lnTo>
                  <a:pt x="0" y="100584"/>
                </a:lnTo>
                <a:lnTo>
                  <a:pt x="24384" y="100584"/>
                </a:lnTo>
                <a:lnTo>
                  <a:pt x="24384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9227485" y="2488187"/>
            <a:ext cx="24765" cy="102235"/>
          </a:xfrm>
          <a:custGeom>
            <a:avLst/>
            <a:gdLst/>
            <a:ahLst/>
            <a:cxnLst/>
            <a:rect l="l" t="t" r="r" b="b"/>
            <a:pathLst>
              <a:path w="24765" h="102235">
                <a:moveTo>
                  <a:pt x="24384" y="0"/>
                </a:moveTo>
                <a:lnTo>
                  <a:pt x="0" y="0"/>
                </a:lnTo>
                <a:lnTo>
                  <a:pt x="0" y="102108"/>
                </a:lnTo>
                <a:lnTo>
                  <a:pt x="24384" y="102108"/>
                </a:lnTo>
                <a:lnTo>
                  <a:pt x="24384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9227485" y="2666495"/>
            <a:ext cx="24765" cy="102235"/>
          </a:xfrm>
          <a:custGeom>
            <a:avLst/>
            <a:gdLst/>
            <a:ahLst/>
            <a:cxnLst/>
            <a:rect l="l" t="t" r="r" b="b"/>
            <a:pathLst>
              <a:path w="24765" h="102235">
                <a:moveTo>
                  <a:pt x="24384" y="0"/>
                </a:moveTo>
                <a:lnTo>
                  <a:pt x="0" y="0"/>
                </a:lnTo>
                <a:lnTo>
                  <a:pt x="0" y="102077"/>
                </a:lnTo>
                <a:lnTo>
                  <a:pt x="24384" y="102077"/>
                </a:lnTo>
                <a:lnTo>
                  <a:pt x="24384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9227485" y="2844772"/>
            <a:ext cx="24765" cy="100965"/>
          </a:xfrm>
          <a:custGeom>
            <a:avLst/>
            <a:gdLst/>
            <a:ahLst/>
            <a:cxnLst/>
            <a:rect l="l" t="t" r="r" b="b"/>
            <a:pathLst>
              <a:path w="24765" h="100964">
                <a:moveTo>
                  <a:pt x="24384" y="0"/>
                </a:moveTo>
                <a:lnTo>
                  <a:pt x="0" y="0"/>
                </a:lnTo>
                <a:lnTo>
                  <a:pt x="0" y="100584"/>
                </a:lnTo>
                <a:lnTo>
                  <a:pt x="24384" y="100584"/>
                </a:lnTo>
                <a:lnTo>
                  <a:pt x="24384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9227485" y="3021526"/>
            <a:ext cx="24765" cy="102235"/>
          </a:xfrm>
          <a:custGeom>
            <a:avLst/>
            <a:gdLst/>
            <a:ahLst/>
            <a:cxnLst/>
            <a:rect l="l" t="t" r="r" b="b"/>
            <a:pathLst>
              <a:path w="24765" h="102235">
                <a:moveTo>
                  <a:pt x="24384" y="0"/>
                </a:moveTo>
                <a:lnTo>
                  <a:pt x="0" y="0"/>
                </a:lnTo>
                <a:lnTo>
                  <a:pt x="0" y="102108"/>
                </a:lnTo>
                <a:lnTo>
                  <a:pt x="24384" y="102108"/>
                </a:lnTo>
                <a:lnTo>
                  <a:pt x="24384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9227485" y="3199834"/>
            <a:ext cx="24765" cy="102235"/>
          </a:xfrm>
          <a:custGeom>
            <a:avLst/>
            <a:gdLst/>
            <a:ahLst/>
            <a:cxnLst/>
            <a:rect l="l" t="t" r="r" b="b"/>
            <a:pathLst>
              <a:path w="24765" h="102235">
                <a:moveTo>
                  <a:pt x="24384" y="0"/>
                </a:moveTo>
                <a:lnTo>
                  <a:pt x="0" y="0"/>
                </a:lnTo>
                <a:lnTo>
                  <a:pt x="0" y="102108"/>
                </a:lnTo>
                <a:lnTo>
                  <a:pt x="24384" y="102108"/>
                </a:lnTo>
                <a:lnTo>
                  <a:pt x="24384" y="0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98" name="object 98"/>
          <p:cNvGrpSpPr/>
          <p:nvPr/>
        </p:nvGrpSpPr>
        <p:grpSpPr>
          <a:xfrm>
            <a:off x="457517" y="3365629"/>
            <a:ext cx="9143365" cy="3569175"/>
            <a:chOff x="463771" y="3752303"/>
            <a:chExt cx="9143365" cy="3569175"/>
          </a:xfrm>
        </p:grpSpPr>
        <p:sp>
          <p:nvSpPr>
            <p:cNvPr id="99" name="object 99"/>
            <p:cNvSpPr/>
            <p:nvPr/>
          </p:nvSpPr>
          <p:spPr>
            <a:xfrm>
              <a:off x="878255" y="3752303"/>
              <a:ext cx="8383270" cy="137160"/>
            </a:xfrm>
            <a:custGeom>
              <a:avLst/>
              <a:gdLst/>
              <a:ahLst/>
              <a:cxnLst/>
              <a:rect l="l" t="t" r="r" b="b"/>
              <a:pathLst>
                <a:path w="8383270" h="137160">
                  <a:moveTo>
                    <a:pt x="25908" y="0"/>
                  </a:moveTo>
                  <a:lnTo>
                    <a:pt x="0" y="0"/>
                  </a:lnTo>
                  <a:lnTo>
                    <a:pt x="0" y="100558"/>
                  </a:lnTo>
                  <a:lnTo>
                    <a:pt x="25908" y="100558"/>
                  </a:lnTo>
                  <a:lnTo>
                    <a:pt x="25908" y="0"/>
                  </a:lnTo>
                  <a:close/>
                </a:path>
                <a:path w="8383270" h="137160">
                  <a:moveTo>
                    <a:pt x="8382838" y="36576"/>
                  </a:moveTo>
                  <a:lnTo>
                    <a:pt x="8358454" y="36576"/>
                  </a:lnTo>
                  <a:lnTo>
                    <a:pt x="8358454" y="137134"/>
                  </a:lnTo>
                  <a:lnTo>
                    <a:pt x="8382838" y="137134"/>
                  </a:lnTo>
                  <a:lnTo>
                    <a:pt x="8382838" y="36576"/>
                  </a:lnTo>
                  <a:close/>
                </a:path>
              </a:pathLst>
            </a:custGeom>
            <a:solidFill>
              <a:srgbClr val="6565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0" name="object 100"/>
            <p:cNvSpPr/>
            <p:nvPr/>
          </p:nvSpPr>
          <p:spPr>
            <a:xfrm>
              <a:off x="463771" y="3892478"/>
              <a:ext cx="9143365" cy="3429000"/>
            </a:xfrm>
            <a:custGeom>
              <a:avLst/>
              <a:gdLst/>
              <a:ahLst/>
              <a:cxnLst/>
              <a:rect l="l" t="t" r="r" b="b"/>
              <a:pathLst>
                <a:path w="9143365" h="3429000">
                  <a:moveTo>
                    <a:pt x="0" y="3428722"/>
                  </a:moveTo>
                  <a:lnTo>
                    <a:pt x="9143238" y="3428722"/>
                  </a:lnTo>
                  <a:lnTo>
                    <a:pt x="9143238" y="0"/>
                  </a:lnTo>
                  <a:lnTo>
                    <a:pt x="0" y="0"/>
                  </a:lnTo>
                  <a:lnTo>
                    <a:pt x="0" y="342872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2" name="object 102"/>
            <p:cNvSpPr/>
            <p:nvPr/>
          </p:nvSpPr>
          <p:spPr>
            <a:xfrm>
              <a:off x="6620225" y="5291398"/>
              <a:ext cx="347980" cy="439420"/>
            </a:xfrm>
            <a:custGeom>
              <a:avLst/>
              <a:gdLst/>
              <a:ahLst/>
              <a:cxnLst/>
              <a:rect l="l" t="t" r="r" b="b"/>
              <a:pathLst>
                <a:path w="347979" h="439420">
                  <a:moveTo>
                    <a:pt x="94457" y="0"/>
                  </a:moveTo>
                  <a:lnTo>
                    <a:pt x="86837" y="217922"/>
                  </a:lnTo>
                  <a:lnTo>
                    <a:pt x="0" y="214874"/>
                  </a:lnTo>
                  <a:lnTo>
                    <a:pt x="166085" y="438878"/>
                  </a:lnTo>
                  <a:lnTo>
                    <a:pt x="347441" y="227066"/>
                  </a:lnTo>
                  <a:lnTo>
                    <a:pt x="260573" y="224018"/>
                  </a:lnTo>
                  <a:lnTo>
                    <a:pt x="268193" y="6095"/>
                  </a:lnTo>
                  <a:lnTo>
                    <a:pt x="94457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3" name="object 103"/>
            <p:cNvSpPr/>
            <p:nvPr/>
          </p:nvSpPr>
          <p:spPr>
            <a:xfrm>
              <a:off x="6594317" y="5279205"/>
              <a:ext cx="401320" cy="471170"/>
            </a:xfrm>
            <a:custGeom>
              <a:avLst/>
              <a:gdLst/>
              <a:ahLst/>
              <a:cxnLst/>
              <a:rect l="l" t="t" r="r" b="b"/>
              <a:pathLst>
                <a:path w="401320" h="471170">
                  <a:moveTo>
                    <a:pt x="0" y="213350"/>
                  </a:moveTo>
                  <a:lnTo>
                    <a:pt x="191993" y="470882"/>
                  </a:lnTo>
                  <a:lnTo>
                    <a:pt x="215484" y="443450"/>
                  </a:lnTo>
                  <a:lnTo>
                    <a:pt x="202661" y="443450"/>
                  </a:lnTo>
                  <a:lnTo>
                    <a:pt x="182849" y="441926"/>
                  </a:lnTo>
                  <a:lnTo>
                    <a:pt x="192895" y="430278"/>
                  </a:lnTo>
                  <a:lnTo>
                    <a:pt x="52164" y="240471"/>
                  </a:lnTo>
                  <a:lnTo>
                    <a:pt x="25908" y="239258"/>
                  </a:lnTo>
                  <a:lnTo>
                    <a:pt x="36576" y="219446"/>
                  </a:lnTo>
                  <a:lnTo>
                    <a:pt x="100935" y="219446"/>
                  </a:lnTo>
                  <a:lnTo>
                    <a:pt x="101001" y="217446"/>
                  </a:lnTo>
                  <a:lnTo>
                    <a:pt x="0" y="213350"/>
                  </a:lnTo>
                  <a:close/>
                </a:path>
                <a:path w="401320" h="471170">
                  <a:moveTo>
                    <a:pt x="192895" y="430278"/>
                  </a:moveTo>
                  <a:lnTo>
                    <a:pt x="182849" y="441926"/>
                  </a:lnTo>
                  <a:lnTo>
                    <a:pt x="202661" y="443450"/>
                  </a:lnTo>
                  <a:lnTo>
                    <a:pt x="192895" y="430278"/>
                  </a:lnTo>
                  <a:close/>
                </a:path>
                <a:path w="401320" h="471170">
                  <a:moveTo>
                    <a:pt x="347787" y="250676"/>
                  </a:moveTo>
                  <a:lnTo>
                    <a:pt x="192895" y="430278"/>
                  </a:lnTo>
                  <a:lnTo>
                    <a:pt x="202661" y="443450"/>
                  </a:lnTo>
                  <a:lnTo>
                    <a:pt x="215484" y="443450"/>
                  </a:lnTo>
                  <a:lnTo>
                    <a:pt x="379900" y="251450"/>
                  </a:lnTo>
                  <a:lnTo>
                    <a:pt x="373349" y="251450"/>
                  </a:lnTo>
                  <a:lnTo>
                    <a:pt x="347787" y="250676"/>
                  </a:lnTo>
                  <a:close/>
                </a:path>
                <a:path w="401320" h="471170">
                  <a:moveTo>
                    <a:pt x="364205" y="231638"/>
                  </a:moveTo>
                  <a:lnTo>
                    <a:pt x="347787" y="250676"/>
                  </a:lnTo>
                  <a:lnTo>
                    <a:pt x="373349" y="251450"/>
                  </a:lnTo>
                  <a:lnTo>
                    <a:pt x="364205" y="231638"/>
                  </a:lnTo>
                  <a:close/>
                </a:path>
                <a:path w="401320" h="471170">
                  <a:moveTo>
                    <a:pt x="396866" y="231638"/>
                  </a:moveTo>
                  <a:lnTo>
                    <a:pt x="364205" y="231638"/>
                  </a:lnTo>
                  <a:lnTo>
                    <a:pt x="373349" y="251450"/>
                  </a:lnTo>
                  <a:lnTo>
                    <a:pt x="379900" y="251450"/>
                  </a:lnTo>
                  <a:lnTo>
                    <a:pt x="396866" y="231638"/>
                  </a:lnTo>
                  <a:close/>
                </a:path>
                <a:path w="401320" h="471170">
                  <a:moveTo>
                    <a:pt x="307333" y="18288"/>
                  </a:moveTo>
                  <a:lnTo>
                    <a:pt x="281909" y="18288"/>
                  </a:lnTo>
                  <a:lnTo>
                    <a:pt x="294101" y="32004"/>
                  </a:lnTo>
                  <a:lnTo>
                    <a:pt x="281364" y="32004"/>
                  </a:lnTo>
                  <a:lnTo>
                    <a:pt x="272765" y="248402"/>
                  </a:lnTo>
                  <a:lnTo>
                    <a:pt x="347787" y="250676"/>
                  </a:lnTo>
                  <a:lnTo>
                    <a:pt x="360262" y="236210"/>
                  </a:lnTo>
                  <a:lnTo>
                    <a:pt x="298673" y="236210"/>
                  </a:lnTo>
                  <a:lnTo>
                    <a:pt x="286481" y="224018"/>
                  </a:lnTo>
                  <a:lnTo>
                    <a:pt x="299157" y="224018"/>
                  </a:lnTo>
                  <a:lnTo>
                    <a:pt x="306788" y="32004"/>
                  </a:lnTo>
                  <a:lnTo>
                    <a:pt x="294101" y="32004"/>
                  </a:lnTo>
                  <a:lnTo>
                    <a:pt x="281382" y="31557"/>
                  </a:lnTo>
                  <a:lnTo>
                    <a:pt x="306805" y="31557"/>
                  </a:lnTo>
                  <a:lnTo>
                    <a:pt x="307333" y="18288"/>
                  </a:lnTo>
                  <a:close/>
                </a:path>
                <a:path w="401320" h="471170">
                  <a:moveTo>
                    <a:pt x="100935" y="219446"/>
                  </a:moveTo>
                  <a:lnTo>
                    <a:pt x="36576" y="219446"/>
                  </a:lnTo>
                  <a:lnTo>
                    <a:pt x="52164" y="240471"/>
                  </a:lnTo>
                  <a:lnTo>
                    <a:pt x="124937" y="243830"/>
                  </a:lnTo>
                  <a:lnTo>
                    <a:pt x="125391" y="230114"/>
                  </a:lnTo>
                  <a:lnTo>
                    <a:pt x="100584" y="230114"/>
                  </a:lnTo>
                  <a:lnTo>
                    <a:pt x="100935" y="219446"/>
                  </a:lnTo>
                  <a:close/>
                </a:path>
                <a:path w="401320" h="471170">
                  <a:moveTo>
                    <a:pt x="36576" y="219446"/>
                  </a:moveTo>
                  <a:lnTo>
                    <a:pt x="25908" y="239258"/>
                  </a:lnTo>
                  <a:lnTo>
                    <a:pt x="52164" y="240471"/>
                  </a:lnTo>
                  <a:lnTo>
                    <a:pt x="36576" y="219446"/>
                  </a:lnTo>
                  <a:close/>
                </a:path>
                <a:path w="401320" h="471170">
                  <a:moveTo>
                    <a:pt x="286481" y="224018"/>
                  </a:moveTo>
                  <a:lnTo>
                    <a:pt x="298673" y="236210"/>
                  </a:lnTo>
                  <a:lnTo>
                    <a:pt x="299144" y="224356"/>
                  </a:lnTo>
                  <a:lnTo>
                    <a:pt x="286481" y="224018"/>
                  </a:lnTo>
                  <a:close/>
                </a:path>
                <a:path w="401320" h="471170">
                  <a:moveTo>
                    <a:pt x="299144" y="224356"/>
                  </a:moveTo>
                  <a:lnTo>
                    <a:pt x="298673" y="236210"/>
                  </a:lnTo>
                  <a:lnTo>
                    <a:pt x="360262" y="236210"/>
                  </a:lnTo>
                  <a:lnTo>
                    <a:pt x="364205" y="231638"/>
                  </a:lnTo>
                  <a:lnTo>
                    <a:pt x="396866" y="231638"/>
                  </a:lnTo>
                  <a:lnTo>
                    <a:pt x="400781" y="227066"/>
                  </a:lnTo>
                  <a:lnTo>
                    <a:pt x="299144" y="224356"/>
                  </a:lnTo>
                  <a:close/>
                </a:path>
                <a:path w="401320" h="471170">
                  <a:moveTo>
                    <a:pt x="101001" y="217446"/>
                  </a:moveTo>
                  <a:lnTo>
                    <a:pt x="100584" y="230114"/>
                  </a:lnTo>
                  <a:lnTo>
                    <a:pt x="112745" y="217922"/>
                  </a:lnTo>
                  <a:lnTo>
                    <a:pt x="101001" y="217446"/>
                  </a:lnTo>
                  <a:close/>
                </a:path>
                <a:path w="401320" h="471170">
                  <a:moveTo>
                    <a:pt x="108173" y="0"/>
                  </a:moveTo>
                  <a:lnTo>
                    <a:pt x="101001" y="217446"/>
                  </a:lnTo>
                  <a:lnTo>
                    <a:pt x="112745" y="217922"/>
                  </a:lnTo>
                  <a:lnTo>
                    <a:pt x="100584" y="230114"/>
                  </a:lnTo>
                  <a:lnTo>
                    <a:pt x="125391" y="230114"/>
                  </a:lnTo>
                  <a:lnTo>
                    <a:pt x="132140" y="26321"/>
                  </a:lnTo>
                  <a:lnTo>
                    <a:pt x="120365" y="25908"/>
                  </a:lnTo>
                  <a:lnTo>
                    <a:pt x="132557" y="13716"/>
                  </a:lnTo>
                  <a:lnTo>
                    <a:pt x="307514" y="13716"/>
                  </a:lnTo>
                  <a:lnTo>
                    <a:pt x="307817" y="6096"/>
                  </a:lnTo>
                  <a:lnTo>
                    <a:pt x="108173" y="0"/>
                  </a:lnTo>
                  <a:close/>
                </a:path>
                <a:path w="401320" h="471170">
                  <a:moveTo>
                    <a:pt x="299157" y="224018"/>
                  </a:moveTo>
                  <a:lnTo>
                    <a:pt x="286481" y="224018"/>
                  </a:lnTo>
                  <a:lnTo>
                    <a:pt x="299144" y="224356"/>
                  </a:lnTo>
                  <a:lnTo>
                    <a:pt x="299157" y="224018"/>
                  </a:lnTo>
                  <a:close/>
                </a:path>
                <a:path w="401320" h="471170">
                  <a:moveTo>
                    <a:pt x="281909" y="18288"/>
                  </a:moveTo>
                  <a:lnTo>
                    <a:pt x="281382" y="31557"/>
                  </a:lnTo>
                  <a:lnTo>
                    <a:pt x="294101" y="32004"/>
                  </a:lnTo>
                  <a:lnTo>
                    <a:pt x="281909" y="18288"/>
                  </a:lnTo>
                  <a:close/>
                </a:path>
                <a:path w="401320" h="471170">
                  <a:moveTo>
                    <a:pt x="307514" y="13716"/>
                  </a:moveTo>
                  <a:lnTo>
                    <a:pt x="132557" y="13716"/>
                  </a:lnTo>
                  <a:lnTo>
                    <a:pt x="132140" y="26321"/>
                  </a:lnTo>
                  <a:lnTo>
                    <a:pt x="281382" y="31557"/>
                  </a:lnTo>
                  <a:lnTo>
                    <a:pt x="281909" y="18288"/>
                  </a:lnTo>
                  <a:lnTo>
                    <a:pt x="307333" y="18288"/>
                  </a:lnTo>
                  <a:lnTo>
                    <a:pt x="307514" y="13716"/>
                  </a:lnTo>
                  <a:close/>
                </a:path>
                <a:path w="401320" h="471170">
                  <a:moveTo>
                    <a:pt x="132557" y="13716"/>
                  </a:moveTo>
                  <a:lnTo>
                    <a:pt x="120365" y="25908"/>
                  </a:lnTo>
                  <a:lnTo>
                    <a:pt x="132140" y="26321"/>
                  </a:lnTo>
                  <a:lnTo>
                    <a:pt x="132557" y="13716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4" name="object 104"/>
            <p:cNvSpPr/>
            <p:nvPr/>
          </p:nvSpPr>
          <p:spPr>
            <a:xfrm>
              <a:off x="3151875" y="5292922"/>
              <a:ext cx="347980" cy="439420"/>
            </a:xfrm>
            <a:custGeom>
              <a:avLst/>
              <a:gdLst/>
              <a:ahLst/>
              <a:cxnLst/>
              <a:rect l="l" t="t" r="r" b="b"/>
              <a:pathLst>
                <a:path w="347979" h="439420">
                  <a:moveTo>
                    <a:pt x="94487" y="0"/>
                  </a:moveTo>
                  <a:lnTo>
                    <a:pt x="86867" y="217922"/>
                  </a:lnTo>
                  <a:lnTo>
                    <a:pt x="0" y="214874"/>
                  </a:lnTo>
                  <a:lnTo>
                    <a:pt x="166115" y="438878"/>
                  </a:lnTo>
                  <a:lnTo>
                    <a:pt x="347441" y="227066"/>
                  </a:lnTo>
                  <a:lnTo>
                    <a:pt x="260603" y="224018"/>
                  </a:lnTo>
                  <a:lnTo>
                    <a:pt x="268193" y="6095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5" name="object 105"/>
            <p:cNvSpPr/>
            <p:nvPr/>
          </p:nvSpPr>
          <p:spPr>
            <a:xfrm>
              <a:off x="3125998" y="5280729"/>
              <a:ext cx="401320" cy="471170"/>
            </a:xfrm>
            <a:custGeom>
              <a:avLst/>
              <a:gdLst/>
              <a:ahLst/>
              <a:cxnLst/>
              <a:rect l="l" t="t" r="r" b="b"/>
              <a:pathLst>
                <a:path w="401320" h="471170">
                  <a:moveTo>
                    <a:pt x="0" y="213350"/>
                  </a:moveTo>
                  <a:lnTo>
                    <a:pt x="191993" y="470882"/>
                  </a:lnTo>
                  <a:lnTo>
                    <a:pt x="215481" y="443450"/>
                  </a:lnTo>
                  <a:lnTo>
                    <a:pt x="202661" y="443450"/>
                  </a:lnTo>
                  <a:lnTo>
                    <a:pt x="182849" y="441926"/>
                  </a:lnTo>
                  <a:lnTo>
                    <a:pt x="192893" y="430278"/>
                  </a:lnTo>
                  <a:lnTo>
                    <a:pt x="52136" y="240470"/>
                  </a:lnTo>
                  <a:lnTo>
                    <a:pt x="25877" y="239258"/>
                  </a:lnTo>
                  <a:lnTo>
                    <a:pt x="36545" y="219446"/>
                  </a:lnTo>
                  <a:lnTo>
                    <a:pt x="100906" y="219446"/>
                  </a:lnTo>
                  <a:lnTo>
                    <a:pt x="100973" y="217445"/>
                  </a:lnTo>
                  <a:lnTo>
                    <a:pt x="0" y="213350"/>
                  </a:lnTo>
                  <a:close/>
                </a:path>
                <a:path w="401320" h="471170">
                  <a:moveTo>
                    <a:pt x="192893" y="430278"/>
                  </a:moveTo>
                  <a:lnTo>
                    <a:pt x="182849" y="441926"/>
                  </a:lnTo>
                  <a:lnTo>
                    <a:pt x="202661" y="443450"/>
                  </a:lnTo>
                  <a:lnTo>
                    <a:pt x="192893" y="430278"/>
                  </a:lnTo>
                  <a:close/>
                </a:path>
                <a:path w="401320" h="471170">
                  <a:moveTo>
                    <a:pt x="347759" y="250676"/>
                  </a:moveTo>
                  <a:lnTo>
                    <a:pt x="192893" y="430278"/>
                  </a:lnTo>
                  <a:lnTo>
                    <a:pt x="202661" y="443450"/>
                  </a:lnTo>
                  <a:lnTo>
                    <a:pt x="215481" y="443450"/>
                  </a:lnTo>
                  <a:lnTo>
                    <a:pt x="379873" y="251450"/>
                  </a:lnTo>
                  <a:lnTo>
                    <a:pt x="373319" y="251450"/>
                  </a:lnTo>
                  <a:lnTo>
                    <a:pt x="347759" y="250676"/>
                  </a:lnTo>
                  <a:close/>
                </a:path>
                <a:path w="401320" h="471170">
                  <a:moveTo>
                    <a:pt x="364175" y="231638"/>
                  </a:moveTo>
                  <a:lnTo>
                    <a:pt x="347759" y="250676"/>
                  </a:lnTo>
                  <a:lnTo>
                    <a:pt x="373319" y="251450"/>
                  </a:lnTo>
                  <a:lnTo>
                    <a:pt x="364175" y="231638"/>
                  </a:lnTo>
                  <a:close/>
                </a:path>
                <a:path w="401320" h="471170">
                  <a:moveTo>
                    <a:pt x="396836" y="231638"/>
                  </a:moveTo>
                  <a:lnTo>
                    <a:pt x="364175" y="231638"/>
                  </a:lnTo>
                  <a:lnTo>
                    <a:pt x="373319" y="251450"/>
                  </a:lnTo>
                  <a:lnTo>
                    <a:pt x="379873" y="251450"/>
                  </a:lnTo>
                  <a:lnTo>
                    <a:pt x="396836" y="231638"/>
                  </a:lnTo>
                  <a:close/>
                </a:path>
                <a:path w="401320" h="471170">
                  <a:moveTo>
                    <a:pt x="307302" y="18288"/>
                  </a:moveTo>
                  <a:lnTo>
                    <a:pt x="281909" y="18288"/>
                  </a:lnTo>
                  <a:lnTo>
                    <a:pt x="294071" y="32004"/>
                  </a:lnTo>
                  <a:lnTo>
                    <a:pt x="281364" y="32004"/>
                  </a:lnTo>
                  <a:lnTo>
                    <a:pt x="272765" y="248402"/>
                  </a:lnTo>
                  <a:lnTo>
                    <a:pt x="347759" y="250676"/>
                  </a:lnTo>
                  <a:lnTo>
                    <a:pt x="360232" y="236210"/>
                  </a:lnTo>
                  <a:lnTo>
                    <a:pt x="298643" y="236210"/>
                  </a:lnTo>
                  <a:lnTo>
                    <a:pt x="286481" y="224018"/>
                  </a:lnTo>
                  <a:lnTo>
                    <a:pt x="299127" y="224018"/>
                  </a:lnTo>
                  <a:lnTo>
                    <a:pt x="306757" y="32004"/>
                  </a:lnTo>
                  <a:lnTo>
                    <a:pt x="294071" y="32004"/>
                  </a:lnTo>
                  <a:lnTo>
                    <a:pt x="281382" y="31558"/>
                  </a:lnTo>
                  <a:lnTo>
                    <a:pt x="306775" y="31558"/>
                  </a:lnTo>
                  <a:lnTo>
                    <a:pt x="307302" y="18288"/>
                  </a:lnTo>
                  <a:close/>
                </a:path>
                <a:path w="401320" h="471170">
                  <a:moveTo>
                    <a:pt x="100906" y="219446"/>
                  </a:moveTo>
                  <a:lnTo>
                    <a:pt x="36545" y="219446"/>
                  </a:lnTo>
                  <a:lnTo>
                    <a:pt x="52136" y="240470"/>
                  </a:lnTo>
                  <a:lnTo>
                    <a:pt x="124937" y="243830"/>
                  </a:lnTo>
                  <a:lnTo>
                    <a:pt x="125391" y="230114"/>
                  </a:lnTo>
                  <a:lnTo>
                    <a:pt x="100553" y="230114"/>
                  </a:lnTo>
                  <a:lnTo>
                    <a:pt x="100906" y="219446"/>
                  </a:lnTo>
                  <a:close/>
                </a:path>
                <a:path w="401320" h="471170">
                  <a:moveTo>
                    <a:pt x="36545" y="219446"/>
                  </a:moveTo>
                  <a:lnTo>
                    <a:pt x="25877" y="239258"/>
                  </a:lnTo>
                  <a:lnTo>
                    <a:pt x="52136" y="240470"/>
                  </a:lnTo>
                  <a:lnTo>
                    <a:pt x="36545" y="219446"/>
                  </a:lnTo>
                  <a:close/>
                </a:path>
                <a:path w="401320" h="471170">
                  <a:moveTo>
                    <a:pt x="286481" y="224018"/>
                  </a:moveTo>
                  <a:lnTo>
                    <a:pt x="298643" y="236210"/>
                  </a:lnTo>
                  <a:lnTo>
                    <a:pt x="299114" y="224355"/>
                  </a:lnTo>
                  <a:lnTo>
                    <a:pt x="286481" y="224018"/>
                  </a:lnTo>
                  <a:close/>
                </a:path>
                <a:path w="401320" h="471170">
                  <a:moveTo>
                    <a:pt x="299114" y="224355"/>
                  </a:moveTo>
                  <a:lnTo>
                    <a:pt x="298643" y="236210"/>
                  </a:lnTo>
                  <a:lnTo>
                    <a:pt x="360232" y="236210"/>
                  </a:lnTo>
                  <a:lnTo>
                    <a:pt x="364175" y="231638"/>
                  </a:lnTo>
                  <a:lnTo>
                    <a:pt x="396836" y="231638"/>
                  </a:lnTo>
                  <a:lnTo>
                    <a:pt x="400751" y="227066"/>
                  </a:lnTo>
                  <a:lnTo>
                    <a:pt x="299114" y="224355"/>
                  </a:lnTo>
                  <a:close/>
                </a:path>
                <a:path w="401320" h="471170">
                  <a:moveTo>
                    <a:pt x="100973" y="217445"/>
                  </a:moveTo>
                  <a:lnTo>
                    <a:pt x="100553" y="230114"/>
                  </a:lnTo>
                  <a:lnTo>
                    <a:pt x="112745" y="217922"/>
                  </a:lnTo>
                  <a:lnTo>
                    <a:pt x="100973" y="217445"/>
                  </a:lnTo>
                  <a:close/>
                </a:path>
                <a:path w="401320" h="471170">
                  <a:moveTo>
                    <a:pt x="108173" y="0"/>
                  </a:moveTo>
                  <a:lnTo>
                    <a:pt x="100973" y="217445"/>
                  </a:lnTo>
                  <a:lnTo>
                    <a:pt x="112745" y="217922"/>
                  </a:lnTo>
                  <a:lnTo>
                    <a:pt x="100553" y="230114"/>
                  </a:lnTo>
                  <a:lnTo>
                    <a:pt x="125391" y="230114"/>
                  </a:lnTo>
                  <a:lnTo>
                    <a:pt x="132140" y="26321"/>
                  </a:lnTo>
                  <a:lnTo>
                    <a:pt x="120365" y="25908"/>
                  </a:lnTo>
                  <a:lnTo>
                    <a:pt x="132557" y="13716"/>
                  </a:lnTo>
                  <a:lnTo>
                    <a:pt x="307484" y="13716"/>
                  </a:lnTo>
                  <a:lnTo>
                    <a:pt x="307787" y="6096"/>
                  </a:lnTo>
                  <a:lnTo>
                    <a:pt x="108173" y="0"/>
                  </a:lnTo>
                  <a:close/>
                </a:path>
                <a:path w="401320" h="471170">
                  <a:moveTo>
                    <a:pt x="299127" y="224018"/>
                  </a:moveTo>
                  <a:lnTo>
                    <a:pt x="286481" y="224018"/>
                  </a:lnTo>
                  <a:lnTo>
                    <a:pt x="299114" y="224355"/>
                  </a:lnTo>
                  <a:lnTo>
                    <a:pt x="299127" y="224018"/>
                  </a:lnTo>
                  <a:close/>
                </a:path>
                <a:path w="401320" h="471170">
                  <a:moveTo>
                    <a:pt x="281909" y="18288"/>
                  </a:moveTo>
                  <a:lnTo>
                    <a:pt x="281382" y="31558"/>
                  </a:lnTo>
                  <a:lnTo>
                    <a:pt x="294071" y="32004"/>
                  </a:lnTo>
                  <a:lnTo>
                    <a:pt x="281909" y="18288"/>
                  </a:lnTo>
                  <a:close/>
                </a:path>
                <a:path w="401320" h="471170">
                  <a:moveTo>
                    <a:pt x="307484" y="13716"/>
                  </a:moveTo>
                  <a:lnTo>
                    <a:pt x="132557" y="13716"/>
                  </a:lnTo>
                  <a:lnTo>
                    <a:pt x="132140" y="26321"/>
                  </a:lnTo>
                  <a:lnTo>
                    <a:pt x="281382" y="31558"/>
                  </a:lnTo>
                  <a:lnTo>
                    <a:pt x="281909" y="18288"/>
                  </a:lnTo>
                  <a:lnTo>
                    <a:pt x="307302" y="18288"/>
                  </a:lnTo>
                  <a:lnTo>
                    <a:pt x="307484" y="13716"/>
                  </a:lnTo>
                  <a:close/>
                </a:path>
                <a:path w="401320" h="471170">
                  <a:moveTo>
                    <a:pt x="132557" y="13716"/>
                  </a:moveTo>
                  <a:lnTo>
                    <a:pt x="120365" y="25908"/>
                  </a:lnTo>
                  <a:lnTo>
                    <a:pt x="132140" y="26321"/>
                  </a:lnTo>
                  <a:lnTo>
                    <a:pt x="132557" y="13716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6" name="object 106"/>
            <p:cNvSpPr/>
            <p:nvPr/>
          </p:nvSpPr>
          <p:spPr>
            <a:xfrm>
              <a:off x="4802245" y="4034210"/>
              <a:ext cx="347980" cy="439420"/>
            </a:xfrm>
            <a:custGeom>
              <a:avLst/>
              <a:gdLst/>
              <a:ahLst/>
              <a:cxnLst/>
              <a:rect l="l" t="t" r="r" b="b"/>
              <a:pathLst>
                <a:path w="347979" h="439420">
                  <a:moveTo>
                    <a:pt x="94487" y="0"/>
                  </a:moveTo>
                  <a:lnTo>
                    <a:pt x="86867" y="217901"/>
                  </a:lnTo>
                  <a:lnTo>
                    <a:pt x="0" y="214853"/>
                  </a:lnTo>
                  <a:lnTo>
                    <a:pt x="166115" y="438881"/>
                  </a:lnTo>
                  <a:lnTo>
                    <a:pt x="347441" y="227045"/>
                  </a:lnTo>
                  <a:lnTo>
                    <a:pt x="260573" y="223997"/>
                  </a:lnTo>
                  <a:lnTo>
                    <a:pt x="268193" y="6095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7" name="object 107"/>
            <p:cNvSpPr/>
            <p:nvPr/>
          </p:nvSpPr>
          <p:spPr>
            <a:xfrm>
              <a:off x="4776338" y="4022018"/>
              <a:ext cx="401320" cy="471170"/>
            </a:xfrm>
            <a:custGeom>
              <a:avLst/>
              <a:gdLst/>
              <a:ahLst/>
              <a:cxnLst/>
              <a:rect l="l" t="t" r="r" b="b"/>
              <a:pathLst>
                <a:path w="401320" h="471170">
                  <a:moveTo>
                    <a:pt x="0" y="213329"/>
                  </a:moveTo>
                  <a:lnTo>
                    <a:pt x="192024" y="470885"/>
                  </a:lnTo>
                  <a:lnTo>
                    <a:pt x="215509" y="443453"/>
                  </a:lnTo>
                  <a:lnTo>
                    <a:pt x="202692" y="443453"/>
                  </a:lnTo>
                  <a:lnTo>
                    <a:pt x="182880" y="441929"/>
                  </a:lnTo>
                  <a:lnTo>
                    <a:pt x="192923" y="430280"/>
                  </a:lnTo>
                  <a:lnTo>
                    <a:pt x="52165" y="240449"/>
                  </a:lnTo>
                  <a:lnTo>
                    <a:pt x="25908" y="239237"/>
                  </a:lnTo>
                  <a:lnTo>
                    <a:pt x="36576" y="219425"/>
                  </a:lnTo>
                  <a:lnTo>
                    <a:pt x="100937" y="219425"/>
                  </a:lnTo>
                  <a:lnTo>
                    <a:pt x="101005" y="217369"/>
                  </a:lnTo>
                  <a:lnTo>
                    <a:pt x="0" y="213329"/>
                  </a:lnTo>
                  <a:close/>
                </a:path>
                <a:path w="401320" h="471170">
                  <a:moveTo>
                    <a:pt x="192923" y="430280"/>
                  </a:moveTo>
                  <a:lnTo>
                    <a:pt x="182880" y="441929"/>
                  </a:lnTo>
                  <a:lnTo>
                    <a:pt x="202692" y="443453"/>
                  </a:lnTo>
                  <a:lnTo>
                    <a:pt x="192923" y="430280"/>
                  </a:lnTo>
                  <a:close/>
                </a:path>
                <a:path w="401320" h="471170">
                  <a:moveTo>
                    <a:pt x="347801" y="250643"/>
                  </a:moveTo>
                  <a:lnTo>
                    <a:pt x="192923" y="430280"/>
                  </a:lnTo>
                  <a:lnTo>
                    <a:pt x="202692" y="443453"/>
                  </a:lnTo>
                  <a:lnTo>
                    <a:pt x="215509" y="443453"/>
                  </a:lnTo>
                  <a:lnTo>
                    <a:pt x="379905" y="251429"/>
                  </a:lnTo>
                  <a:lnTo>
                    <a:pt x="373349" y="251429"/>
                  </a:lnTo>
                  <a:lnTo>
                    <a:pt x="347801" y="250643"/>
                  </a:lnTo>
                  <a:close/>
                </a:path>
                <a:path w="401320" h="471170">
                  <a:moveTo>
                    <a:pt x="364205" y="231617"/>
                  </a:moveTo>
                  <a:lnTo>
                    <a:pt x="347801" y="250643"/>
                  </a:lnTo>
                  <a:lnTo>
                    <a:pt x="373349" y="251429"/>
                  </a:lnTo>
                  <a:lnTo>
                    <a:pt x="364205" y="231617"/>
                  </a:lnTo>
                  <a:close/>
                </a:path>
                <a:path w="401320" h="471170">
                  <a:moveTo>
                    <a:pt x="396867" y="231617"/>
                  </a:moveTo>
                  <a:lnTo>
                    <a:pt x="364205" y="231617"/>
                  </a:lnTo>
                  <a:lnTo>
                    <a:pt x="373349" y="251429"/>
                  </a:lnTo>
                  <a:lnTo>
                    <a:pt x="379905" y="251429"/>
                  </a:lnTo>
                  <a:lnTo>
                    <a:pt x="396867" y="231617"/>
                  </a:lnTo>
                  <a:close/>
                </a:path>
                <a:path w="401320" h="471170">
                  <a:moveTo>
                    <a:pt x="307413" y="18288"/>
                  </a:moveTo>
                  <a:lnTo>
                    <a:pt x="281909" y="18288"/>
                  </a:lnTo>
                  <a:lnTo>
                    <a:pt x="294101" y="32004"/>
                  </a:lnTo>
                  <a:lnTo>
                    <a:pt x="281455" y="32004"/>
                  </a:lnTo>
                  <a:lnTo>
                    <a:pt x="274289" y="248381"/>
                  </a:lnTo>
                  <a:lnTo>
                    <a:pt x="347801" y="250643"/>
                  </a:lnTo>
                  <a:lnTo>
                    <a:pt x="360263" y="236189"/>
                  </a:lnTo>
                  <a:lnTo>
                    <a:pt x="300197" y="236189"/>
                  </a:lnTo>
                  <a:lnTo>
                    <a:pt x="288005" y="223997"/>
                  </a:lnTo>
                  <a:lnTo>
                    <a:pt x="300601" y="223997"/>
                  </a:lnTo>
                  <a:lnTo>
                    <a:pt x="306959" y="32004"/>
                  </a:lnTo>
                  <a:lnTo>
                    <a:pt x="294101" y="32004"/>
                  </a:lnTo>
                  <a:lnTo>
                    <a:pt x="281469" y="31560"/>
                  </a:lnTo>
                  <a:lnTo>
                    <a:pt x="306974" y="31560"/>
                  </a:lnTo>
                  <a:lnTo>
                    <a:pt x="307413" y="18288"/>
                  </a:lnTo>
                  <a:close/>
                </a:path>
                <a:path w="401320" h="471170">
                  <a:moveTo>
                    <a:pt x="100937" y="219425"/>
                  </a:moveTo>
                  <a:lnTo>
                    <a:pt x="36576" y="219425"/>
                  </a:lnTo>
                  <a:lnTo>
                    <a:pt x="52165" y="240449"/>
                  </a:lnTo>
                  <a:lnTo>
                    <a:pt x="124968" y="243809"/>
                  </a:lnTo>
                  <a:lnTo>
                    <a:pt x="125513" y="230093"/>
                  </a:lnTo>
                  <a:lnTo>
                    <a:pt x="100584" y="230093"/>
                  </a:lnTo>
                  <a:lnTo>
                    <a:pt x="100937" y="219425"/>
                  </a:lnTo>
                  <a:close/>
                </a:path>
                <a:path w="401320" h="471170">
                  <a:moveTo>
                    <a:pt x="36576" y="219425"/>
                  </a:moveTo>
                  <a:lnTo>
                    <a:pt x="25908" y="239237"/>
                  </a:lnTo>
                  <a:lnTo>
                    <a:pt x="52165" y="240449"/>
                  </a:lnTo>
                  <a:lnTo>
                    <a:pt x="36576" y="219425"/>
                  </a:lnTo>
                  <a:close/>
                </a:path>
                <a:path w="401320" h="471170">
                  <a:moveTo>
                    <a:pt x="288005" y="223997"/>
                  </a:moveTo>
                  <a:lnTo>
                    <a:pt x="300197" y="236189"/>
                  </a:lnTo>
                  <a:lnTo>
                    <a:pt x="300590" y="224337"/>
                  </a:lnTo>
                  <a:lnTo>
                    <a:pt x="288005" y="223997"/>
                  </a:lnTo>
                  <a:close/>
                </a:path>
                <a:path w="401320" h="471170">
                  <a:moveTo>
                    <a:pt x="300590" y="224337"/>
                  </a:moveTo>
                  <a:lnTo>
                    <a:pt x="300197" y="236189"/>
                  </a:lnTo>
                  <a:lnTo>
                    <a:pt x="360263" y="236189"/>
                  </a:lnTo>
                  <a:lnTo>
                    <a:pt x="364205" y="231617"/>
                  </a:lnTo>
                  <a:lnTo>
                    <a:pt x="396867" y="231617"/>
                  </a:lnTo>
                  <a:lnTo>
                    <a:pt x="400781" y="227045"/>
                  </a:lnTo>
                  <a:lnTo>
                    <a:pt x="300590" y="224337"/>
                  </a:lnTo>
                  <a:close/>
                </a:path>
                <a:path w="401320" h="471170">
                  <a:moveTo>
                    <a:pt x="101005" y="217369"/>
                  </a:moveTo>
                  <a:lnTo>
                    <a:pt x="100584" y="230093"/>
                  </a:lnTo>
                  <a:lnTo>
                    <a:pt x="114300" y="217901"/>
                  </a:lnTo>
                  <a:lnTo>
                    <a:pt x="101005" y="217369"/>
                  </a:lnTo>
                  <a:close/>
                </a:path>
                <a:path w="401320" h="471170">
                  <a:moveTo>
                    <a:pt x="108204" y="0"/>
                  </a:moveTo>
                  <a:lnTo>
                    <a:pt x="101005" y="217369"/>
                  </a:lnTo>
                  <a:lnTo>
                    <a:pt x="114300" y="217901"/>
                  </a:lnTo>
                  <a:lnTo>
                    <a:pt x="100584" y="230093"/>
                  </a:lnTo>
                  <a:lnTo>
                    <a:pt x="125513" y="230093"/>
                  </a:lnTo>
                  <a:lnTo>
                    <a:pt x="133609" y="26371"/>
                  </a:lnTo>
                  <a:lnTo>
                    <a:pt x="120396" y="25908"/>
                  </a:lnTo>
                  <a:lnTo>
                    <a:pt x="134112" y="13716"/>
                  </a:lnTo>
                  <a:lnTo>
                    <a:pt x="307565" y="13716"/>
                  </a:lnTo>
                  <a:lnTo>
                    <a:pt x="307817" y="6096"/>
                  </a:lnTo>
                  <a:lnTo>
                    <a:pt x="108204" y="0"/>
                  </a:lnTo>
                  <a:close/>
                </a:path>
                <a:path w="401320" h="471170">
                  <a:moveTo>
                    <a:pt x="300601" y="223997"/>
                  </a:moveTo>
                  <a:lnTo>
                    <a:pt x="288005" y="223997"/>
                  </a:lnTo>
                  <a:lnTo>
                    <a:pt x="300590" y="224337"/>
                  </a:lnTo>
                  <a:lnTo>
                    <a:pt x="300601" y="223997"/>
                  </a:lnTo>
                  <a:close/>
                </a:path>
                <a:path w="401320" h="471170">
                  <a:moveTo>
                    <a:pt x="281909" y="18288"/>
                  </a:moveTo>
                  <a:lnTo>
                    <a:pt x="281469" y="31560"/>
                  </a:lnTo>
                  <a:lnTo>
                    <a:pt x="294101" y="32004"/>
                  </a:lnTo>
                  <a:lnTo>
                    <a:pt x="281909" y="18288"/>
                  </a:lnTo>
                  <a:close/>
                </a:path>
                <a:path w="401320" h="471170">
                  <a:moveTo>
                    <a:pt x="307565" y="13716"/>
                  </a:moveTo>
                  <a:lnTo>
                    <a:pt x="134112" y="13716"/>
                  </a:lnTo>
                  <a:lnTo>
                    <a:pt x="133609" y="26371"/>
                  </a:lnTo>
                  <a:lnTo>
                    <a:pt x="281469" y="31560"/>
                  </a:lnTo>
                  <a:lnTo>
                    <a:pt x="281909" y="18288"/>
                  </a:lnTo>
                  <a:lnTo>
                    <a:pt x="307413" y="18288"/>
                  </a:lnTo>
                  <a:lnTo>
                    <a:pt x="307565" y="13716"/>
                  </a:lnTo>
                  <a:close/>
                </a:path>
                <a:path w="401320" h="471170">
                  <a:moveTo>
                    <a:pt x="134112" y="13716"/>
                  </a:moveTo>
                  <a:lnTo>
                    <a:pt x="120396" y="25908"/>
                  </a:lnTo>
                  <a:lnTo>
                    <a:pt x="133609" y="26371"/>
                  </a:lnTo>
                  <a:lnTo>
                    <a:pt x="134112" y="13716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8" name="object 108"/>
            <p:cNvSpPr/>
            <p:nvPr/>
          </p:nvSpPr>
          <p:spPr>
            <a:xfrm>
              <a:off x="2202512" y="4972917"/>
              <a:ext cx="2440305" cy="297180"/>
            </a:xfrm>
            <a:custGeom>
              <a:avLst/>
              <a:gdLst/>
              <a:ahLst/>
              <a:cxnLst/>
              <a:rect l="l" t="t" r="r" b="b"/>
              <a:pathLst>
                <a:path w="2440304" h="297179">
                  <a:moveTo>
                    <a:pt x="2439722" y="0"/>
                  </a:moveTo>
                  <a:lnTo>
                    <a:pt x="0" y="0"/>
                  </a:lnTo>
                  <a:lnTo>
                    <a:pt x="0" y="297144"/>
                  </a:lnTo>
                  <a:lnTo>
                    <a:pt x="2439722" y="297144"/>
                  </a:lnTo>
                  <a:lnTo>
                    <a:pt x="2439722" y="0"/>
                  </a:lnTo>
                  <a:close/>
                </a:path>
              </a:pathLst>
            </a:custGeom>
            <a:solidFill>
              <a:srgbClr val="FFFFC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9" name="object 109"/>
            <p:cNvSpPr/>
            <p:nvPr/>
          </p:nvSpPr>
          <p:spPr>
            <a:xfrm>
              <a:off x="2190320" y="4959202"/>
              <a:ext cx="2464435" cy="323215"/>
            </a:xfrm>
            <a:custGeom>
              <a:avLst/>
              <a:gdLst/>
              <a:ahLst/>
              <a:cxnLst/>
              <a:rect l="l" t="t" r="r" b="b"/>
              <a:pathLst>
                <a:path w="2464435" h="323214">
                  <a:moveTo>
                    <a:pt x="2464097" y="0"/>
                  </a:moveTo>
                  <a:lnTo>
                    <a:pt x="0" y="0"/>
                  </a:lnTo>
                  <a:lnTo>
                    <a:pt x="0" y="323051"/>
                  </a:lnTo>
                  <a:lnTo>
                    <a:pt x="2464097" y="323051"/>
                  </a:lnTo>
                  <a:lnTo>
                    <a:pt x="2464097" y="310859"/>
                  </a:lnTo>
                  <a:lnTo>
                    <a:pt x="24384" y="310859"/>
                  </a:lnTo>
                  <a:lnTo>
                    <a:pt x="12192" y="297155"/>
                  </a:lnTo>
                  <a:lnTo>
                    <a:pt x="24384" y="297155"/>
                  </a:lnTo>
                  <a:lnTo>
                    <a:pt x="24384" y="25895"/>
                  </a:lnTo>
                  <a:lnTo>
                    <a:pt x="12192" y="25895"/>
                  </a:lnTo>
                  <a:lnTo>
                    <a:pt x="24384" y="13716"/>
                  </a:lnTo>
                  <a:lnTo>
                    <a:pt x="2464097" y="13716"/>
                  </a:lnTo>
                  <a:lnTo>
                    <a:pt x="2464097" y="0"/>
                  </a:lnTo>
                  <a:close/>
                </a:path>
                <a:path w="2464435" h="323214">
                  <a:moveTo>
                    <a:pt x="24384" y="297155"/>
                  </a:moveTo>
                  <a:lnTo>
                    <a:pt x="12192" y="297155"/>
                  </a:lnTo>
                  <a:lnTo>
                    <a:pt x="24384" y="310859"/>
                  </a:lnTo>
                  <a:lnTo>
                    <a:pt x="24384" y="297155"/>
                  </a:lnTo>
                  <a:close/>
                </a:path>
                <a:path w="2464435" h="323214">
                  <a:moveTo>
                    <a:pt x="2439713" y="297155"/>
                  </a:moveTo>
                  <a:lnTo>
                    <a:pt x="24384" y="297155"/>
                  </a:lnTo>
                  <a:lnTo>
                    <a:pt x="24384" y="310859"/>
                  </a:lnTo>
                  <a:lnTo>
                    <a:pt x="2439713" y="310859"/>
                  </a:lnTo>
                  <a:lnTo>
                    <a:pt x="2439713" y="297155"/>
                  </a:lnTo>
                  <a:close/>
                </a:path>
                <a:path w="2464435" h="323214">
                  <a:moveTo>
                    <a:pt x="2439713" y="13716"/>
                  </a:moveTo>
                  <a:lnTo>
                    <a:pt x="2439713" y="310859"/>
                  </a:lnTo>
                  <a:lnTo>
                    <a:pt x="2451905" y="297155"/>
                  </a:lnTo>
                  <a:lnTo>
                    <a:pt x="2464097" y="297155"/>
                  </a:lnTo>
                  <a:lnTo>
                    <a:pt x="2464097" y="25895"/>
                  </a:lnTo>
                  <a:lnTo>
                    <a:pt x="2451905" y="25895"/>
                  </a:lnTo>
                  <a:lnTo>
                    <a:pt x="2439713" y="13716"/>
                  </a:lnTo>
                  <a:close/>
                </a:path>
                <a:path w="2464435" h="323214">
                  <a:moveTo>
                    <a:pt x="2464097" y="297155"/>
                  </a:moveTo>
                  <a:lnTo>
                    <a:pt x="2451905" y="297155"/>
                  </a:lnTo>
                  <a:lnTo>
                    <a:pt x="2439713" y="310859"/>
                  </a:lnTo>
                  <a:lnTo>
                    <a:pt x="2464097" y="310859"/>
                  </a:lnTo>
                  <a:lnTo>
                    <a:pt x="2464097" y="297155"/>
                  </a:lnTo>
                  <a:close/>
                </a:path>
                <a:path w="2464435" h="323214">
                  <a:moveTo>
                    <a:pt x="24384" y="13716"/>
                  </a:moveTo>
                  <a:lnTo>
                    <a:pt x="12192" y="25895"/>
                  </a:lnTo>
                  <a:lnTo>
                    <a:pt x="24384" y="25895"/>
                  </a:lnTo>
                  <a:lnTo>
                    <a:pt x="24384" y="13716"/>
                  </a:lnTo>
                  <a:close/>
                </a:path>
                <a:path w="2464435" h="323214">
                  <a:moveTo>
                    <a:pt x="2439713" y="13716"/>
                  </a:moveTo>
                  <a:lnTo>
                    <a:pt x="24384" y="13716"/>
                  </a:lnTo>
                  <a:lnTo>
                    <a:pt x="24384" y="25895"/>
                  </a:lnTo>
                  <a:lnTo>
                    <a:pt x="2439713" y="25895"/>
                  </a:lnTo>
                  <a:lnTo>
                    <a:pt x="2439713" y="13716"/>
                  </a:lnTo>
                  <a:close/>
                </a:path>
                <a:path w="2464435" h="323214">
                  <a:moveTo>
                    <a:pt x="2464097" y="13716"/>
                  </a:moveTo>
                  <a:lnTo>
                    <a:pt x="2439713" y="13716"/>
                  </a:lnTo>
                  <a:lnTo>
                    <a:pt x="2451905" y="25895"/>
                  </a:lnTo>
                  <a:lnTo>
                    <a:pt x="2464097" y="25895"/>
                  </a:lnTo>
                  <a:lnTo>
                    <a:pt x="2464097" y="13716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0" name="object 110"/>
            <p:cNvSpPr/>
            <p:nvPr/>
          </p:nvSpPr>
          <p:spPr>
            <a:xfrm>
              <a:off x="3849622" y="3892479"/>
              <a:ext cx="2439670" cy="177165"/>
            </a:xfrm>
            <a:custGeom>
              <a:avLst/>
              <a:gdLst/>
              <a:ahLst/>
              <a:cxnLst/>
              <a:rect l="l" t="t" r="r" b="b"/>
              <a:pathLst>
                <a:path w="2439670" h="177164">
                  <a:moveTo>
                    <a:pt x="2439125" y="0"/>
                  </a:moveTo>
                  <a:lnTo>
                    <a:pt x="0" y="0"/>
                  </a:lnTo>
                  <a:lnTo>
                    <a:pt x="32196" y="11254"/>
                  </a:lnTo>
                  <a:lnTo>
                    <a:pt x="78656" y="26302"/>
                  </a:lnTo>
                  <a:lnTo>
                    <a:pt x="126800" y="40746"/>
                  </a:lnTo>
                  <a:lnTo>
                    <a:pt x="176572" y="54567"/>
                  </a:lnTo>
                  <a:lnTo>
                    <a:pt x="227919" y="67749"/>
                  </a:lnTo>
                  <a:lnTo>
                    <a:pt x="280786" y="80272"/>
                  </a:lnTo>
                  <a:lnTo>
                    <a:pt x="335119" y="92119"/>
                  </a:lnTo>
                  <a:lnTo>
                    <a:pt x="390863" y="103271"/>
                  </a:lnTo>
                  <a:lnTo>
                    <a:pt x="447965" y="113710"/>
                  </a:lnTo>
                  <a:lnTo>
                    <a:pt x="506369" y="123418"/>
                  </a:lnTo>
                  <a:lnTo>
                    <a:pt x="566022" y="132378"/>
                  </a:lnTo>
                  <a:lnTo>
                    <a:pt x="626870" y="140570"/>
                  </a:lnTo>
                  <a:lnTo>
                    <a:pt x="688858" y="147977"/>
                  </a:lnTo>
                  <a:lnTo>
                    <a:pt x="751932" y="154580"/>
                  </a:lnTo>
                  <a:lnTo>
                    <a:pt x="816037" y="160362"/>
                  </a:lnTo>
                  <a:lnTo>
                    <a:pt x="881120" y="165304"/>
                  </a:lnTo>
                  <a:lnTo>
                    <a:pt x="947125" y="169388"/>
                  </a:lnTo>
                  <a:lnTo>
                    <a:pt x="1014000" y="172596"/>
                  </a:lnTo>
                  <a:lnTo>
                    <a:pt x="1081689" y="174910"/>
                  </a:lnTo>
                  <a:lnTo>
                    <a:pt x="1150138" y="176312"/>
                  </a:lnTo>
                  <a:lnTo>
                    <a:pt x="1219293" y="176783"/>
                  </a:lnTo>
                  <a:lnTo>
                    <a:pt x="1288554" y="176312"/>
                  </a:lnTo>
                  <a:lnTo>
                    <a:pt x="1357099" y="174910"/>
                  </a:lnTo>
                  <a:lnTo>
                    <a:pt x="1424873" y="172596"/>
                  </a:lnTo>
                  <a:lnTo>
                    <a:pt x="1491823" y="169388"/>
                  </a:lnTo>
                  <a:lnTo>
                    <a:pt x="1557894" y="165304"/>
                  </a:lnTo>
                  <a:lnTo>
                    <a:pt x="1623034" y="160362"/>
                  </a:lnTo>
                  <a:lnTo>
                    <a:pt x="1687187" y="154580"/>
                  </a:lnTo>
                  <a:lnTo>
                    <a:pt x="1750301" y="147977"/>
                  </a:lnTo>
                  <a:lnTo>
                    <a:pt x="1812321" y="140570"/>
                  </a:lnTo>
                  <a:lnTo>
                    <a:pt x="1873193" y="132378"/>
                  </a:lnTo>
                  <a:lnTo>
                    <a:pt x="1932864" y="123418"/>
                  </a:lnTo>
                  <a:lnTo>
                    <a:pt x="1991279" y="113710"/>
                  </a:lnTo>
                  <a:lnTo>
                    <a:pt x="2048386" y="103271"/>
                  </a:lnTo>
                  <a:lnTo>
                    <a:pt x="2104129" y="92119"/>
                  </a:lnTo>
                  <a:lnTo>
                    <a:pt x="2158456" y="80272"/>
                  </a:lnTo>
                  <a:lnTo>
                    <a:pt x="2211311" y="67749"/>
                  </a:lnTo>
                  <a:lnTo>
                    <a:pt x="2262642" y="54567"/>
                  </a:lnTo>
                  <a:lnTo>
                    <a:pt x="2312395" y="40746"/>
                  </a:lnTo>
                  <a:lnTo>
                    <a:pt x="2360515" y="26302"/>
                  </a:lnTo>
                  <a:lnTo>
                    <a:pt x="2406950" y="11254"/>
                  </a:lnTo>
                  <a:lnTo>
                    <a:pt x="2439125" y="0"/>
                  </a:lnTo>
                  <a:close/>
                </a:path>
              </a:pathLst>
            </a:custGeom>
            <a:solidFill>
              <a:srgbClr val="FCD1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1" name="object 111"/>
            <p:cNvSpPr/>
            <p:nvPr/>
          </p:nvSpPr>
          <p:spPr>
            <a:xfrm>
              <a:off x="3810976" y="3892478"/>
              <a:ext cx="2514600" cy="189230"/>
            </a:xfrm>
            <a:custGeom>
              <a:avLst/>
              <a:gdLst/>
              <a:ahLst/>
              <a:cxnLst/>
              <a:rect l="l" t="t" r="r" b="b"/>
              <a:pathLst>
                <a:path w="2514600" h="189229">
                  <a:moveTo>
                    <a:pt x="75407" y="0"/>
                  </a:moveTo>
                  <a:lnTo>
                    <a:pt x="0" y="0"/>
                  </a:lnTo>
                  <a:lnTo>
                    <a:pt x="11429" y="4571"/>
                  </a:lnTo>
                  <a:lnTo>
                    <a:pt x="67786" y="22859"/>
                  </a:lnTo>
                  <a:lnTo>
                    <a:pt x="125698" y="42671"/>
                  </a:lnTo>
                  <a:lnTo>
                    <a:pt x="186658" y="60959"/>
                  </a:lnTo>
                  <a:lnTo>
                    <a:pt x="250666" y="77723"/>
                  </a:lnTo>
                  <a:lnTo>
                    <a:pt x="316198" y="92963"/>
                  </a:lnTo>
                  <a:lnTo>
                    <a:pt x="384748" y="108203"/>
                  </a:lnTo>
                  <a:lnTo>
                    <a:pt x="456376" y="121919"/>
                  </a:lnTo>
                  <a:lnTo>
                    <a:pt x="528004" y="134111"/>
                  </a:lnTo>
                  <a:lnTo>
                    <a:pt x="678880" y="155447"/>
                  </a:lnTo>
                  <a:lnTo>
                    <a:pt x="758097" y="164591"/>
                  </a:lnTo>
                  <a:lnTo>
                    <a:pt x="837345" y="172211"/>
                  </a:lnTo>
                  <a:lnTo>
                    <a:pt x="919642" y="178307"/>
                  </a:lnTo>
                  <a:lnTo>
                    <a:pt x="1087282" y="187451"/>
                  </a:lnTo>
                  <a:lnTo>
                    <a:pt x="1257939" y="188975"/>
                  </a:lnTo>
                  <a:lnTo>
                    <a:pt x="1430151" y="187451"/>
                  </a:lnTo>
                  <a:lnTo>
                    <a:pt x="1597761" y="178307"/>
                  </a:lnTo>
                  <a:lnTo>
                    <a:pt x="1680057" y="172211"/>
                  </a:lnTo>
                  <a:lnTo>
                    <a:pt x="1759305" y="164591"/>
                  </a:lnTo>
                  <a:lnTo>
                    <a:pt x="1257939" y="164591"/>
                  </a:lnTo>
                  <a:lnTo>
                    <a:pt x="1087282" y="161543"/>
                  </a:lnTo>
                  <a:lnTo>
                    <a:pt x="921166" y="152399"/>
                  </a:lnTo>
                  <a:lnTo>
                    <a:pt x="840393" y="146303"/>
                  </a:lnTo>
                  <a:lnTo>
                    <a:pt x="759621" y="138683"/>
                  </a:lnTo>
                  <a:lnTo>
                    <a:pt x="607252" y="120395"/>
                  </a:lnTo>
                  <a:lnTo>
                    <a:pt x="459424" y="96011"/>
                  </a:lnTo>
                  <a:lnTo>
                    <a:pt x="322264" y="68579"/>
                  </a:lnTo>
                  <a:lnTo>
                    <a:pt x="192754" y="35051"/>
                  </a:lnTo>
                  <a:lnTo>
                    <a:pt x="133318" y="18287"/>
                  </a:lnTo>
                  <a:lnTo>
                    <a:pt x="75407" y="0"/>
                  </a:lnTo>
                  <a:close/>
                </a:path>
                <a:path w="2514600" h="189229">
                  <a:moveTo>
                    <a:pt x="2514209" y="0"/>
                  </a:moveTo>
                  <a:lnTo>
                    <a:pt x="2441995" y="0"/>
                  </a:lnTo>
                  <a:lnTo>
                    <a:pt x="2384084" y="18287"/>
                  </a:lnTo>
                  <a:lnTo>
                    <a:pt x="2260640" y="51815"/>
                  </a:lnTo>
                  <a:lnTo>
                    <a:pt x="2195108" y="68579"/>
                  </a:lnTo>
                  <a:lnTo>
                    <a:pt x="2056454" y="96011"/>
                  </a:lnTo>
                  <a:lnTo>
                    <a:pt x="1910150" y="120395"/>
                  </a:lnTo>
                  <a:lnTo>
                    <a:pt x="1756257" y="138683"/>
                  </a:lnTo>
                  <a:lnTo>
                    <a:pt x="1677009" y="146303"/>
                  </a:lnTo>
                  <a:lnTo>
                    <a:pt x="1596237" y="152399"/>
                  </a:lnTo>
                  <a:lnTo>
                    <a:pt x="1430151" y="161543"/>
                  </a:lnTo>
                  <a:lnTo>
                    <a:pt x="1257939" y="164591"/>
                  </a:lnTo>
                  <a:lnTo>
                    <a:pt x="1759305" y="164591"/>
                  </a:lnTo>
                  <a:lnTo>
                    <a:pt x="1837029" y="155447"/>
                  </a:lnTo>
                  <a:lnTo>
                    <a:pt x="1989398" y="134111"/>
                  </a:lnTo>
                  <a:lnTo>
                    <a:pt x="2061026" y="121919"/>
                  </a:lnTo>
                  <a:lnTo>
                    <a:pt x="2132654" y="108203"/>
                  </a:lnTo>
                  <a:lnTo>
                    <a:pt x="2266736" y="77723"/>
                  </a:lnTo>
                  <a:lnTo>
                    <a:pt x="2330744" y="59435"/>
                  </a:lnTo>
                  <a:lnTo>
                    <a:pt x="2391704" y="42671"/>
                  </a:lnTo>
                  <a:lnTo>
                    <a:pt x="2506004" y="3047"/>
                  </a:lnTo>
                  <a:lnTo>
                    <a:pt x="2514209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2" name="object 112"/>
            <p:cNvSpPr/>
            <p:nvPr/>
          </p:nvSpPr>
          <p:spPr>
            <a:xfrm>
              <a:off x="5565708" y="4972917"/>
              <a:ext cx="2440305" cy="297180"/>
            </a:xfrm>
            <a:custGeom>
              <a:avLst/>
              <a:gdLst/>
              <a:ahLst/>
              <a:cxnLst/>
              <a:rect l="l" t="t" r="r" b="b"/>
              <a:pathLst>
                <a:path w="2440304" h="297179">
                  <a:moveTo>
                    <a:pt x="2439722" y="0"/>
                  </a:moveTo>
                  <a:lnTo>
                    <a:pt x="0" y="0"/>
                  </a:lnTo>
                  <a:lnTo>
                    <a:pt x="0" y="297144"/>
                  </a:lnTo>
                  <a:lnTo>
                    <a:pt x="2439722" y="297144"/>
                  </a:lnTo>
                  <a:lnTo>
                    <a:pt x="2439722" y="0"/>
                  </a:lnTo>
                  <a:close/>
                </a:path>
              </a:pathLst>
            </a:custGeom>
            <a:solidFill>
              <a:srgbClr val="98CC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3" name="object 113"/>
            <p:cNvSpPr/>
            <p:nvPr/>
          </p:nvSpPr>
          <p:spPr>
            <a:xfrm>
              <a:off x="5553517" y="4959202"/>
              <a:ext cx="2465705" cy="323215"/>
            </a:xfrm>
            <a:custGeom>
              <a:avLst/>
              <a:gdLst/>
              <a:ahLst/>
              <a:cxnLst/>
              <a:rect l="l" t="t" r="r" b="b"/>
              <a:pathLst>
                <a:path w="2465704" h="323214">
                  <a:moveTo>
                    <a:pt x="2465618" y="0"/>
                  </a:moveTo>
                  <a:lnTo>
                    <a:pt x="0" y="0"/>
                  </a:lnTo>
                  <a:lnTo>
                    <a:pt x="0" y="323051"/>
                  </a:lnTo>
                  <a:lnTo>
                    <a:pt x="2465618" y="323051"/>
                  </a:lnTo>
                  <a:lnTo>
                    <a:pt x="2465618" y="310859"/>
                  </a:lnTo>
                  <a:lnTo>
                    <a:pt x="25908" y="310859"/>
                  </a:lnTo>
                  <a:lnTo>
                    <a:pt x="12192" y="297155"/>
                  </a:lnTo>
                  <a:lnTo>
                    <a:pt x="25908" y="297155"/>
                  </a:lnTo>
                  <a:lnTo>
                    <a:pt x="25908" y="25895"/>
                  </a:lnTo>
                  <a:lnTo>
                    <a:pt x="12192" y="25895"/>
                  </a:lnTo>
                  <a:lnTo>
                    <a:pt x="25908" y="13716"/>
                  </a:lnTo>
                  <a:lnTo>
                    <a:pt x="2465618" y="13716"/>
                  </a:lnTo>
                  <a:lnTo>
                    <a:pt x="2465618" y="0"/>
                  </a:lnTo>
                  <a:close/>
                </a:path>
                <a:path w="2465704" h="323214">
                  <a:moveTo>
                    <a:pt x="25908" y="297155"/>
                  </a:moveTo>
                  <a:lnTo>
                    <a:pt x="12192" y="297155"/>
                  </a:lnTo>
                  <a:lnTo>
                    <a:pt x="25908" y="310859"/>
                  </a:lnTo>
                  <a:lnTo>
                    <a:pt x="25908" y="297155"/>
                  </a:lnTo>
                  <a:close/>
                </a:path>
                <a:path w="2465704" h="323214">
                  <a:moveTo>
                    <a:pt x="2439710" y="297155"/>
                  </a:moveTo>
                  <a:lnTo>
                    <a:pt x="25908" y="297155"/>
                  </a:lnTo>
                  <a:lnTo>
                    <a:pt x="25908" y="310859"/>
                  </a:lnTo>
                  <a:lnTo>
                    <a:pt x="2439710" y="310859"/>
                  </a:lnTo>
                  <a:lnTo>
                    <a:pt x="2439710" y="297155"/>
                  </a:lnTo>
                  <a:close/>
                </a:path>
                <a:path w="2465704" h="323214">
                  <a:moveTo>
                    <a:pt x="2439710" y="13716"/>
                  </a:moveTo>
                  <a:lnTo>
                    <a:pt x="2439710" y="310859"/>
                  </a:lnTo>
                  <a:lnTo>
                    <a:pt x="2451902" y="297155"/>
                  </a:lnTo>
                  <a:lnTo>
                    <a:pt x="2465618" y="297155"/>
                  </a:lnTo>
                  <a:lnTo>
                    <a:pt x="2465618" y="25895"/>
                  </a:lnTo>
                  <a:lnTo>
                    <a:pt x="2451902" y="25895"/>
                  </a:lnTo>
                  <a:lnTo>
                    <a:pt x="2439710" y="13716"/>
                  </a:lnTo>
                  <a:close/>
                </a:path>
                <a:path w="2465704" h="323214">
                  <a:moveTo>
                    <a:pt x="2465618" y="297155"/>
                  </a:moveTo>
                  <a:lnTo>
                    <a:pt x="2451902" y="297155"/>
                  </a:lnTo>
                  <a:lnTo>
                    <a:pt x="2439710" y="310859"/>
                  </a:lnTo>
                  <a:lnTo>
                    <a:pt x="2465618" y="310859"/>
                  </a:lnTo>
                  <a:lnTo>
                    <a:pt x="2465618" y="297155"/>
                  </a:lnTo>
                  <a:close/>
                </a:path>
                <a:path w="2465704" h="323214">
                  <a:moveTo>
                    <a:pt x="25908" y="13716"/>
                  </a:moveTo>
                  <a:lnTo>
                    <a:pt x="12192" y="25895"/>
                  </a:lnTo>
                  <a:lnTo>
                    <a:pt x="25908" y="25895"/>
                  </a:lnTo>
                  <a:lnTo>
                    <a:pt x="25908" y="13716"/>
                  </a:lnTo>
                  <a:close/>
                </a:path>
                <a:path w="2465704" h="323214">
                  <a:moveTo>
                    <a:pt x="2439710" y="13716"/>
                  </a:moveTo>
                  <a:lnTo>
                    <a:pt x="25908" y="13716"/>
                  </a:lnTo>
                  <a:lnTo>
                    <a:pt x="25908" y="25895"/>
                  </a:lnTo>
                  <a:lnTo>
                    <a:pt x="2439710" y="25895"/>
                  </a:lnTo>
                  <a:lnTo>
                    <a:pt x="2439710" y="13716"/>
                  </a:lnTo>
                  <a:close/>
                </a:path>
                <a:path w="2465704" h="323214">
                  <a:moveTo>
                    <a:pt x="2465618" y="13716"/>
                  </a:moveTo>
                  <a:lnTo>
                    <a:pt x="2439710" y="13716"/>
                  </a:lnTo>
                  <a:lnTo>
                    <a:pt x="2451902" y="25895"/>
                  </a:lnTo>
                  <a:lnTo>
                    <a:pt x="2465618" y="25895"/>
                  </a:lnTo>
                  <a:lnTo>
                    <a:pt x="2465618" y="13716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4" name="object 114"/>
            <p:cNvSpPr/>
            <p:nvPr/>
          </p:nvSpPr>
          <p:spPr>
            <a:xfrm>
              <a:off x="2202512" y="5811048"/>
              <a:ext cx="2440305" cy="297180"/>
            </a:xfrm>
            <a:custGeom>
              <a:avLst/>
              <a:gdLst/>
              <a:ahLst/>
              <a:cxnLst/>
              <a:rect l="l" t="t" r="r" b="b"/>
              <a:pathLst>
                <a:path w="2440304" h="297179">
                  <a:moveTo>
                    <a:pt x="2439722" y="0"/>
                  </a:moveTo>
                  <a:lnTo>
                    <a:pt x="0" y="0"/>
                  </a:lnTo>
                  <a:lnTo>
                    <a:pt x="0" y="297156"/>
                  </a:lnTo>
                  <a:lnTo>
                    <a:pt x="2439722" y="297156"/>
                  </a:lnTo>
                  <a:lnTo>
                    <a:pt x="2439722" y="0"/>
                  </a:lnTo>
                  <a:close/>
                </a:path>
              </a:pathLst>
            </a:custGeom>
            <a:solidFill>
              <a:srgbClr val="FFFF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5" name="object 115"/>
            <p:cNvSpPr/>
            <p:nvPr/>
          </p:nvSpPr>
          <p:spPr>
            <a:xfrm>
              <a:off x="2190320" y="5797332"/>
              <a:ext cx="2464435" cy="323215"/>
            </a:xfrm>
            <a:custGeom>
              <a:avLst/>
              <a:gdLst/>
              <a:ahLst/>
              <a:cxnLst/>
              <a:rect l="l" t="t" r="r" b="b"/>
              <a:pathLst>
                <a:path w="2464435" h="323214">
                  <a:moveTo>
                    <a:pt x="2464097" y="0"/>
                  </a:moveTo>
                  <a:lnTo>
                    <a:pt x="0" y="0"/>
                  </a:lnTo>
                  <a:lnTo>
                    <a:pt x="0" y="323063"/>
                  </a:lnTo>
                  <a:lnTo>
                    <a:pt x="2464097" y="323063"/>
                  </a:lnTo>
                  <a:lnTo>
                    <a:pt x="2464097" y="310871"/>
                  </a:lnTo>
                  <a:lnTo>
                    <a:pt x="24384" y="310871"/>
                  </a:lnTo>
                  <a:lnTo>
                    <a:pt x="12192" y="297155"/>
                  </a:lnTo>
                  <a:lnTo>
                    <a:pt x="24384" y="297155"/>
                  </a:lnTo>
                  <a:lnTo>
                    <a:pt x="24384" y="25908"/>
                  </a:lnTo>
                  <a:lnTo>
                    <a:pt x="12192" y="25908"/>
                  </a:lnTo>
                  <a:lnTo>
                    <a:pt x="24384" y="13716"/>
                  </a:lnTo>
                  <a:lnTo>
                    <a:pt x="2464097" y="13716"/>
                  </a:lnTo>
                  <a:lnTo>
                    <a:pt x="2464097" y="0"/>
                  </a:lnTo>
                  <a:close/>
                </a:path>
                <a:path w="2464435" h="323214">
                  <a:moveTo>
                    <a:pt x="24384" y="297155"/>
                  </a:moveTo>
                  <a:lnTo>
                    <a:pt x="12192" y="297155"/>
                  </a:lnTo>
                  <a:lnTo>
                    <a:pt x="24384" y="310871"/>
                  </a:lnTo>
                  <a:lnTo>
                    <a:pt x="24384" y="297155"/>
                  </a:lnTo>
                  <a:close/>
                </a:path>
                <a:path w="2464435" h="323214">
                  <a:moveTo>
                    <a:pt x="2439713" y="297155"/>
                  </a:moveTo>
                  <a:lnTo>
                    <a:pt x="24384" y="297155"/>
                  </a:lnTo>
                  <a:lnTo>
                    <a:pt x="24384" y="310871"/>
                  </a:lnTo>
                  <a:lnTo>
                    <a:pt x="2439713" y="310871"/>
                  </a:lnTo>
                  <a:lnTo>
                    <a:pt x="2439713" y="297155"/>
                  </a:lnTo>
                  <a:close/>
                </a:path>
                <a:path w="2464435" h="323214">
                  <a:moveTo>
                    <a:pt x="2439713" y="13716"/>
                  </a:moveTo>
                  <a:lnTo>
                    <a:pt x="2439713" y="310871"/>
                  </a:lnTo>
                  <a:lnTo>
                    <a:pt x="2451905" y="297155"/>
                  </a:lnTo>
                  <a:lnTo>
                    <a:pt x="2464097" y="297155"/>
                  </a:lnTo>
                  <a:lnTo>
                    <a:pt x="2464097" y="25908"/>
                  </a:lnTo>
                  <a:lnTo>
                    <a:pt x="2451905" y="25908"/>
                  </a:lnTo>
                  <a:lnTo>
                    <a:pt x="2439713" y="13716"/>
                  </a:lnTo>
                  <a:close/>
                </a:path>
                <a:path w="2464435" h="323214">
                  <a:moveTo>
                    <a:pt x="2464097" y="297155"/>
                  </a:moveTo>
                  <a:lnTo>
                    <a:pt x="2451905" y="297155"/>
                  </a:lnTo>
                  <a:lnTo>
                    <a:pt x="2439713" y="310871"/>
                  </a:lnTo>
                  <a:lnTo>
                    <a:pt x="2464097" y="310871"/>
                  </a:lnTo>
                  <a:lnTo>
                    <a:pt x="2464097" y="297155"/>
                  </a:lnTo>
                  <a:close/>
                </a:path>
                <a:path w="2464435" h="323214">
                  <a:moveTo>
                    <a:pt x="24384" y="13716"/>
                  </a:moveTo>
                  <a:lnTo>
                    <a:pt x="12192" y="25908"/>
                  </a:lnTo>
                  <a:lnTo>
                    <a:pt x="24384" y="25908"/>
                  </a:lnTo>
                  <a:lnTo>
                    <a:pt x="24384" y="13716"/>
                  </a:lnTo>
                  <a:close/>
                </a:path>
                <a:path w="2464435" h="323214">
                  <a:moveTo>
                    <a:pt x="2439713" y="13716"/>
                  </a:moveTo>
                  <a:lnTo>
                    <a:pt x="24384" y="13716"/>
                  </a:lnTo>
                  <a:lnTo>
                    <a:pt x="24384" y="25908"/>
                  </a:lnTo>
                  <a:lnTo>
                    <a:pt x="2439713" y="25908"/>
                  </a:lnTo>
                  <a:lnTo>
                    <a:pt x="2439713" y="13716"/>
                  </a:lnTo>
                  <a:close/>
                </a:path>
                <a:path w="2464435" h="323214">
                  <a:moveTo>
                    <a:pt x="2464097" y="13716"/>
                  </a:moveTo>
                  <a:lnTo>
                    <a:pt x="2439713" y="13716"/>
                  </a:lnTo>
                  <a:lnTo>
                    <a:pt x="2451905" y="25908"/>
                  </a:lnTo>
                  <a:lnTo>
                    <a:pt x="2464097" y="25908"/>
                  </a:lnTo>
                  <a:lnTo>
                    <a:pt x="2464097" y="13716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6" name="object 116"/>
            <p:cNvSpPr/>
            <p:nvPr/>
          </p:nvSpPr>
          <p:spPr>
            <a:xfrm>
              <a:off x="5565708" y="5811048"/>
              <a:ext cx="2440305" cy="297180"/>
            </a:xfrm>
            <a:custGeom>
              <a:avLst/>
              <a:gdLst/>
              <a:ahLst/>
              <a:cxnLst/>
              <a:rect l="l" t="t" r="r" b="b"/>
              <a:pathLst>
                <a:path w="2440304" h="297179">
                  <a:moveTo>
                    <a:pt x="2439722" y="0"/>
                  </a:moveTo>
                  <a:lnTo>
                    <a:pt x="0" y="0"/>
                  </a:lnTo>
                  <a:lnTo>
                    <a:pt x="0" y="297156"/>
                  </a:lnTo>
                  <a:lnTo>
                    <a:pt x="2439722" y="297156"/>
                  </a:lnTo>
                  <a:lnTo>
                    <a:pt x="2439722" y="0"/>
                  </a:lnTo>
                  <a:close/>
                </a:path>
              </a:pathLst>
            </a:custGeom>
            <a:solidFill>
              <a:srgbClr val="98CC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7" name="object 117"/>
            <p:cNvSpPr/>
            <p:nvPr/>
          </p:nvSpPr>
          <p:spPr>
            <a:xfrm>
              <a:off x="5553517" y="5797332"/>
              <a:ext cx="2465705" cy="323215"/>
            </a:xfrm>
            <a:custGeom>
              <a:avLst/>
              <a:gdLst/>
              <a:ahLst/>
              <a:cxnLst/>
              <a:rect l="l" t="t" r="r" b="b"/>
              <a:pathLst>
                <a:path w="2465704" h="323214">
                  <a:moveTo>
                    <a:pt x="2465618" y="0"/>
                  </a:moveTo>
                  <a:lnTo>
                    <a:pt x="0" y="0"/>
                  </a:lnTo>
                  <a:lnTo>
                    <a:pt x="0" y="323063"/>
                  </a:lnTo>
                  <a:lnTo>
                    <a:pt x="2465618" y="323063"/>
                  </a:lnTo>
                  <a:lnTo>
                    <a:pt x="2465618" y="310871"/>
                  </a:lnTo>
                  <a:lnTo>
                    <a:pt x="25908" y="310871"/>
                  </a:lnTo>
                  <a:lnTo>
                    <a:pt x="12192" y="297155"/>
                  </a:lnTo>
                  <a:lnTo>
                    <a:pt x="25908" y="297155"/>
                  </a:lnTo>
                  <a:lnTo>
                    <a:pt x="25908" y="25908"/>
                  </a:lnTo>
                  <a:lnTo>
                    <a:pt x="12192" y="25908"/>
                  </a:lnTo>
                  <a:lnTo>
                    <a:pt x="25908" y="13716"/>
                  </a:lnTo>
                  <a:lnTo>
                    <a:pt x="2465618" y="13716"/>
                  </a:lnTo>
                  <a:lnTo>
                    <a:pt x="2465618" y="0"/>
                  </a:lnTo>
                  <a:close/>
                </a:path>
                <a:path w="2465704" h="323214">
                  <a:moveTo>
                    <a:pt x="25908" y="297155"/>
                  </a:moveTo>
                  <a:lnTo>
                    <a:pt x="12192" y="297155"/>
                  </a:lnTo>
                  <a:lnTo>
                    <a:pt x="25908" y="310871"/>
                  </a:lnTo>
                  <a:lnTo>
                    <a:pt x="25908" y="297155"/>
                  </a:lnTo>
                  <a:close/>
                </a:path>
                <a:path w="2465704" h="323214">
                  <a:moveTo>
                    <a:pt x="2439710" y="297155"/>
                  </a:moveTo>
                  <a:lnTo>
                    <a:pt x="25908" y="297155"/>
                  </a:lnTo>
                  <a:lnTo>
                    <a:pt x="25908" y="310871"/>
                  </a:lnTo>
                  <a:lnTo>
                    <a:pt x="2439710" y="310871"/>
                  </a:lnTo>
                  <a:lnTo>
                    <a:pt x="2439710" y="297155"/>
                  </a:lnTo>
                  <a:close/>
                </a:path>
                <a:path w="2465704" h="323214">
                  <a:moveTo>
                    <a:pt x="2439710" y="13716"/>
                  </a:moveTo>
                  <a:lnTo>
                    <a:pt x="2439710" y="310871"/>
                  </a:lnTo>
                  <a:lnTo>
                    <a:pt x="2451902" y="297155"/>
                  </a:lnTo>
                  <a:lnTo>
                    <a:pt x="2465618" y="297155"/>
                  </a:lnTo>
                  <a:lnTo>
                    <a:pt x="2465618" y="25908"/>
                  </a:lnTo>
                  <a:lnTo>
                    <a:pt x="2451902" y="25908"/>
                  </a:lnTo>
                  <a:lnTo>
                    <a:pt x="2439710" y="13716"/>
                  </a:lnTo>
                  <a:close/>
                </a:path>
                <a:path w="2465704" h="323214">
                  <a:moveTo>
                    <a:pt x="2465618" y="297155"/>
                  </a:moveTo>
                  <a:lnTo>
                    <a:pt x="2451902" y="297155"/>
                  </a:lnTo>
                  <a:lnTo>
                    <a:pt x="2439710" y="310871"/>
                  </a:lnTo>
                  <a:lnTo>
                    <a:pt x="2465618" y="310871"/>
                  </a:lnTo>
                  <a:lnTo>
                    <a:pt x="2465618" y="297155"/>
                  </a:lnTo>
                  <a:close/>
                </a:path>
                <a:path w="2465704" h="323214">
                  <a:moveTo>
                    <a:pt x="25908" y="13716"/>
                  </a:moveTo>
                  <a:lnTo>
                    <a:pt x="12192" y="25908"/>
                  </a:lnTo>
                  <a:lnTo>
                    <a:pt x="25908" y="25908"/>
                  </a:lnTo>
                  <a:lnTo>
                    <a:pt x="25908" y="13716"/>
                  </a:lnTo>
                  <a:close/>
                </a:path>
                <a:path w="2465704" h="323214">
                  <a:moveTo>
                    <a:pt x="2439710" y="13716"/>
                  </a:moveTo>
                  <a:lnTo>
                    <a:pt x="25908" y="13716"/>
                  </a:lnTo>
                  <a:lnTo>
                    <a:pt x="25908" y="25908"/>
                  </a:lnTo>
                  <a:lnTo>
                    <a:pt x="2439710" y="25908"/>
                  </a:lnTo>
                  <a:lnTo>
                    <a:pt x="2439710" y="13716"/>
                  </a:lnTo>
                  <a:close/>
                </a:path>
                <a:path w="2465704" h="323214">
                  <a:moveTo>
                    <a:pt x="2465618" y="13716"/>
                  </a:moveTo>
                  <a:lnTo>
                    <a:pt x="2439710" y="13716"/>
                  </a:lnTo>
                  <a:lnTo>
                    <a:pt x="2451902" y="25908"/>
                  </a:lnTo>
                  <a:lnTo>
                    <a:pt x="2465618" y="25908"/>
                  </a:lnTo>
                  <a:lnTo>
                    <a:pt x="2465618" y="13716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8" name="object 118"/>
          <p:cNvSpPr txBox="1">
            <a:spLocks noGrp="1"/>
          </p:cNvSpPr>
          <p:nvPr>
            <p:ph type="title"/>
          </p:nvPr>
        </p:nvSpPr>
        <p:spPr>
          <a:xfrm>
            <a:off x="714700" y="286489"/>
            <a:ext cx="7038975" cy="10013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Absence </a:t>
            </a:r>
            <a:r>
              <a:rPr dirty="0">
                <a:solidFill>
                  <a:schemeClr val="accent1"/>
                </a:solidFill>
              </a:rPr>
              <a:t>/ </a:t>
            </a:r>
            <a:r>
              <a:rPr spc="-5" dirty="0">
                <a:solidFill>
                  <a:schemeClr val="accent1"/>
                </a:solidFill>
              </a:rPr>
              <a:t>Attendance</a:t>
            </a:r>
            <a:r>
              <a:rPr spc="-11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Configuration  Elements</a:t>
            </a:r>
          </a:p>
        </p:txBody>
      </p:sp>
      <p:sp>
        <p:nvSpPr>
          <p:cNvPr id="119" name="object 119"/>
          <p:cNvSpPr txBox="1"/>
          <p:nvPr/>
        </p:nvSpPr>
        <p:spPr>
          <a:xfrm>
            <a:off x="2867850" y="4566244"/>
            <a:ext cx="1068705" cy="2686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Liberation Sans Narrow"/>
                <a:cs typeface="Liberation Sans Narrow"/>
              </a:rPr>
              <a:t>Quota type</a:t>
            </a:r>
            <a:r>
              <a:rPr sz="1600" spc="-85" dirty="0">
                <a:latin typeface="Liberation Sans Narrow"/>
                <a:cs typeface="Liberation Sans Narrow"/>
              </a:rPr>
              <a:t> </a:t>
            </a:r>
            <a:r>
              <a:rPr sz="1600" spc="-5" dirty="0">
                <a:latin typeface="Liberation Sans Narrow"/>
                <a:cs typeface="Liberation Sans Narrow"/>
              </a:rPr>
              <a:t>99</a:t>
            </a:r>
            <a:endParaRPr sz="1600">
              <a:latin typeface="Liberation Sans Narrow"/>
              <a:cs typeface="Liberation Sans Narrow"/>
            </a:endParaRPr>
          </a:p>
        </p:txBody>
      </p:sp>
      <p:grpSp>
        <p:nvGrpSpPr>
          <p:cNvPr id="120" name="object 120"/>
          <p:cNvGrpSpPr/>
          <p:nvPr/>
        </p:nvGrpSpPr>
        <p:grpSpPr>
          <a:xfrm>
            <a:off x="2173465" y="5386597"/>
            <a:ext cx="2456815" cy="347980"/>
            <a:chOff x="2182700" y="5797332"/>
            <a:chExt cx="2456815" cy="347980"/>
          </a:xfrm>
        </p:grpSpPr>
        <p:sp>
          <p:nvSpPr>
            <p:cNvPr id="121" name="object 121"/>
            <p:cNvSpPr/>
            <p:nvPr/>
          </p:nvSpPr>
          <p:spPr>
            <a:xfrm>
              <a:off x="2187272" y="5803428"/>
              <a:ext cx="2447925" cy="335280"/>
            </a:xfrm>
            <a:custGeom>
              <a:avLst/>
              <a:gdLst/>
              <a:ahLst/>
              <a:cxnLst/>
              <a:rect l="l" t="t" r="r" b="b"/>
              <a:pathLst>
                <a:path w="2447925" h="335279">
                  <a:moveTo>
                    <a:pt x="2447342" y="0"/>
                  </a:moveTo>
                  <a:lnTo>
                    <a:pt x="0" y="0"/>
                  </a:lnTo>
                  <a:lnTo>
                    <a:pt x="0" y="335243"/>
                  </a:lnTo>
                  <a:lnTo>
                    <a:pt x="2447342" y="335243"/>
                  </a:lnTo>
                  <a:lnTo>
                    <a:pt x="2447342" y="0"/>
                  </a:lnTo>
                  <a:close/>
                </a:path>
              </a:pathLst>
            </a:custGeom>
            <a:solidFill>
              <a:srgbClr val="FFFFC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2" name="object 122"/>
            <p:cNvSpPr/>
            <p:nvPr/>
          </p:nvSpPr>
          <p:spPr>
            <a:xfrm>
              <a:off x="2182700" y="5797332"/>
              <a:ext cx="2456815" cy="347980"/>
            </a:xfrm>
            <a:custGeom>
              <a:avLst/>
              <a:gdLst/>
              <a:ahLst/>
              <a:cxnLst/>
              <a:rect l="l" t="t" r="r" b="b"/>
              <a:pathLst>
                <a:path w="2456815" h="347979">
                  <a:moveTo>
                    <a:pt x="2456477" y="0"/>
                  </a:moveTo>
                  <a:lnTo>
                    <a:pt x="0" y="0"/>
                  </a:lnTo>
                  <a:lnTo>
                    <a:pt x="0" y="347435"/>
                  </a:lnTo>
                  <a:lnTo>
                    <a:pt x="2456477" y="347435"/>
                  </a:lnTo>
                  <a:lnTo>
                    <a:pt x="2456477" y="341339"/>
                  </a:lnTo>
                  <a:lnTo>
                    <a:pt x="9144" y="341339"/>
                  </a:lnTo>
                  <a:lnTo>
                    <a:pt x="4572" y="336767"/>
                  </a:lnTo>
                  <a:lnTo>
                    <a:pt x="9144" y="336767"/>
                  </a:lnTo>
                  <a:lnTo>
                    <a:pt x="9144" y="10668"/>
                  </a:lnTo>
                  <a:lnTo>
                    <a:pt x="4572" y="10668"/>
                  </a:lnTo>
                  <a:lnTo>
                    <a:pt x="9144" y="6096"/>
                  </a:lnTo>
                  <a:lnTo>
                    <a:pt x="2456477" y="6096"/>
                  </a:lnTo>
                  <a:lnTo>
                    <a:pt x="2456477" y="0"/>
                  </a:lnTo>
                  <a:close/>
                </a:path>
                <a:path w="2456815" h="347979">
                  <a:moveTo>
                    <a:pt x="9144" y="336767"/>
                  </a:moveTo>
                  <a:lnTo>
                    <a:pt x="4572" y="336767"/>
                  </a:lnTo>
                  <a:lnTo>
                    <a:pt x="9144" y="341339"/>
                  </a:lnTo>
                  <a:lnTo>
                    <a:pt x="9144" y="336767"/>
                  </a:lnTo>
                  <a:close/>
                </a:path>
                <a:path w="2456815" h="347979">
                  <a:moveTo>
                    <a:pt x="2447333" y="336767"/>
                  </a:moveTo>
                  <a:lnTo>
                    <a:pt x="9144" y="336767"/>
                  </a:lnTo>
                  <a:lnTo>
                    <a:pt x="9144" y="341339"/>
                  </a:lnTo>
                  <a:lnTo>
                    <a:pt x="2447333" y="341339"/>
                  </a:lnTo>
                  <a:lnTo>
                    <a:pt x="2447333" y="336767"/>
                  </a:lnTo>
                  <a:close/>
                </a:path>
                <a:path w="2456815" h="347979">
                  <a:moveTo>
                    <a:pt x="2447333" y="6096"/>
                  </a:moveTo>
                  <a:lnTo>
                    <a:pt x="2447333" y="341339"/>
                  </a:lnTo>
                  <a:lnTo>
                    <a:pt x="2451905" y="336767"/>
                  </a:lnTo>
                  <a:lnTo>
                    <a:pt x="2456477" y="336767"/>
                  </a:lnTo>
                  <a:lnTo>
                    <a:pt x="2456477" y="10668"/>
                  </a:lnTo>
                  <a:lnTo>
                    <a:pt x="2451905" y="10668"/>
                  </a:lnTo>
                  <a:lnTo>
                    <a:pt x="2447333" y="6096"/>
                  </a:lnTo>
                  <a:close/>
                </a:path>
                <a:path w="2456815" h="347979">
                  <a:moveTo>
                    <a:pt x="2456477" y="336767"/>
                  </a:moveTo>
                  <a:lnTo>
                    <a:pt x="2451905" y="336767"/>
                  </a:lnTo>
                  <a:lnTo>
                    <a:pt x="2447333" y="341339"/>
                  </a:lnTo>
                  <a:lnTo>
                    <a:pt x="2456477" y="341339"/>
                  </a:lnTo>
                  <a:lnTo>
                    <a:pt x="2456477" y="336767"/>
                  </a:lnTo>
                  <a:close/>
                </a:path>
                <a:path w="2456815" h="347979">
                  <a:moveTo>
                    <a:pt x="9144" y="6096"/>
                  </a:moveTo>
                  <a:lnTo>
                    <a:pt x="4572" y="10668"/>
                  </a:lnTo>
                  <a:lnTo>
                    <a:pt x="9144" y="10668"/>
                  </a:lnTo>
                  <a:lnTo>
                    <a:pt x="9144" y="6096"/>
                  </a:lnTo>
                  <a:close/>
                </a:path>
                <a:path w="2456815" h="347979">
                  <a:moveTo>
                    <a:pt x="2447333" y="6096"/>
                  </a:moveTo>
                  <a:lnTo>
                    <a:pt x="9144" y="6096"/>
                  </a:lnTo>
                  <a:lnTo>
                    <a:pt x="9144" y="10668"/>
                  </a:lnTo>
                  <a:lnTo>
                    <a:pt x="2447333" y="10668"/>
                  </a:lnTo>
                  <a:lnTo>
                    <a:pt x="2447333" y="6096"/>
                  </a:lnTo>
                  <a:close/>
                </a:path>
                <a:path w="2456815" h="347979">
                  <a:moveTo>
                    <a:pt x="2456477" y="6096"/>
                  </a:moveTo>
                  <a:lnTo>
                    <a:pt x="2447333" y="6096"/>
                  </a:lnTo>
                  <a:lnTo>
                    <a:pt x="2451905" y="10668"/>
                  </a:lnTo>
                  <a:lnTo>
                    <a:pt x="2456477" y="10668"/>
                  </a:lnTo>
                  <a:lnTo>
                    <a:pt x="2456477" y="6096"/>
                  </a:lnTo>
                  <a:close/>
                </a:path>
              </a:pathLst>
            </a:custGeom>
            <a:solidFill>
              <a:srgbClr val="3232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3" name="object 123"/>
          <p:cNvSpPr txBox="1"/>
          <p:nvPr/>
        </p:nvSpPr>
        <p:spPr>
          <a:xfrm>
            <a:off x="2193277" y="5400313"/>
            <a:ext cx="2440305" cy="327660"/>
          </a:xfrm>
          <a:prstGeom prst="rect">
            <a:avLst/>
          </a:prstGeom>
        </p:spPr>
        <p:txBody>
          <a:bodyPr vert="horz" wrap="square" lIns="0" tIns="33019" rIns="0" bIns="0" rtlCol="0">
            <a:spAutoFit/>
          </a:bodyPr>
          <a:lstStyle/>
          <a:p>
            <a:pPr marL="334645">
              <a:lnSpc>
                <a:spcPct val="100000"/>
              </a:lnSpc>
              <a:spcBef>
                <a:spcPts val="259"/>
              </a:spcBef>
            </a:pPr>
            <a:r>
              <a:rPr sz="1600" spc="-5" dirty="0">
                <a:latin typeface="Liberation Sans Narrow"/>
                <a:cs typeface="Liberation Sans Narrow"/>
              </a:rPr>
              <a:t>Leave Entitlement</a:t>
            </a:r>
            <a:r>
              <a:rPr sz="1600" spc="-80" dirty="0">
                <a:latin typeface="Liberation Sans Narrow"/>
                <a:cs typeface="Liberation Sans Narrow"/>
              </a:rPr>
              <a:t> </a:t>
            </a:r>
            <a:r>
              <a:rPr sz="1600" spc="-5" dirty="0">
                <a:latin typeface="Liberation Sans Narrow"/>
                <a:cs typeface="Liberation Sans Narrow"/>
              </a:rPr>
              <a:t>0005</a:t>
            </a:r>
            <a:endParaRPr sz="1600">
              <a:latin typeface="Liberation Sans Narrow"/>
              <a:cs typeface="Liberation Sans Narrow"/>
            </a:endParaRPr>
          </a:p>
        </p:txBody>
      </p:sp>
      <p:grpSp>
        <p:nvGrpSpPr>
          <p:cNvPr id="124" name="object 124"/>
          <p:cNvGrpSpPr/>
          <p:nvPr/>
        </p:nvGrpSpPr>
        <p:grpSpPr>
          <a:xfrm>
            <a:off x="5541233" y="4548467"/>
            <a:ext cx="2456815" cy="356870"/>
            <a:chOff x="5550468" y="4959202"/>
            <a:chExt cx="2456815" cy="356870"/>
          </a:xfrm>
        </p:grpSpPr>
        <p:sp>
          <p:nvSpPr>
            <p:cNvPr id="125" name="object 125"/>
            <p:cNvSpPr/>
            <p:nvPr/>
          </p:nvSpPr>
          <p:spPr>
            <a:xfrm>
              <a:off x="5555040" y="4965298"/>
              <a:ext cx="2447925" cy="346075"/>
            </a:xfrm>
            <a:custGeom>
              <a:avLst/>
              <a:gdLst/>
              <a:ahLst/>
              <a:cxnLst/>
              <a:rect l="l" t="t" r="r" b="b"/>
              <a:pathLst>
                <a:path w="2447925" h="346075">
                  <a:moveTo>
                    <a:pt x="2447330" y="0"/>
                  </a:moveTo>
                  <a:lnTo>
                    <a:pt x="0" y="0"/>
                  </a:lnTo>
                  <a:lnTo>
                    <a:pt x="0" y="345911"/>
                  </a:lnTo>
                  <a:lnTo>
                    <a:pt x="2447330" y="345911"/>
                  </a:lnTo>
                  <a:lnTo>
                    <a:pt x="2447330" y="0"/>
                  </a:lnTo>
                  <a:close/>
                </a:path>
              </a:pathLst>
            </a:custGeom>
            <a:solidFill>
              <a:srgbClr val="FFCC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6" name="object 126"/>
            <p:cNvSpPr/>
            <p:nvPr/>
          </p:nvSpPr>
          <p:spPr>
            <a:xfrm>
              <a:off x="5550468" y="4959202"/>
              <a:ext cx="2456815" cy="356870"/>
            </a:xfrm>
            <a:custGeom>
              <a:avLst/>
              <a:gdLst/>
              <a:ahLst/>
              <a:cxnLst/>
              <a:rect l="l" t="t" r="r" b="b"/>
              <a:pathLst>
                <a:path w="2456815" h="356870">
                  <a:moveTo>
                    <a:pt x="2456474" y="0"/>
                  </a:moveTo>
                  <a:lnTo>
                    <a:pt x="0" y="0"/>
                  </a:lnTo>
                  <a:lnTo>
                    <a:pt x="0" y="356579"/>
                  </a:lnTo>
                  <a:lnTo>
                    <a:pt x="2456474" y="356579"/>
                  </a:lnTo>
                  <a:lnTo>
                    <a:pt x="2456474" y="352007"/>
                  </a:lnTo>
                  <a:lnTo>
                    <a:pt x="9144" y="352007"/>
                  </a:lnTo>
                  <a:lnTo>
                    <a:pt x="4572" y="347435"/>
                  </a:lnTo>
                  <a:lnTo>
                    <a:pt x="9144" y="347435"/>
                  </a:lnTo>
                  <a:lnTo>
                    <a:pt x="9144" y="10668"/>
                  </a:lnTo>
                  <a:lnTo>
                    <a:pt x="4572" y="10668"/>
                  </a:lnTo>
                  <a:lnTo>
                    <a:pt x="9144" y="6096"/>
                  </a:lnTo>
                  <a:lnTo>
                    <a:pt x="2456474" y="6096"/>
                  </a:lnTo>
                  <a:lnTo>
                    <a:pt x="2456474" y="0"/>
                  </a:lnTo>
                  <a:close/>
                </a:path>
                <a:path w="2456815" h="356870">
                  <a:moveTo>
                    <a:pt x="9144" y="347435"/>
                  </a:moveTo>
                  <a:lnTo>
                    <a:pt x="4572" y="347435"/>
                  </a:lnTo>
                  <a:lnTo>
                    <a:pt x="9144" y="352007"/>
                  </a:lnTo>
                  <a:lnTo>
                    <a:pt x="9144" y="347435"/>
                  </a:lnTo>
                  <a:close/>
                </a:path>
                <a:path w="2456815" h="356870">
                  <a:moveTo>
                    <a:pt x="2447330" y="347435"/>
                  </a:moveTo>
                  <a:lnTo>
                    <a:pt x="9144" y="347435"/>
                  </a:lnTo>
                  <a:lnTo>
                    <a:pt x="9144" y="352007"/>
                  </a:lnTo>
                  <a:lnTo>
                    <a:pt x="2447330" y="352007"/>
                  </a:lnTo>
                  <a:lnTo>
                    <a:pt x="2447330" y="347435"/>
                  </a:lnTo>
                  <a:close/>
                </a:path>
                <a:path w="2456815" h="356870">
                  <a:moveTo>
                    <a:pt x="2447330" y="6096"/>
                  </a:moveTo>
                  <a:lnTo>
                    <a:pt x="2447330" y="352007"/>
                  </a:lnTo>
                  <a:lnTo>
                    <a:pt x="2451902" y="347435"/>
                  </a:lnTo>
                  <a:lnTo>
                    <a:pt x="2456474" y="347435"/>
                  </a:lnTo>
                  <a:lnTo>
                    <a:pt x="2456474" y="10668"/>
                  </a:lnTo>
                  <a:lnTo>
                    <a:pt x="2451902" y="10668"/>
                  </a:lnTo>
                  <a:lnTo>
                    <a:pt x="2447330" y="6096"/>
                  </a:lnTo>
                  <a:close/>
                </a:path>
                <a:path w="2456815" h="356870">
                  <a:moveTo>
                    <a:pt x="2456474" y="347435"/>
                  </a:moveTo>
                  <a:lnTo>
                    <a:pt x="2451902" y="347435"/>
                  </a:lnTo>
                  <a:lnTo>
                    <a:pt x="2447330" y="352007"/>
                  </a:lnTo>
                  <a:lnTo>
                    <a:pt x="2456474" y="352007"/>
                  </a:lnTo>
                  <a:lnTo>
                    <a:pt x="2456474" y="347435"/>
                  </a:lnTo>
                  <a:close/>
                </a:path>
                <a:path w="2456815" h="356870">
                  <a:moveTo>
                    <a:pt x="9144" y="6096"/>
                  </a:moveTo>
                  <a:lnTo>
                    <a:pt x="4572" y="10668"/>
                  </a:lnTo>
                  <a:lnTo>
                    <a:pt x="9144" y="10668"/>
                  </a:lnTo>
                  <a:lnTo>
                    <a:pt x="9144" y="6096"/>
                  </a:lnTo>
                  <a:close/>
                </a:path>
                <a:path w="2456815" h="356870">
                  <a:moveTo>
                    <a:pt x="2447330" y="6096"/>
                  </a:moveTo>
                  <a:lnTo>
                    <a:pt x="9144" y="6096"/>
                  </a:lnTo>
                  <a:lnTo>
                    <a:pt x="9144" y="10668"/>
                  </a:lnTo>
                  <a:lnTo>
                    <a:pt x="2447330" y="10668"/>
                  </a:lnTo>
                  <a:lnTo>
                    <a:pt x="2447330" y="6096"/>
                  </a:lnTo>
                  <a:close/>
                </a:path>
                <a:path w="2456815" h="356870">
                  <a:moveTo>
                    <a:pt x="2456474" y="6096"/>
                  </a:moveTo>
                  <a:lnTo>
                    <a:pt x="2447330" y="6096"/>
                  </a:lnTo>
                  <a:lnTo>
                    <a:pt x="2451902" y="10668"/>
                  </a:lnTo>
                  <a:lnTo>
                    <a:pt x="2456474" y="10668"/>
                  </a:lnTo>
                  <a:lnTo>
                    <a:pt x="2456474" y="6096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7" name="object 127"/>
          <p:cNvSpPr txBox="1"/>
          <p:nvPr/>
        </p:nvSpPr>
        <p:spPr>
          <a:xfrm>
            <a:off x="6113693" y="4581484"/>
            <a:ext cx="1309370" cy="2686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Liberation Sans Narrow"/>
                <a:cs typeface="Liberation Sans Narrow"/>
              </a:rPr>
              <a:t>Quota type</a:t>
            </a:r>
            <a:r>
              <a:rPr sz="1600" spc="-80" dirty="0">
                <a:latin typeface="Liberation Sans Narrow"/>
                <a:cs typeface="Liberation Sans Narrow"/>
              </a:rPr>
              <a:t> </a:t>
            </a:r>
            <a:r>
              <a:rPr sz="1600" spc="-5" dirty="0">
                <a:latin typeface="Liberation Sans Narrow"/>
                <a:cs typeface="Liberation Sans Narrow"/>
              </a:rPr>
              <a:t>01-98</a:t>
            </a:r>
            <a:endParaRPr sz="1600" dirty="0">
              <a:latin typeface="Liberation Sans Narrow"/>
              <a:cs typeface="Liberation Sans Narrow"/>
            </a:endParaRPr>
          </a:p>
        </p:txBody>
      </p:sp>
      <p:grpSp>
        <p:nvGrpSpPr>
          <p:cNvPr id="128" name="object 128"/>
          <p:cNvGrpSpPr/>
          <p:nvPr/>
        </p:nvGrpSpPr>
        <p:grpSpPr>
          <a:xfrm>
            <a:off x="5557998" y="5369833"/>
            <a:ext cx="2458085" cy="355600"/>
            <a:chOff x="5567233" y="5780568"/>
            <a:chExt cx="2458085" cy="355600"/>
          </a:xfrm>
        </p:grpSpPr>
        <p:sp>
          <p:nvSpPr>
            <p:cNvPr id="129" name="object 129"/>
            <p:cNvSpPr/>
            <p:nvPr/>
          </p:nvSpPr>
          <p:spPr>
            <a:xfrm>
              <a:off x="5573328" y="5785140"/>
              <a:ext cx="2447925" cy="346075"/>
            </a:xfrm>
            <a:custGeom>
              <a:avLst/>
              <a:gdLst/>
              <a:ahLst/>
              <a:cxnLst/>
              <a:rect l="l" t="t" r="r" b="b"/>
              <a:pathLst>
                <a:path w="2447925" h="346075">
                  <a:moveTo>
                    <a:pt x="2447342" y="0"/>
                  </a:moveTo>
                  <a:lnTo>
                    <a:pt x="0" y="0"/>
                  </a:lnTo>
                  <a:lnTo>
                    <a:pt x="0" y="345911"/>
                  </a:lnTo>
                  <a:lnTo>
                    <a:pt x="2447342" y="345911"/>
                  </a:lnTo>
                  <a:lnTo>
                    <a:pt x="2447342" y="0"/>
                  </a:lnTo>
                  <a:close/>
                </a:path>
              </a:pathLst>
            </a:custGeom>
            <a:solidFill>
              <a:srgbClr val="FFCC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0" name="object 130"/>
            <p:cNvSpPr/>
            <p:nvPr/>
          </p:nvSpPr>
          <p:spPr>
            <a:xfrm>
              <a:off x="5567233" y="5780568"/>
              <a:ext cx="2458085" cy="355600"/>
            </a:xfrm>
            <a:custGeom>
              <a:avLst/>
              <a:gdLst/>
              <a:ahLst/>
              <a:cxnLst/>
              <a:rect l="l" t="t" r="r" b="b"/>
              <a:pathLst>
                <a:path w="2458084" h="355600">
                  <a:moveTo>
                    <a:pt x="2457998" y="0"/>
                  </a:moveTo>
                  <a:lnTo>
                    <a:pt x="0" y="0"/>
                  </a:lnTo>
                  <a:lnTo>
                    <a:pt x="0" y="355055"/>
                  </a:lnTo>
                  <a:lnTo>
                    <a:pt x="2457998" y="355055"/>
                  </a:lnTo>
                  <a:lnTo>
                    <a:pt x="2457998" y="350483"/>
                  </a:lnTo>
                  <a:lnTo>
                    <a:pt x="10668" y="350483"/>
                  </a:lnTo>
                  <a:lnTo>
                    <a:pt x="6096" y="345911"/>
                  </a:lnTo>
                  <a:lnTo>
                    <a:pt x="10668" y="345911"/>
                  </a:lnTo>
                  <a:lnTo>
                    <a:pt x="10668" y="9144"/>
                  </a:lnTo>
                  <a:lnTo>
                    <a:pt x="6096" y="9144"/>
                  </a:lnTo>
                  <a:lnTo>
                    <a:pt x="10668" y="4572"/>
                  </a:lnTo>
                  <a:lnTo>
                    <a:pt x="2457998" y="4572"/>
                  </a:lnTo>
                  <a:lnTo>
                    <a:pt x="2457998" y="0"/>
                  </a:lnTo>
                  <a:close/>
                </a:path>
                <a:path w="2458084" h="355600">
                  <a:moveTo>
                    <a:pt x="10668" y="345911"/>
                  </a:moveTo>
                  <a:lnTo>
                    <a:pt x="6096" y="345911"/>
                  </a:lnTo>
                  <a:lnTo>
                    <a:pt x="10668" y="350483"/>
                  </a:lnTo>
                  <a:lnTo>
                    <a:pt x="10668" y="345911"/>
                  </a:lnTo>
                  <a:close/>
                </a:path>
                <a:path w="2458084" h="355600">
                  <a:moveTo>
                    <a:pt x="2448854" y="345911"/>
                  </a:moveTo>
                  <a:lnTo>
                    <a:pt x="10668" y="345911"/>
                  </a:lnTo>
                  <a:lnTo>
                    <a:pt x="10668" y="350483"/>
                  </a:lnTo>
                  <a:lnTo>
                    <a:pt x="2448854" y="350483"/>
                  </a:lnTo>
                  <a:lnTo>
                    <a:pt x="2448854" y="345911"/>
                  </a:lnTo>
                  <a:close/>
                </a:path>
                <a:path w="2458084" h="355600">
                  <a:moveTo>
                    <a:pt x="2448854" y="4572"/>
                  </a:moveTo>
                  <a:lnTo>
                    <a:pt x="2448854" y="350483"/>
                  </a:lnTo>
                  <a:lnTo>
                    <a:pt x="2453426" y="345911"/>
                  </a:lnTo>
                  <a:lnTo>
                    <a:pt x="2457998" y="345911"/>
                  </a:lnTo>
                  <a:lnTo>
                    <a:pt x="2457998" y="9144"/>
                  </a:lnTo>
                  <a:lnTo>
                    <a:pt x="2453426" y="9144"/>
                  </a:lnTo>
                  <a:lnTo>
                    <a:pt x="2448854" y="4572"/>
                  </a:lnTo>
                  <a:close/>
                </a:path>
                <a:path w="2458084" h="355600">
                  <a:moveTo>
                    <a:pt x="2457998" y="345911"/>
                  </a:moveTo>
                  <a:lnTo>
                    <a:pt x="2453426" y="345911"/>
                  </a:lnTo>
                  <a:lnTo>
                    <a:pt x="2448854" y="350483"/>
                  </a:lnTo>
                  <a:lnTo>
                    <a:pt x="2457998" y="350483"/>
                  </a:lnTo>
                  <a:lnTo>
                    <a:pt x="2457998" y="345911"/>
                  </a:lnTo>
                  <a:close/>
                </a:path>
                <a:path w="2458084" h="355600">
                  <a:moveTo>
                    <a:pt x="10668" y="4572"/>
                  </a:moveTo>
                  <a:lnTo>
                    <a:pt x="6096" y="9144"/>
                  </a:lnTo>
                  <a:lnTo>
                    <a:pt x="10668" y="9144"/>
                  </a:lnTo>
                  <a:lnTo>
                    <a:pt x="10668" y="4572"/>
                  </a:lnTo>
                  <a:close/>
                </a:path>
                <a:path w="2458084" h="355600">
                  <a:moveTo>
                    <a:pt x="2448854" y="4572"/>
                  </a:moveTo>
                  <a:lnTo>
                    <a:pt x="10668" y="4572"/>
                  </a:lnTo>
                  <a:lnTo>
                    <a:pt x="10668" y="9144"/>
                  </a:lnTo>
                  <a:lnTo>
                    <a:pt x="2448854" y="9144"/>
                  </a:lnTo>
                  <a:lnTo>
                    <a:pt x="2448854" y="4572"/>
                  </a:lnTo>
                  <a:close/>
                </a:path>
                <a:path w="2458084" h="355600">
                  <a:moveTo>
                    <a:pt x="2457998" y="4572"/>
                  </a:moveTo>
                  <a:lnTo>
                    <a:pt x="2448854" y="4572"/>
                  </a:lnTo>
                  <a:lnTo>
                    <a:pt x="2453426" y="9144"/>
                  </a:lnTo>
                  <a:lnTo>
                    <a:pt x="2457998" y="9144"/>
                  </a:lnTo>
                  <a:lnTo>
                    <a:pt x="2457998" y="4572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1" name="object 131"/>
          <p:cNvSpPr txBox="1"/>
          <p:nvPr/>
        </p:nvSpPr>
        <p:spPr>
          <a:xfrm>
            <a:off x="5564093" y="5400313"/>
            <a:ext cx="2447925" cy="320040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514984">
              <a:lnSpc>
                <a:spcPct val="100000"/>
              </a:lnSpc>
              <a:spcBef>
                <a:spcPts val="114"/>
              </a:spcBef>
            </a:pPr>
            <a:r>
              <a:rPr sz="1600" spc="-5" dirty="0">
                <a:latin typeface="Liberation Sans Narrow"/>
                <a:cs typeface="Liberation Sans Narrow"/>
              </a:rPr>
              <a:t>Quotas</a:t>
            </a:r>
            <a:r>
              <a:rPr sz="1600" spc="325" dirty="0">
                <a:latin typeface="Liberation Sans Narrow"/>
                <a:cs typeface="Liberation Sans Narrow"/>
              </a:rPr>
              <a:t> </a:t>
            </a:r>
            <a:r>
              <a:rPr sz="1600" spc="-5" dirty="0">
                <a:latin typeface="Liberation Sans Narrow"/>
                <a:cs typeface="Liberation Sans Narrow"/>
              </a:rPr>
              <a:t>2006/2007</a:t>
            </a:r>
            <a:endParaRPr sz="1600" dirty="0">
              <a:latin typeface="Liberation Sans Narrow"/>
              <a:cs typeface="Liberation Sans Narrow"/>
            </a:endParaRPr>
          </a:p>
        </p:txBody>
      </p:sp>
      <p:grpSp>
        <p:nvGrpSpPr>
          <p:cNvPr id="132" name="object 132"/>
          <p:cNvGrpSpPr/>
          <p:nvPr/>
        </p:nvGrpSpPr>
        <p:grpSpPr>
          <a:xfrm>
            <a:off x="1039706" y="3481744"/>
            <a:ext cx="8110220" cy="1187450"/>
            <a:chOff x="1048941" y="3892479"/>
            <a:chExt cx="8110220" cy="1187450"/>
          </a:xfrm>
        </p:grpSpPr>
        <p:sp>
          <p:nvSpPr>
            <p:cNvPr id="133" name="object 133"/>
            <p:cNvSpPr/>
            <p:nvPr/>
          </p:nvSpPr>
          <p:spPr>
            <a:xfrm>
              <a:off x="1061133" y="3892479"/>
              <a:ext cx="2031364" cy="239395"/>
            </a:xfrm>
            <a:custGeom>
              <a:avLst/>
              <a:gdLst/>
              <a:ahLst/>
              <a:cxnLst/>
              <a:rect l="l" t="t" r="r" b="b"/>
              <a:pathLst>
                <a:path w="2031364" h="239395">
                  <a:moveTo>
                    <a:pt x="2031336" y="0"/>
                  </a:moveTo>
                  <a:lnTo>
                    <a:pt x="0" y="0"/>
                  </a:lnTo>
                  <a:lnTo>
                    <a:pt x="0" y="131063"/>
                  </a:lnTo>
                  <a:lnTo>
                    <a:pt x="8548" y="173040"/>
                  </a:lnTo>
                  <a:lnTo>
                    <a:pt x="31811" y="207439"/>
                  </a:lnTo>
                  <a:lnTo>
                    <a:pt x="66217" y="230693"/>
                  </a:lnTo>
                  <a:lnTo>
                    <a:pt x="108191" y="239237"/>
                  </a:lnTo>
                  <a:lnTo>
                    <a:pt x="1924644" y="239237"/>
                  </a:lnTo>
                  <a:lnTo>
                    <a:pt x="1966389" y="230693"/>
                  </a:lnTo>
                  <a:lnTo>
                    <a:pt x="2000278" y="207439"/>
                  </a:lnTo>
                  <a:lnTo>
                    <a:pt x="2023024" y="173040"/>
                  </a:lnTo>
                  <a:lnTo>
                    <a:pt x="2031336" y="131063"/>
                  </a:lnTo>
                  <a:lnTo>
                    <a:pt x="2031336" y="0"/>
                  </a:lnTo>
                  <a:close/>
                </a:path>
              </a:pathLst>
            </a:custGeom>
            <a:solidFill>
              <a:srgbClr val="B7EAF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4" name="object 134"/>
            <p:cNvSpPr/>
            <p:nvPr/>
          </p:nvSpPr>
          <p:spPr>
            <a:xfrm>
              <a:off x="1048941" y="3892479"/>
              <a:ext cx="2057400" cy="251460"/>
            </a:xfrm>
            <a:custGeom>
              <a:avLst/>
              <a:gdLst/>
              <a:ahLst/>
              <a:cxnLst/>
              <a:rect l="l" t="t" r="r" b="b"/>
              <a:pathLst>
                <a:path w="2057400" h="251460">
                  <a:moveTo>
                    <a:pt x="24384" y="0"/>
                  </a:moveTo>
                  <a:lnTo>
                    <a:pt x="0" y="0"/>
                  </a:lnTo>
                  <a:lnTo>
                    <a:pt x="0" y="144779"/>
                  </a:lnTo>
                  <a:lnTo>
                    <a:pt x="21336" y="199643"/>
                  </a:lnTo>
                  <a:lnTo>
                    <a:pt x="53340" y="231617"/>
                  </a:lnTo>
                  <a:lnTo>
                    <a:pt x="95999" y="249905"/>
                  </a:lnTo>
                  <a:lnTo>
                    <a:pt x="108191" y="251429"/>
                  </a:lnTo>
                  <a:lnTo>
                    <a:pt x="1950552" y="251429"/>
                  </a:lnTo>
                  <a:lnTo>
                    <a:pt x="1961220" y="248381"/>
                  </a:lnTo>
                  <a:lnTo>
                    <a:pt x="1973412" y="245333"/>
                  </a:lnTo>
                  <a:lnTo>
                    <a:pt x="1984080" y="242285"/>
                  </a:lnTo>
                  <a:lnTo>
                    <a:pt x="1994748" y="236189"/>
                  </a:lnTo>
                  <a:lnTo>
                    <a:pt x="2010762" y="225551"/>
                  </a:lnTo>
                  <a:lnTo>
                    <a:pt x="109715" y="225551"/>
                  </a:lnTo>
                  <a:lnTo>
                    <a:pt x="100571" y="224027"/>
                  </a:lnTo>
                  <a:lnTo>
                    <a:pt x="51816" y="198119"/>
                  </a:lnTo>
                  <a:lnTo>
                    <a:pt x="28956" y="158495"/>
                  </a:lnTo>
                  <a:lnTo>
                    <a:pt x="24384" y="131063"/>
                  </a:lnTo>
                  <a:lnTo>
                    <a:pt x="24384" y="0"/>
                  </a:lnTo>
                  <a:close/>
                </a:path>
                <a:path w="2057400" h="251460">
                  <a:moveTo>
                    <a:pt x="2057244" y="0"/>
                  </a:moveTo>
                  <a:lnTo>
                    <a:pt x="2031336" y="0"/>
                  </a:lnTo>
                  <a:lnTo>
                    <a:pt x="2031336" y="141731"/>
                  </a:lnTo>
                  <a:lnTo>
                    <a:pt x="2029812" y="150875"/>
                  </a:lnTo>
                  <a:lnTo>
                    <a:pt x="2010000" y="192023"/>
                  </a:lnTo>
                  <a:lnTo>
                    <a:pt x="1973412" y="219455"/>
                  </a:lnTo>
                  <a:lnTo>
                    <a:pt x="1945980" y="225551"/>
                  </a:lnTo>
                  <a:lnTo>
                    <a:pt x="2010762" y="225551"/>
                  </a:lnTo>
                  <a:lnTo>
                    <a:pt x="2013048" y="224027"/>
                  </a:lnTo>
                  <a:lnTo>
                    <a:pt x="2022192" y="216407"/>
                  </a:lnTo>
                  <a:lnTo>
                    <a:pt x="2037432" y="198119"/>
                  </a:lnTo>
                  <a:lnTo>
                    <a:pt x="2042004" y="188975"/>
                  </a:lnTo>
                  <a:lnTo>
                    <a:pt x="2048100" y="178307"/>
                  </a:lnTo>
                  <a:lnTo>
                    <a:pt x="2051148" y="166115"/>
                  </a:lnTo>
                  <a:lnTo>
                    <a:pt x="2054196" y="155447"/>
                  </a:lnTo>
                  <a:lnTo>
                    <a:pt x="2057244" y="131063"/>
                  </a:lnTo>
                  <a:lnTo>
                    <a:pt x="2057244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5" name="object 135"/>
            <p:cNvSpPr/>
            <p:nvPr/>
          </p:nvSpPr>
          <p:spPr>
            <a:xfrm>
              <a:off x="7113970" y="3892479"/>
              <a:ext cx="2031364" cy="239395"/>
            </a:xfrm>
            <a:custGeom>
              <a:avLst/>
              <a:gdLst/>
              <a:ahLst/>
              <a:cxnLst/>
              <a:rect l="l" t="t" r="r" b="b"/>
              <a:pathLst>
                <a:path w="2031365" h="239395">
                  <a:moveTo>
                    <a:pt x="2031309" y="0"/>
                  </a:moveTo>
                  <a:lnTo>
                    <a:pt x="0" y="0"/>
                  </a:lnTo>
                  <a:lnTo>
                    <a:pt x="0" y="131063"/>
                  </a:lnTo>
                  <a:lnTo>
                    <a:pt x="8520" y="173040"/>
                  </a:lnTo>
                  <a:lnTo>
                    <a:pt x="31607" y="207439"/>
                  </a:lnTo>
                  <a:lnTo>
                    <a:pt x="65553" y="230693"/>
                  </a:lnTo>
                  <a:lnTo>
                    <a:pt x="106649" y="239237"/>
                  </a:lnTo>
                  <a:lnTo>
                    <a:pt x="1924629" y="239237"/>
                  </a:lnTo>
                  <a:lnTo>
                    <a:pt x="1966372" y="230693"/>
                  </a:lnTo>
                  <a:lnTo>
                    <a:pt x="2000257" y="207439"/>
                  </a:lnTo>
                  <a:lnTo>
                    <a:pt x="2022998" y="173040"/>
                  </a:lnTo>
                  <a:lnTo>
                    <a:pt x="2031309" y="131063"/>
                  </a:lnTo>
                  <a:lnTo>
                    <a:pt x="2031309" y="0"/>
                  </a:lnTo>
                  <a:close/>
                </a:path>
              </a:pathLst>
            </a:custGeom>
            <a:solidFill>
              <a:srgbClr val="B7EAF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6" name="object 136"/>
            <p:cNvSpPr/>
            <p:nvPr/>
          </p:nvSpPr>
          <p:spPr>
            <a:xfrm>
              <a:off x="7101779" y="3892479"/>
              <a:ext cx="2057400" cy="251460"/>
            </a:xfrm>
            <a:custGeom>
              <a:avLst/>
              <a:gdLst/>
              <a:ahLst/>
              <a:cxnLst/>
              <a:rect l="l" t="t" r="r" b="b"/>
              <a:pathLst>
                <a:path w="2057400" h="251460">
                  <a:moveTo>
                    <a:pt x="24384" y="0"/>
                  </a:moveTo>
                  <a:lnTo>
                    <a:pt x="0" y="0"/>
                  </a:lnTo>
                  <a:lnTo>
                    <a:pt x="0" y="144779"/>
                  </a:lnTo>
                  <a:lnTo>
                    <a:pt x="13716" y="188975"/>
                  </a:lnTo>
                  <a:lnTo>
                    <a:pt x="53309" y="231617"/>
                  </a:lnTo>
                  <a:lnTo>
                    <a:pt x="95981" y="249905"/>
                  </a:lnTo>
                  <a:lnTo>
                    <a:pt x="108173" y="251429"/>
                  </a:lnTo>
                  <a:lnTo>
                    <a:pt x="1949013" y="251429"/>
                  </a:lnTo>
                  <a:lnTo>
                    <a:pt x="1973397" y="245333"/>
                  </a:lnTo>
                  <a:lnTo>
                    <a:pt x="1984065" y="242285"/>
                  </a:lnTo>
                  <a:lnTo>
                    <a:pt x="1994733" y="236189"/>
                  </a:lnTo>
                  <a:lnTo>
                    <a:pt x="2010729" y="225551"/>
                  </a:lnTo>
                  <a:lnTo>
                    <a:pt x="109697" y="225551"/>
                  </a:lnTo>
                  <a:lnTo>
                    <a:pt x="100553" y="224027"/>
                  </a:lnTo>
                  <a:lnTo>
                    <a:pt x="82265" y="217931"/>
                  </a:lnTo>
                  <a:lnTo>
                    <a:pt x="74645" y="214883"/>
                  </a:lnTo>
                  <a:lnTo>
                    <a:pt x="65501" y="210311"/>
                  </a:lnTo>
                  <a:lnTo>
                    <a:pt x="59405" y="204215"/>
                  </a:lnTo>
                  <a:lnTo>
                    <a:pt x="51785" y="198119"/>
                  </a:lnTo>
                  <a:lnTo>
                    <a:pt x="28925" y="158495"/>
                  </a:lnTo>
                  <a:lnTo>
                    <a:pt x="25908" y="140207"/>
                  </a:lnTo>
                  <a:lnTo>
                    <a:pt x="24384" y="131063"/>
                  </a:lnTo>
                  <a:lnTo>
                    <a:pt x="24384" y="0"/>
                  </a:lnTo>
                  <a:close/>
                </a:path>
                <a:path w="2057400" h="251460">
                  <a:moveTo>
                    <a:pt x="2057217" y="0"/>
                  </a:moveTo>
                  <a:lnTo>
                    <a:pt x="2031309" y="0"/>
                  </a:lnTo>
                  <a:lnTo>
                    <a:pt x="2031309" y="141731"/>
                  </a:lnTo>
                  <a:lnTo>
                    <a:pt x="2029785" y="150875"/>
                  </a:lnTo>
                  <a:lnTo>
                    <a:pt x="2009973" y="192023"/>
                  </a:lnTo>
                  <a:lnTo>
                    <a:pt x="1973397" y="219455"/>
                  </a:lnTo>
                  <a:lnTo>
                    <a:pt x="1945965" y="225551"/>
                  </a:lnTo>
                  <a:lnTo>
                    <a:pt x="2010729" y="225551"/>
                  </a:lnTo>
                  <a:lnTo>
                    <a:pt x="2041977" y="188975"/>
                  </a:lnTo>
                  <a:lnTo>
                    <a:pt x="2051121" y="166115"/>
                  </a:lnTo>
                  <a:lnTo>
                    <a:pt x="2054169" y="155447"/>
                  </a:lnTo>
                  <a:lnTo>
                    <a:pt x="2057217" y="131063"/>
                  </a:lnTo>
                  <a:lnTo>
                    <a:pt x="2057217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7" name="object 137"/>
            <p:cNvSpPr/>
            <p:nvPr/>
          </p:nvSpPr>
          <p:spPr>
            <a:xfrm>
              <a:off x="3950391" y="4460900"/>
              <a:ext cx="2118360" cy="605155"/>
            </a:xfrm>
            <a:custGeom>
              <a:avLst/>
              <a:gdLst/>
              <a:ahLst/>
              <a:cxnLst/>
              <a:rect l="l" t="t" r="r" b="b"/>
              <a:pathLst>
                <a:path w="2118360" h="605154">
                  <a:moveTo>
                    <a:pt x="1059088" y="0"/>
                  </a:moveTo>
                  <a:lnTo>
                    <a:pt x="989427" y="644"/>
                  </a:lnTo>
                  <a:lnTo>
                    <a:pt x="920972" y="2550"/>
                  </a:lnTo>
                  <a:lnTo>
                    <a:pt x="853864" y="5679"/>
                  </a:lnTo>
                  <a:lnTo>
                    <a:pt x="788241" y="9990"/>
                  </a:lnTo>
                  <a:lnTo>
                    <a:pt x="724243" y="15444"/>
                  </a:lnTo>
                  <a:lnTo>
                    <a:pt x="662010" y="22000"/>
                  </a:lnTo>
                  <a:lnTo>
                    <a:pt x="601679" y="29620"/>
                  </a:lnTo>
                  <a:lnTo>
                    <a:pt x="543392" y="38264"/>
                  </a:lnTo>
                  <a:lnTo>
                    <a:pt x="487286" y="47891"/>
                  </a:lnTo>
                  <a:lnTo>
                    <a:pt x="433502" y="58461"/>
                  </a:lnTo>
                  <a:lnTo>
                    <a:pt x="382178" y="69936"/>
                  </a:lnTo>
                  <a:lnTo>
                    <a:pt x="333454" y="82276"/>
                  </a:lnTo>
                  <a:lnTo>
                    <a:pt x="287469" y="95439"/>
                  </a:lnTo>
                  <a:lnTo>
                    <a:pt x="244363" y="109388"/>
                  </a:lnTo>
                  <a:lnTo>
                    <a:pt x="204274" y="124081"/>
                  </a:lnTo>
                  <a:lnTo>
                    <a:pt x="167342" y="139480"/>
                  </a:lnTo>
                  <a:lnTo>
                    <a:pt x="103506" y="172234"/>
                  </a:lnTo>
                  <a:lnTo>
                    <a:pt x="53970" y="207332"/>
                  </a:lnTo>
                  <a:lnTo>
                    <a:pt x="19847" y="244455"/>
                  </a:lnTo>
                  <a:lnTo>
                    <a:pt x="2251" y="283286"/>
                  </a:lnTo>
                  <a:lnTo>
                    <a:pt x="0" y="303242"/>
                  </a:lnTo>
                  <a:lnTo>
                    <a:pt x="2442" y="323839"/>
                  </a:lnTo>
                  <a:lnTo>
                    <a:pt x="21507" y="363897"/>
                  </a:lnTo>
                  <a:lnTo>
                    <a:pt x="58430" y="402137"/>
                  </a:lnTo>
                  <a:lnTo>
                    <a:pt x="111952" y="438195"/>
                  </a:lnTo>
                  <a:lnTo>
                    <a:pt x="180813" y="471705"/>
                  </a:lnTo>
                  <a:lnTo>
                    <a:pt x="220602" y="487391"/>
                  </a:lnTo>
                  <a:lnTo>
                    <a:pt x="263754" y="502303"/>
                  </a:lnTo>
                  <a:lnTo>
                    <a:pt x="310111" y="516395"/>
                  </a:lnTo>
                  <a:lnTo>
                    <a:pt x="359515" y="529622"/>
                  </a:lnTo>
                  <a:lnTo>
                    <a:pt x="411810" y="541938"/>
                  </a:lnTo>
                  <a:lnTo>
                    <a:pt x="466838" y="553298"/>
                  </a:lnTo>
                  <a:lnTo>
                    <a:pt x="524441" y="563656"/>
                  </a:lnTo>
                  <a:lnTo>
                    <a:pt x="584462" y="572966"/>
                  </a:lnTo>
                  <a:lnTo>
                    <a:pt x="646743" y="581183"/>
                  </a:lnTo>
                  <a:lnTo>
                    <a:pt x="711128" y="588261"/>
                  </a:lnTo>
                  <a:lnTo>
                    <a:pt x="777458" y="594154"/>
                  </a:lnTo>
                  <a:lnTo>
                    <a:pt x="845577" y="598818"/>
                  </a:lnTo>
                  <a:lnTo>
                    <a:pt x="915326" y="602205"/>
                  </a:lnTo>
                  <a:lnTo>
                    <a:pt x="986549" y="604271"/>
                  </a:lnTo>
                  <a:lnTo>
                    <a:pt x="1059088" y="604970"/>
                  </a:lnTo>
                  <a:lnTo>
                    <a:pt x="1131456" y="604271"/>
                  </a:lnTo>
                  <a:lnTo>
                    <a:pt x="1202536" y="602205"/>
                  </a:lnTo>
                  <a:lnTo>
                    <a:pt x="1272171" y="598818"/>
                  </a:lnTo>
                  <a:lnTo>
                    <a:pt x="1340199" y="594154"/>
                  </a:lnTo>
                  <a:lnTo>
                    <a:pt x="1406463" y="588261"/>
                  </a:lnTo>
                  <a:lnTo>
                    <a:pt x="1470803" y="581183"/>
                  </a:lnTo>
                  <a:lnTo>
                    <a:pt x="1533059" y="572966"/>
                  </a:lnTo>
                  <a:lnTo>
                    <a:pt x="1593072" y="563656"/>
                  </a:lnTo>
                  <a:lnTo>
                    <a:pt x="1650682" y="553298"/>
                  </a:lnTo>
                  <a:lnTo>
                    <a:pt x="1705731" y="541938"/>
                  </a:lnTo>
                  <a:lnTo>
                    <a:pt x="1758058" y="529622"/>
                  </a:lnTo>
                  <a:lnTo>
                    <a:pt x="1807505" y="516395"/>
                  </a:lnTo>
                  <a:lnTo>
                    <a:pt x="1853913" y="502303"/>
                  </a:lnTo>
                  <a:lnTo>
                    <a:pt x="1897120" y="487391"/>
                  </a:lnTo>
                  <a:lnTo>
                    <a:pt x="1936970" y="471705"/>
                  </a:lnTo>
                  <a:lnTo>
                    <a:pt x="1973301" y="455292"/>
                  </a:lnTo>
                  <a:lnTo>
                    <a:pt x="2034771" y="420462"/>
                  </a:lnTo>
                  <a:lnTo>
                    <a:pt x="2080258" y="383267"/>
                  </a:lnTo>
                  <a:lnTo>
                    <a:pt x="2108484" y="344072"/>
                  </a:lnTo>
                  <a:lnTo>
                    <a:pt x="2118177" y="303242"/>
                  </a:lnTo>
                  <a:lnTo>
                    <a:pt x="2115918" y="283286"/>
                  </a:lnTo>
                  <a:lnTo>
                    <a:pt x="2098273" y="244455"/>
                  </a:lnTo>
                  <a:lnTo>
                    <a:pt x="2064063" y="207332"/>
                  </a:lnTo>
                  <a:lnTo>
                    <a:pt x="2014417" y="172234"/>
                  </a:lnTo>
                  <a:lnTo>
                    <a:pt x="1950462" y="139480"/>
                  </a:lnTo>
                  <a:lnTo>
                    <a:pt x="1913472" y="124081"/>
                  </a:lnTo>
                  <a:lnTo>
                    <a:pt x="1873328" y="109388"/>
                  </a:lnTo>
                  <a:lnTo>
                    <a:pt x="1830170" y="95439"/>
                  </a:lnTo>
                  <a:lnTo>
                    <a:pt x="1784140" y="82276"/>
                  </a:lnTo>
                  <a:lnTo>
                    <a:pt x="1735380" y="69936"/>
                  </a:lnTo>
                  <a:lnTo>
                    <a:pt x="1684029" y="58461"/>
                  </a:lnTo>
                  <a:lnTo>
                    <a:pt x="1630229" y="47891"/>
                  </a:lnTo>
                  <a:lnTo>
                    <a:pt x="1574121" y="38264"/>
                  </a:lnTo>
                  <a:lnTo>
                    <a:pt x="1515846" y="29620"/>
                  </a:lnTo>
                  <a:lnTo>
                    <a:pt x="1455545" y="22000"/>
                  </a:lnTo>
                  <a:lnTo>
                    <a:pt x="1393359" y="15444"/>
                  </a:lnTo>
                  <a:lnTo>
                    <a:pt x="1329429" y="9990"/>
                  </a:lnTo>
                  <a:lnTo>
                    <a:pt x="1263896" y="5679"/>
                  </a:lnTo>
                  <a:lnTo>
                    <a:pt x="1196901" y="2550"/>
                  </a:lnTo>
                  <a:lnTo>
                    <a:pt x="1128584" y="644"/>
                  </a:lnTo>
                  <a:lnTo>
                    <a:pt x="1059088" y="0"/>
                  </a:lnTo>
                  <a:close/>
                </a:path>
              </a:pathLst>
            </a:custGeom>
            <a:solidFill>
              <a:srgbClr val="A5E2C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8" name="object 138"/>
            <p:cNvSpPr/>
            <p:nvPr/>
          </p:nvSpPr>
          <p:spPr>
            <a:xfrm>
              <a:off x="3938198" y="4449666"/>
              <a:ext cx="2143125" cy="629920"/>
            </a:xfrm>
            <a:custGeom>
              <a:avLst/>
              <a:gdLst/>
              <a:ahLst/>
              <a:cxnLst/>
              <a:rect l="l" t="t" r="r" b="b"/>
              <a:pathLst>
                <a:path w="2143125" h="629920">
                  <a:moveTo>
                    <a:pt x="1063442" y="629738"/>
                  </a:moveTo>
                  <a:lnTo>
                    <a:pt x="1063660" y="629920"/>
                  </a:lnTo>
                  <a:lnTo>
                    <a:pt x="1071280" y="629920"/>
                  </a:lnTo>
                  <a:lnTo>
                    <a:pt x="1063442" y="629738"/>
                  </a:lnTo>
                  <a:close/>
                </a:path>
                <a:path w="2143125" h="629920">
                  <a:moveTo>
                    <a:pt x="1071280" y="604520"/>
                  </a:moveTo>
                  <a:lnTo>
                    <a:pt x="1063660" y="604520"/>
                  </a:lnTo>
                  <a:lnTo>
                    <a:pt x="1057564" y="610870"/>
                  </a:lnTo>
                  <a:lnTo>
                    <a:pt x="1057564" y="624840"/>
                  </a:lnTo>
                  <a:lnTo>
                    <a:pt x="1063442" y="629738"/>
                  </a:lnTo>
                  <a:lnTo>
                    <a:pt x="1071280" y="629920"/>
                  </a:lnTo>
                  <a:lnTo>
                    <a:pt x="1071280" y="604520"/>
                  </a:lnTo>
                  <a:close/>
                </a:path>
                <a:path w="2143125" h="629920">
                  <a:moveTo>
                    <a:pt x="1077376" y="604520"/>
                  </a:moveTo>
                  <a:lnTo>
                    <a:pt x="1071280" y="604520"/>
                  </a:lnTo>
                  <a:lnTo>
                    <a:pt x="1071280" y="629920"/>
                  </a:lnTo>
                  <a:lnTo>
                    <a:pt x="1077550" y="629774"/>
                  </a:lnTo>
                  <a:lnTo>
                    <a:pt x="1083472" y="624840"/>
                  </a:lnTo>
                  <a:lnTo>
                    <a:pt x="1083472" y="610870"/>
                  </a:lnTo>
                  <a:lnTo>
                    <a:pt x="1077376" y="604520"/>
                  </a:lnTo>
                  <a:close/>
                </a:path>
                <a:path w="2143125" h="629920">
                  <a:moveTo>
                    <a:pt x="1077550" y="629774"/>
                  </a:moveTo>
                  <a:lnTo>
                    <a:pt x="1071280" y="629920"/>
                  </a:lnTo>
                  <a:lnTo>
                    <a:pt x="1077376" y="629920"/>
                  </a:lnTo>
                  <a:lnTo>
                    <a:pt x="1077550" y="629774"/>
                  </a:lnTo>
                  <a:close/>
                </a:path>
                <a:path w="2143125" h="629920">
                  <a:moveTo>
                    <a:pt x="1445239" y="19050"/>
                  </a:moveTo>
                  <a:lnTo>
                    <a:pt x="1060612" y="19050"/>
                  </a:lnTo>
                  <a:lnTo>
                    <a:pt x="1071280" y="25400"/>
                  </a:lnTo>
                  <a:lnTo>
                    <a:pt x="1124620" y="25400"/>
                  </a:lnTo>
                  <a:lnTo>
                    <a:pt x="1179484" y="26670"/>
                  </a:lnTo>
                  <a:lnTo>
                    <a:pt x="1334902" y="34290"/>
                  </a:lnTo>
                  <a:lnTo>
                    <a:pt x="1433962" y="44450"/>
                  </a:lnTo>
                  <a:lnTo>
                    <a:pt x="1481206" y="48260"/>
                  </a:lnTo>
                  <a:lnTo>
                    <a:pt x="1528450" y="54610"/>
                  </a:lnTo>
                  <a:lnTo>
                    <a:pt x="1574170" y="62230"/>
                  </a:lnTo>
                  <a:lnTo>
                    <a:pt x="1618366" y="68580"/>
                  </a:lnTo>
                  <a:lnTo>
                    <a:pt x="1661038" y="76200"/>
                  </a:lnTo>
                  <a:lnTo>
                    <a:pt x="1702186" y="85090"/>
                  </a:lnTo>
                  <a:lnTo>
                    <a:pt x="1779879" y="102870"/>
                  </a:lnTo>
                  <a:lnTo>
                    <a:pt x="1816455" y="114300"/>
                  </a:lnTo>
                  <a:lnTo>
                    <a:pt x="1851507" y="123190"/>
                  </a:lnTo>
                  <a:lnTo>
                    <a:pt x="1883511" y="135890"/>
                  </a:lnTo>
                  <a:lnTo>
                    <a:pt x="1915515" y="146050"/>
                  </a:lnTo>
                  <a:lnTo>
                    <a:pt x="1944471" y="158750"/>
                  </a:lnTo>
                  <a:lnTo>
                    <a:pt x="1971903" y="170180"/>
                  </a:lnTo>
                  <a:lnTo>
                    <a:pt x="1996287" y="182880"/>
                  </a:lnTo>
                  <a:lnTo>
                    <a:pt x="2019147" y="194310"/>
                  </a:lnTo>
                  <a:lnTo>
                    <a:pt x="2040483" y="208280"/>
                  </a:lnTo>
                  <a:lnTo>
                    <a:pt x="2049597" y="214630"/>
                  </a:lnTo>
                  <a:lnTo>
                    <a:pt x="2073981" y="234950"/>
                  </a:lnTo>
                  <a:lnTo>
                    <a:pt x="2080077" y="242570"/>
                  </a:lnTo>
                  <a:lnTo>
                    <a:pt x="2087697" y="247650"/>
                  </a:lnTo>
                  <a:lnTo>
                    <a:pt x="2092269" y="254000"/>
                  </a:lnTo>
                  <a:lnTo>
                    <a:pt x="2098365" y="261620"/>
                  </a:lnTo>
                  <a:lnTo>
                    <a:pt x="2102937" y="267970"/>
                  </a:lnTo>
                  <a:lnTo>
                    <a:pt x="2105985" y="275590"/>
                  </a:lnTo>
                  <a:lnTo>
                    <a:pt x="2110557" y="281940"/>
                  </a:lnTo>
                  <a:lnTo>
                    <a:pt x="2112081" y="289560"/>
                  </a:lnTo>
                  <a:lnTo>
                    <a:pt x="2115129" y="295910"/>
                  </a:lnTo>
                  <a:lnTo>
                    <a:pt x="2115129" y="300990"/>
                  </a:lnTo>
                  <a:lnTo>
                    <a:pt x="2116653" y="308610"/>
                  </a:lnTo>
                  <a:lnTo>
                    <a:pt x="2116653" y="322580"/>
                  </a:lnTo>
                  <a:lnTo>
                    <a:pt x="2113605" y="335280"/>
                  </a:lnTo>
                  <a:lnTo>
                    <a:pt x="2112081" y="342900"/>
                  </a:lnTo>
                  <a:lnTo>
                    <a:pt x="2105985" y="354330"/>
                  </a:lnTo>
                  <a:lnTo>
                    <a:pt x="2102937" y="361950"/>
                  </a:lnTo>
                  <a:lnTo>
                    <a:pt x="2098365" y="368300"/>
                  </a:lnTo>
                  <a:lnTo>
                    <a:pt x="2092269" y="375920"/>
                  </a:lnTo>
                  <a:lnTo>
                    <a:pt x="2080077" y="388620"/>
                  </a:lnTo>
                  <a:lnTo>
                    <a:pt x="2073981" y="396240"/>
                  </a:lnTo>
                  <a:lnTo>
                    <a:pt x="2057217" y="410210"/>
                  </a:lnTo>
                  <a:lnTo>
                    <a:pt x="2038959" y="421640"/>
                  </a:lnTo>
                  <a:lnTo>
                    <a:pt x="2019147" y="435610"/>
                  </a:lnTo>
                  <a:lnTo>
                    <a:pt x="1944471" y="472440"/>
                  </a:lnTo>
                  <a:lnTo>
                    <a:pt x="1883511" y="495300"/>
                  </a:lnTo>
                  <a:lnTo>
                    <a:pt x="1816455" y="516890"/>
                  </a:lnTo>
                  <a:lnTo>
                    <a:pt x="1702186" y="544830"/>
                  </a:lnTo>
                  <a:lnTo>
                    <a:pt x="1574170" y="567690"/>
                  </a:lnTo>
                  <a:lnTo>
                    <a:pt x="1433962" y="586740"/>
                  </a:lnTo>
                  <a:lnTo>
                    <a:pt x="1385194" y="590550"/>
                  </a:lnTo>
                  <a:lnTo>
                    <a:pt x="1334902" y="595630"/>
                  </a:lnTo>
                  <a:lnTo>
                    <a:pt x="1231300" y="601980"/>
                  </a:lnTo>
                  <a:lnTo>
                    <a:pt x="1124620" y="604520"/>
                  </a:lnTo>
                  <a:lnTo>
                    <a:pt x="1077376" y="604520"/>
                  </a:lnTo>
                  <a:lnTo>
                    <a:pt x="1083472" y="610870"/>
                  </a:lnTo>
                  <a:lnTo>
                    <a:pt x="1083472" y="624840"/>
                  </a:lnTo>
                  <a:lnTo>
                    <a:pt x="1077550" y="629774"/>
                  </a:lnTo>
                  <a:lnTo>
                    <a:pt x="1126144" y="628650"/>
                  </a:lnTo>
                  <a:lnTo>
                    <a:pt x="1179484" y="628650"/>
                  </a:lnTo>
                  <a:lnTo>
                    <a:pt x="1232824" y="626110"/>
                  </a:lnTo>
                  <a:lnTo>
                    <a:pt x="1284640" y="624840"/>
                  </a:lnTo>
                  <a:lnTo>
                    <a:pt x="1336426" y="619760"/>
                  </a:lnTo>
                  <a:lnTo>
                    <a:pt x="1386718" y="617220"/>
                  </a:lnTo>
                  <a:lnTo>
                    <a:pt x="1437010" y="612140"/>
                  </a:lnTo>
                  <a:lnTo>
                    <a:pt x="1531498" y="600710"/>
                  </a:lnTo>
                  <a:lnTo>
                    <a:pt x="1577218" y="594360"/>
                  </a:lnTo>
                  <a:lnTo>
                    <a:pt x="1622938" y="586740"/>
                  </a:lnTo>
                  <a:lnTo>
                    <a:pt x="1665610" y="579120"/>
                  </a:lnTo>
                  <a:lnTo>
                    <a:pt x="1785975" y="551180"/>
                  </a:lnTo>
                  <a:lnTo>
                    <a:pt x="1892655" y="519430"/>
                  </a:lnTo>
                  <a:lnTo>
                    <a:pt x="1982571" y="482600"/>
                  </a:lnTo>
                  <a:lnTo>
                    <a:pt x="2032863" y="457200"/>
                  </a:lnTo>
                  <a:lnTo>
                    <a:pt x="2063313" y="435610"/>
                  </a:lnTo>
                  <a:lnTo>
                    <a:pt x="2073981" y="429260"/>
                  </a:lnTo>
                  <a:lnTo>
                    <a:pt x="2083125" y="421640"/>
                  </a:lnTo>
                  <a:lnTo>
                    <a:pt x="2105985" y="398780"/>
                  </a:lnTo>
                  <a:lnTo>
                    <a:pt x="2112081" y="391160"/>
                  </a:lnTo>
                  <a:lnTo>
                    <a:pt x="2118177" y="382270"/>
                  </a:lnTo>
                  <a:lnTo>
                    <a:pt x="2124273" y="374650"/>
                  </a:lnTo>
                  <a:lnTo>
                    <a:pt x="2142561" y="322580"/>
                  </a:lnTo>
                  <a:lnTo>
                    <a:pt x="2142561" y="306070"/>
                  </a:lnTo>
                  <a:lnTo>
                    <a:pt x="2128845" y="261620"/>
                  </a:lnTo>
                  <a:lnTo>
                    <a:pt x="2112081" y="238760"/>
                  </a:lnTo>
                  <a:lnTo>
                    <a:pt x="2105985" y="229870"/>
                  </a:lnTo>
                  <a:lnTo>
                    <a:pt x="2098365" y="223520"/>
                  </a:lnTo>
                  <a:lnTo>
                    <a:pt x="2090745" y="215900"/>
                  </a:lnTo>
                  <a:lnTo>
                    <a:pt x="2063313" y="193040"/>
                  </a:lnTo>
                  <a:lnTo>
                    <a:pt x="2006955" y="160020"/>
                  </a:lnTo>
                  <a:lnTo>
                    <a:pt x="1953615" y="133350"/>
                  </a:lnTo>
                  <a:lnTo>
                    <a:pt x="1892655" y="110490"/>
                  </a:lnTo>
                  <a:lnTo>
                    <a:pt x="1822551" y="87630"/>
                  </a:lnTo>
                  <a:lnTo>
                    <a:pt x="1747906" y="69850"/>
                  </a:lnTo>
                  <a:lnTo>
                    <a:pt x="1665610" y="52070"/>
                  </a:lnTo>
                  <a:lnTo>
                    <a:pt x="1577218" y="36830"/>
                  </a:lnTo>
                  <a:lnTo>
                    <a:pt x="1445239" y="19050"/>
                  </a:lnTo>
                  <a:close/>
                </a:path>
                <a:path w="2143125" h="629920">
                  <a:moveTo>
                    <a:pt x="1071280" y="0"/>
                  </a:moveTo>
                  <a:lnTo>
                    <a:pt x="1016447" y="0"/>
                  </a:lnTo>
                  <a:lnTo>
                    <a:pt x="908243" y="2540"/>
                  </a:lnTo>
                  <a:lnTo>
                    <a:pt x="804611" y="8890"/>
                  </a:lnTo>
                  <a:lnTo>
                    <a:pt x="754319" y="13970"/>
                  </a:lnTo>
                  <a:lnTo>
                    <a:pt x="705551" y="17780"/>
                  </a:lnTo>
                  <a:lnTo>
                    <a:pt x="563849" y="36830"/>
                  </a:lnTo>
                  <a:lnTo>
                    <a:pt x="476981" y="52070"/>
                  </a:lnTo>
                  <a:lnTo>
                    <a:pt x="434309" y="60960"/>
                  </a:lnTo>
                  <a:lnTo>
                    <a:pt x="355061" y="78740"/>
                  </a:lnTo>
                  <a:lnTo>
                    <a:pt x="318485" y="90170"/>
                  </a:lnTo>
                  <a:lnTo>
                    <a:pt x="283433" y="99060"/>
                  </a:lnTo>
                  <a:lnTo>
                    <a:pt x="249905" y="110490"/>
                  </a:lnTo>
                  <a:lnTo>
                    <a:pt x="217901" y="121920"/>
                  </a:lnTo>
                  <a:lnTo>
                    <a:pt x="187452" y="133350"/>
                  </a:lnTo>
                  <a:lnTo>
                    <a:pt x="160020" y="147320"/>
                  </a:lnTo>
                  <a:lnTo>
                    <a:pt x="134112" y="160020"/>
                  </a:lnTo>
                  <a:lnTo>
                    <a:pt x="77724" y="193040"/>
                  </a:lnTo>
                  <a:lnTo>
                    <a:pt x="42672" y="223520"/>
                  </a:lnTo>
                  <a:lnTo>
                    <a:pt x="36576" y="231140"/>
                  </a:lnTo>
                  <a:lnTo>
                    <a:pt x="28956" y="238760"/>
                  </a:lnTo>
                  <a:lnTo>
                    <a:pt x="22860" y="246380"/>
                  </a:lnTo>
                  <a:lnTo>
                    <a:pt x="18288" y="255270"/>
                  </a:lnTo>
                  <a:lnTo>
                    <a:pt x="12192" y="262890"/>
                  </a:lnTo>
                  <a:lnTo>
                    <a:pt x="9144" y="270510"/>
                  </a:lnTo>
                  <a:lnTo>
                    <a:pt x="3048" y="289560"/>
                  </a:lnTo>
                  <a:lnTo>
                    <a:pt x="1524" y="298450"/>
                  </a:lnTo>
                  <a:lnTo>
                    <a:pt x="0" y="306070"/>
                  </a:lnTo>
                  <a:lnTo>
                    <a:pt x="0" y="323850"/>
                  </a:lnTo>
                  <a:lnTo>
                    <a:pt x="3048" y="342900"/>
                  </a:lnTo>
                  <a:lnTo>
                    <a:pt x="6096" y="350520"/>
                  </a:lnTo>
                  <a:lnTo>
                    <a:pt x="9144" y="359410"/>
                  </a:lnTo>
                  <a:lnTo>
                    <a:pt x="13716" y="367030"/>
                  </a:lnTo>
                  <a:lnTo>
                    <a:pt x="18288" y="375920"/>
                  </a:lnTo>
                  <a:lnTo>
                    <a:pt x="22860" y="383540"/>
                  </a:lnTo>
                  <a:lnTo>
                    <a:pt x="28956" y="391160"/>
                  </a:lnTo>
                  <a:lnTo>
                    <a:pt x="59436" y="421640"/>
                  </a:lnTo>
                  <a:lnTo>
                    <a:pt x="68580" y="429260"/>
                  </a:lnTo>
                  <a:lnTo>
                    <a:pt x="77724" y="435610"/>
                  </a:lnTo>
                  <a:lnTo>
                    <a:pt x="88392" y="443230"/>
                  </a:lnTo>
                  <a:lnTo>
                    <a:pt x="109728" y="457200"/>
                  </a:lnTo>
                  <a:lnTo>
                    <a:pt x="134112" y="471170"/>
                  </a:lnTo>
                  <a:lnTo>
                    <a:pt x="160020" y="482600"/>
                  </a:lnTo>
                  <a:lnTo>
                    <a:pt x="188976" y="496570"/>
                  </a:lnTo>
                  <a:lnTo>
                    <a:pt x="217901" y="506730"/>
                  </a:lnTo>
                  <a:lnTo>
                    <a:pt x="249905" y="519430"/>
                  </a:lnTo>
                  <a:lnTo>
                    <a:pt x="283433" y="529590"/>
                  </a:lnTo>
                  <a:lnTo>
                    <a:pt x="318485" y="541020"/>
                  </a:lnTo>
                  <a:lnTo>
                    <a:pt x="356585" y="551180"/>
                  </a:lnTo>
                  <a:lnTo>
                    <a:pt x="394685" y="560070"/>
                  </a:lnTo>
                  <a:lnTo>
                    <a:pt x="434309" y="570230"/>
                  </a:lnTo>
                  <a:lnTo>
                    <a:pt x="476981" y="579120"/>
                  </a:lnTo>
                  <a:lnTo>
                    <a:pt x="563849" y="594360"/>
                  </a:lnTo>
                  <a:lnTo>
                    <a:pt x="611093" y="600710"/>
                  </a:lnTo>
                  <a:lnTo>
                    <a:pt x="656783" y="605790"/>
                  </a:lnTo>
                  <a:lnTo>
                    <a:pt x="705551" y="612140"/>
                  </a:lnTo>
                  <a:lnTo>
                    <a:pt x="754319" y="617220"/>
                  </a:lnTo>
                  <a:lnTo>
                    <a:pt x="806135" y="619760"/>
                  </a:lnTo>
                  <a:lnTo>
                    <a:pt x="856427" y="624840"/>
                  </a:lnTo>
                  <a:lnTo>
                    <a:pt x="909767" y="626110"/>
                  </a:lnTo>
                  <a:lnTo>
                    <a:pt x="963107" y="628650"/>
                  </a:lnTo>
                  <a:lnTo>
                    <a:pt x="1016447" y="628650"/>
                  </a:lnTo>
                  <a:lnTo>
                    <a:pt x="1063442" y="629738"/>
                  </a:lnTo>
                  <a:lnTo>
                    <a:pt x="1057564" y="624840"/>
                  </a:lnTo>
                  <a:lnTo>
                    <a:pt x="1057564" y="610870"/>
                  </a:lnTo>
                  <a:lnTo>
                    <a:pt x="1063660" y="604520"/>
                  </a:lnTo>
                  <a:lnTo>
                    <a:pt x="1016447" y="604520"/>
                  </a:lnTo>
                  <a:lnTo>
                    <a:pt x="909767" y="601980"/>
                  </a:lnTo>
                  <a:lnTo>
                    <a:pt x="857951" y="598170"/>
                  </a:lnTo>
                  <a:lnTo>
                    <a:pt x="807659" y="595630"/>
                  </a:lnTo>
                  <a:lnTo>
                    <a:pt x="757367" y="590550"/>
                  </a:lnTo>
                  <a:lnTo>
                    <a:pt x="708599" y="586740"/>
                  </a:lnTo>
                  <a:lnTo>
                    <a:pt x="568421" y="567690"/>
                  </a:lnTo>
                  <a:lnTo>
                    <a:pt x="440405" y="544830"/>
                  </a:lnTo>
                  <a:lnTo>
                    <a:pt x="362681" y="527050"/>
                  </a:lnTo>
                  <a:lnTo>
                    <a:pt x="291053" y="505460"/>
                  </a:lnTo>
                  <a:lnTo>
                    <a:pt x="257525" y="495300"/>
                  </a:lnTo>
                  <a:lnTo>
                    <a:pt x="198089" y="472440"/>
                  </a:lnTo>
                  <a:lnTo>
                    <a:pt x="146304" y="448310"/>
                  </a:lnTo>
                  <a:lnTo>
                    <a:pt x="102108" y="421640"/>
                  </a:lnTo>
                  <a:lnTo>
                    <a:pt x="83820" y="407670"/>
                  </a:lnTo>
                  <a:lnTo>
                    <a:pt x="68580" y="396240"/>
                  </a:lnTo>
                  <a:lnTo>
                    <a:pt x="54864" y="382270"/>
                  </a:lnTo>
                  <a:lnTo>
                    <a:pt x="48768" y="374650"/>
                  </a:lnTo>
                  <a:lnTo>
                    <a:pt x="44196" y="368300"/>
                  </a:lnTo>
                  <a:lnTo>
                    <a:pt x="39624" y="360680"/>
                  </a:lnTo>
                  <a:lnTo>
                    <a:pt x="35052" y="354330"/>
                  </a:lnTo>
                  <a:lnTo>
                    <a:pt x="32004" y="346710"/>
                  </a:lnTo>
                  <a:lnTo>
                    <a:pt x="28956" y="341630"/>
                  </a:lnTo>
                  <a:lnTo>
                    <a:pt x="27432" y="335280"/>
                  </a:lnTo>
                  <a:lnTo>
                    <a:pt x="25908" y="327660"/>
                  </a:lnTo>
                  <a:lnTo>
                    <a:pt x="24384" y="321310"/>
                  </a:lnTo>
                  <a:lnTo>
                    <a:pt x="24384" y="314960"/>
                  </a:lnTo>
                  <a:lnTo>
                    <a:pt x="25908" y="307340"/>
                  </a:lnTo>
                  <a:lnTo>
                    <a:pt x="25908" y="300990"/>
                  </a:lnTo>
                  <a:lnTo>
                    <a:pt x="27432" y="293370"/>
                  </a:lnTo>
                  <a:lnTo>
                    <a:pt x="28956" y="288290"/>
                  </a:lnTo>
                  <a:lnTo>
                    <a:pt x="32004" y="281940"/>
                  </a:lnTo>
                  <a:lnTo>
                    <a:pt x="35052" y="274320"/>
                  </a:lnTo>
                  <a:lnTo>
                    <a:pt x="39624" y="267970"/>
                  </a:lnTo>
                  <a:lnTo>
                    <a:pt x="44196" y="260350"/>
                  </a:lnTo>
                  <a:lnTo>
                    <a:pt x="48768" y="254000"/>
                  </a:lnTo>
                  <a:lnTo>
                    <a:pt x="54864" y="247650"/>
                  </a:lnTo>
                  <a:lnTo>
                    <a:pt x="60960" y="240030"/>
                  </a:lnTo>
                  <a:lnTo>
                    <a:pt x="68580" y="234950"/>
                  </a:lnTo>
                  <a:lnTo>
                    <a:pt x="76200" y="227330"/>
                  </a:lnTo>
                  <a:lnTo>
                    <a:pt x="83820" y="220980"/>
                  </a:lnTo>
                  <a:lnTo>
                    <a:pt x="92964" y="214630"/>
                  </a:lnTo>
                  <a:lnTo>
                    <a:pt x="102108" y="207010"/>
                  </a:lnTo>
                  <a:lnTo>
                    <a:pt x="123444" y="194310"/>
                  </a:lnTo>
                  <a:lnTo>
                    <a:pt x="146304" y="182880"/>
                  </a:lnTo>
                  <a:lnTo>
                    <a:pt x="170688" y="168910"/>
                  </a:lnTo>
                  <a:lnTo>
                    <a:pt x="198089" y="158750"/>
                  </a:lnTo>
                  <a:lnTo>
                    <a:pt x="227045" y="146050"/>
                  </a:lnTo>
                  <a:lnTo>
                    <a:pt x="259049" y="133350"/>
                  </a:lnTo>
                  <a:lnTo>
                    <a:pt x="291053" y="123190"/>
                  </a:lnTo>
                  <a:lnTo>
                    <a:pt x="326105" y="114300"/>
                  </a:lnTo>
                  <a:lnTo>
                    <a:pt x="362681" y="102870"/>
                  </a:lnTo>
                  <a:lnTo>
                    <a:pt x="440405" y="85090"/>
                  </a:lnTo>
                  <a:lnTo>
                    <a:pt x="481553" y="76200"/>
                  </a:lnTo>
                  <a:lnTo>
                    <a:pt x="524225" y="68580"/>
                  </a:lnTo>
                  <a:lnTo>
                    <a:pt x="568421" y="62230"/>
                  </a:lnTo>
                  <a:lnTo>
                    <a:pt x="614141" y="54610"/>
                  </a:lnTo>
                  <a:lnTo>
                    <a:pt x="659831" y="48260"/>
                  </a:lnTo>
                  <a:lnTo>
                    <a:pt x="807659" y="34290"/>
                  </a:lnTo>
                  <a:lnTo>
                    <a:pt x="909767" y="29210"/>
                  </a:lnTo>
                  <a:lnTo>
                    <a:pt x="1016447" y="25400"/>
                  </a:lnTo>
                  <a:lnTo>
                    <a:pt x="1066708" y="25400"/>
                  </a:lnTo>
                  <a:lnTo>
                    <a:pt x="1062136" y="22860"/>
                  </a:lnTo>
                  <a:lnTo>
                    <a:pt x="1060612" y="19050"/>
                  </a:lnTo>
                  <a:lnTo>
                    <a:pt x="1445239" y="19050"/>
                  </a:lnTo>
                  <a:lnTo>
                    <a:pt x="1435486" y="17780"/>
                  </a:lnTo>
                  <a:lnTo>
                    <a:pt x="1386718" y="13970"/>
                  </a:lnTo>
                  <a:lnTo>
                    <a:pt x="1336426" y="8890"/>
                  </a:lnTo>
                  <a:lnTo>
                    <a:pt x="1294985" y="6350"/>
                  </a:lnTo>
                  <a:lnTo>
                    <a:pt x="1081948" y="6350"/>
                  </a:lnTo>
                  <a:lnTo>
                    <a:pt x="1071280" y="0"/>
                  </a:lnTo>
                  <a:close/>
                </a:path>
                <a:path w="2143125" h="629920">
                  <a:moveTo>
                    <a:pt x="1060612" y="19050"/>
                  </a:moveTo>
                  <a:lnTo>
                    <a:pt x="1062136" y="22860"/>
                  </a:lnTo>
                  <a:lnTo>
                    <a:pt x="1066708" y="25400"/>
                  </a:lnTo>
                  <a:lnTo>
                    <a:pt x="1071280" y="25400"/>
                  </a:lnTo>
                  <a:lnTo>
                    <a:pt x="1060612" y="19050"/>
                  </a:lnTo>
                  <a:close/>
                </a:path>
                <a:path w="2143125" h="629920">
                  <a:moveTo>
                    <a:pt x="1074328" y="0"/>
                  </a:moveTo>
                  <a:lnTo>
                    <a:pt x="1071280" y="0"/>
                  </a:lnTo>
                  <a:lnTo>
                    <a:pt x="1081948" y="6350"/>
                  </a:lnTo>
                  <a:lnTo>
                    <a:pt x="1078900" y="1270"/>
                  </a:lnTo>
                  <a:lnTo>
                    <a:pt x="1074328" y="0"/>
                  </a:lnTo>
                  <a:close/>
                </a:path>
                <a:path w="2143125" h="629920">
                  <a:moveTo>
                    <a:pt x="1126144" y="0"/>
                  </a:moveTo>
                  <a:lnTo>
                    <a:pt x="1074328" y="0"/>
                  </a:lnTo>
                  <a:lnTo>
                    <a:pt x="1078900" y="1270"/>
                  </a:lnTo>
                  <a:lnTo>
                    <a:pt x="1081948" y="6350"/>
                  </a:lnTo>
                  <a:lnTo>
                    <a:pt x="1294985" y="6350"/>
                  </a:lnTo>
                  <a:lnTo>
                    <a:pt x="1232824" y="2540"/>
                  </a:lnTo>
                  <a:lnTo>
                    <a:pt x="1126144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9" name="object 139"/>
          <p:cNvSpPr txBox="1"/>
          <p:nvPr/>
        </p:nvSpPr>
        <p:spPr>
          <a:xfrm>
            <a:off x="4673639" y="4241644"/>
            <a:ext cx="716915" cy="2686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Liberation Sans Narrow"/>
                <a:cs typeface="Liberation Sans Narrow"/>
              </a:rPr>
              <a:t>QUO</a:t>
            </a:r>
            <a:r>
              <a:rPr sz="1600" spc="-100" dirty="0">
                <a:latin typeface="Liberation Sans Narrow"/>
                <a:cs typeface="Liberation Sans Narrow"/>
              </a:rPr>
              <a:t>T</a:t>
            </a:r>
            <a:r>
              <a:rPr sz="1600" spc="-5" dirty="0">
                <a:latin typeface="Liberation Sans Narrow"/>
                <a:cs typeface="Liberation Sans Narrow"/>
              </a:rPr>
              <a:t>AS</a:t>
            </a:r>
            <a:endParaRPr sz="1600">
              <a:latin typeface="Liberation Sans Narrow"/>
              <a:cs typeface="Liberation Sans Narrow"/>
            </a:endParaRPr>
          </a:p>
        </p:txBody>
      </p:sp>
      <p:sp>
        <p:nvSpPr>
          <p:cNvPr id="140" name="object 140"/>
          <p:cNvSpPr/>
          <p:nvPr/>
        </p:nvSpPr>
        <p:spPr>
          <a:xfrm>
            <a:off x="869030" y="3518319"/>
            <a:ext cx="8383270" cy="471170"/>
          </a:xfrm>
          <a:custGeom>
            <a:avLst/>
            <a:gdLst/>
            <a:ahLst/>
            <a:cxnLst/>
            <a:rect l="l" t="t" r="r" b="b"/>
            <a:pathLst>
              <a:path w="8383270" h="471170">
                <a:moveTo>
                  <a:pt x="25908" y="444977"/>
                </a:moveTo>
                <a:lnTo>
                  <a:pt x="13716" y="444977"/>
                </a:lnTo>
                <a:lnTo>
                  <a:pt x="13716" y="470885"/>
                </a:lnTo>
                <a:lnTo>
                  <a:pt x="79248" y="470885"/>
                </a:lnTo>
                <a:lnTo>
                  <a:pt x="79248" y="457169"/>
                </a:lnTo>
                <a:lnTo>
                  <a:pt x="25908" y="457169"/>
                </a:lnTo>
                <a:lnTo>
                  <a:pt x="25908" y="444977"/>
                </a:lnTo>
                <a:close/>
              </a:path>
              <a:path w="8383270" h="471170">
                <a:moveTo>
                  <a:pt x="25908" y="356585"/>
                </a:moveTo>
                <a:lnTo>
                  <a:pt x="0" y="356585"/>
                </a:lnTo>
                <a:lnTo>
                  <a:pt x="0" y="457169"/>
                </a:lnTo>
                <a:lnTo>
                  <a:pt x="13716" y="457169"/>
                </a:lnTo>
                <a:lnTo>
                  <a:pt x="13716" y="444977"/>
                </a:lnTo>
                <a:lnTo>
                  <a:pt x="25908" y="444977"/>
                </a:lnTo>
                <a:lnTo>
                  <a:pt x="25908" y="356585"/>
                </a:lnTo>
                <a:close/>
              </a:path>
              <a:path w="8383270" h="471170">
                <a:moveTo>
                  <a:pt x="79248" y="444977"/>
                </a:moveTo>
                <a:lnTo>
                  <a:pt x="25908" y="444977"/>
                </a:lnTo>
                <a:lnTo>
                  <a:pt x="25908" y="457169"/>
                </a:lnTo>
                <a:lnTo>
                  <a:pt x="79248" y="457169"/>
                </a:lnTo>
                <a:lnTo>
                  <a:pt x="79248" y="444977"/>
                </a:lnTo>
                <a:close/>
              </a:path>
              <a:path w="8383270" h="471170">
                <a:moveTo>
                  <a:pt x="25908" y="178308"/>
                </a:moveTo>
                <a:lnTo>
                  <a:pt x="0" y="178308"/>
                </a:lnTo>
                <a:lnTo>
                  <a:pt x="0" y="280385"/>
                </a:lnTo>
                <a:lnTo>
                  <a:pt x="25908" y="280385"/>
                </a:lnTo>
                <a:lnTo>
                  <a:pt x="25908" y="178308"/>
                </a:lnTo>
                <a:close/>
              </a:path>
              <a:path w="8383270" h="471170">
                <a:moveTo>
                  <a:pt x="25908" y="0"/>
                </a:moveTo>
                <a:lnTo>
                  <a:pt x="0" y="0"/>
                </a:lnTo>
                <a:lnTo>
                  <a:pt x="0" y="102108"/>
                </a:lnTo>
                <a:lnTo>
                  <a:pt x="25908" y="102108"/>
                </a:lnTo>
                <a:lnTo>
                  <a:pt x="25908" y="0"/>
                </a:lnTo>
                <a:close/>
              </a:path>
              <a:path w="8383270" h="471170">
                <a:moveTo>
                  <a:pt x="8382838" y="36576"/>
                </a:moveTo>
                <a:lnTo>
                  <a:pt x="8358454" y="36576"/>
                </a:lnTo>
                <a:lnTo>
                  <a:pt x="8358454" y="138684"/>
                </a:lnTo>
                <a:lnTo>
                  <a:pt x="8382838" y="138684"/>
                </a:lnTo>
                <a:lnTo>
                  <a:pt x="8382838" y="36576"/>
                </a:lnTo>
                <a:close/>
              </a:path>
              <a:path w="8383270" h="471170">
                <a:moveTo>
                  <a:pt x="8382838" y="214853"/>
                </a:moveTo>
                <a:lnTo>
                  <a:pt x="8358454" y="214853"/>
                </a:lnTo>
                <a:lnTo>
                  <a:pt x="8358454" y="316961"/>
                </a:lnTo>
                <a:lnTo>
                  <a:pt x="8382838" y="316961"/>
                </a:lnTo>
                <a:lnTo>
                  <a:pt x="8382838" y="214853"/>
                </a:lnTo>
                <a:close/>
              </a:path>
              <a:path w="8383270" h="471170">
                <a:moveTo>
                  <a:pt x="8358454" y="444977"/>
                </a:moveTo>
                <a:lnTo>
                  <a:pt x="8334070" y="444977"/>
                </a:lnTo>
                <a:lnTo>
                  <a:pt x="8334070" y="470885"/>
                </a:lnTo>
                <a:lnTo>
                  <a:pt x="8382838" y="470885"/>
                </a:lnTo>
                <a:lnTo>
                  <a:pt x="8382838" y="457169"/>
                </a:lnTo>
                <a:lnTo>
                  <a:pt x="8358454" y="457169"/>
                </a:lnTo>
                <a:lnTo>
                  <a:pt x="8358454" y="444977"/>
                </a:lnTo>
                <a:close/>
              </a:path>
              <a:path w="8383270" h="471170">
                <a:moveTo>
                  <a:pt x="8382838" y="393161"/>
                </a:moveTo>
                <a:lnTo>
                  <a:pt x="8358454" y="393161"/>
                </a:lnTo>
                <a:lnTo>
                  <a:pt x="8358454" y="457169"/>
                </a:lnTo>
                <a:lnTo>
                  <a:pt x="8370646" y="444977"/>
                </a:lnTo>
                <a:lnTo>
                  <a:pt x="8382838" y="444977"/>
                </a:lnTo>
                <a:lnTo>
                  <a:pt x="8382838" y="393161"/>
                </a:lnTo>
                <a:close/>
              </a:path>
              <a:path w="8383270" h="471170">
                <a:moveTo>
                  <a:pt x="8382838" y="444977"/>
                </a:moveTo>
                <a:lnTo>
                  <a:pt x="8370646" y="444977"/>
                </a:lnTo>
                <a:lnTo>
                  <a:pt x="8358454" y="457169"/>
                </a:lnTo>
                <a:lnTo>
                  <a:pt x="8382838" y="457169"/>
                </a:lnTo>
                <a:lnTo>
                  <a:pt x="8382838" y="444977"/>
                </a:lnTo>
                <a:close/>
              </a:path>
              <a:path w="8383270" h="471170">
                <a:moveTo>
                  <a:pt x="8257870" y="444977"/>
                </a:moveTo>
                <a:lnTo>
                  <a:pt x="8155762" y="444977"/>
                </a:lnTo>
                <a:lnTo>
                  <a:pt x="8155762" y="470885"/>
                </a:lnTo>
                <a:lnTo>
                  <a:pt x="8257870" y="470885"/>
                </a:lnTo>
                <a:lnTo>
                  <a:pt x="8257870" y="444977"/>
                </a:lnTo>
                <a:close/>
              </a:path>
              <a:path w="8383270" h="471170">
                <a:moveTo>
                  <a:pt x="8079592" y="444977"/>
                </a:moveTo>
                <a:lnTo>
                  <a:pt x="7979008" y="444977"/>
                </a:lnTo>
                <a:lnTo>
                  <a:pt x="7979008" y="470885"/>
                </a:lnTo>
                <a:lnTo>
                  <a:pt x="8079592" y="470885"/>
                </a:lnTo>
                <a:lnTo>
                  <a:pt x="8079592" y="444977"/>
                </a:lnTo>
                <a:close/>
              </a:path>
              <a:path w="8383270" h="471170">
                <a:moveTo>
                  <a:pt x="7902808" y="444977"/>
                </a:moveTo>
                <a:lnTo>
                  <a:pt x="7800700" y="444977"/>
                </a:lnTo>
                <a:lnTo>
                  <a:pt x="7800700" y="470885"/>
                </a:lnTo>
                <a:lnTo>
                  <a:pt x="7902808" y="470885"/>
                </a:lnTo>
                <a:lnTo>
                  <a:pt x="7902808" y="444977"/>
                </a:lnTo>
                <a:close/>
              </a:path>
              <a:path w="8383270" h="471170">
                <a:moveTo>
                  <a:pt x="7724500" y="444977"/>
                </a:moveTo>
                <a:lnTo>
                  <a:pt x="7622423" y="444977"/>
                </a:lnTo>
                <a:lnTo>
                  <a:pt x="7622423" y="470885"/>
                </a:lnTo>
                <a:lnTo>
                  <a:pt x="7724500" y="470885"/>
                </a:lnTo>
                <a:lnTo>
                  <a:pt x="7724500" y="444977"/>
                </a:lnTo>
                <a:close/>
              </a:path>
              <a:path w="8383270" h="471170">
                <a:moveTo>
                  <a:pt x="7546223" y="444977"/>
                </a:moveTo>
                <a:lnTo>
                  <a:pt x="7445639" y="444977"/>
                </a:lnTo>
                <a:lnTo>
                  <a:pt x="7445639" y="470885"/>
                </a:lnTo>
                <a:lnTo>
                  <a:pt x="7546223" y="470885"/>
                </a:lnTo>
                <a:lnTo>
                  <a:pt x="7546223" y="444977"/>
                </a:lnTo>
                <a:close/>
              </a:path>
              <a:path w="8383270" h="471170">
                <a:moveTo>
                  <a:pt x="7369469" y="444977"/>
                </a:moveTo>
                <a:lnTo>
                  <a:pt x="7267361" y="444977"/>
                </a:lnTo>
                <a:lnTo>
                  <a:pt x="7267361" y="470885"/>
                </a:lnTo>
                <a:lnTo>
                  <a:pt x="7369469" y="470885"/>
                </a:lnTo>
                <a:lnTo>
                  <a:pt x="7369469" y="444977"/>
                </a:lnTo>
                <a:close/>
              </a:path>
              <a:path w="8383270" h="471170">
                <a:moveTo>
                  <a:pt x="7191161" y="444977"/>
                </a:moveTo>
                <a:lnTo>
                  <a:pt x="7089053" y="444977"/>
                </a:lnTo>
                <a:lnTo>
                  <a:pt x="7089053" y="470885"/>
                </a:lnTo>
                <a:lnTo>
                  <a:pt x="7191161" y="470885"/>
                </a:lnTo>
                <a:lnTo>
                  <a:pt x="7191161" y="444977"/>
                </a:lnTo>
                <a:close/>
              </a:path>
              <a:path w="8383270" h="471170">
                <a:moveTo>
                  <a:pt x="7012853" y="444977"/>
                </a:moveTo>
                <a:lnTo>
                  <a:pt x="6912300" y="444977"/>
                </a:lnTo>
                <a:lnTo>
                  <a:pt x="6912300" y="470885"/>
                </a:lnTo>
                <a:lnTo>
                  <a:pt x="7012853" y="470885"/>
                </a:lnTo>
                <a:lnTo>
                  <a:pt x="7012853" y="444977"/>
                </a:lnTo>
                <a:close/>
              </a:path>
              <a:path w="8383270" h="471170">
                <a:moveTo>
                  <a:pt x="6836100" y="444977"/>
                </a:moveTo>
                <a:lnTo>
                  <a:pt x="6733992" y="444977"/>
                </a:lnTo>
                <a:lnTo>
                  <a:pt x="6733992" y="470885"/>
                </a:lnTo>
                <a:lnTo>
                  <a:pt x="6836100" y="470885"/>
                </a:lnTo>
                <a:lnTo>
                  <a:pt x="6836100" y="444977"/>
                </a:lnTo>
                <a:close/>
              </a:path>
              <a:path w="8383270" h="471170">
                <a:moveTo>
                  <a:pt x="6657792" y="444977"/>
                </a:moveTo>
                <a:lnTo>
                  <a:pt x="6555684" y="444977"/>
                </a:lnTo>
                <a:lnTo>
                  <a:pt x="6555684" y="470885"/>
                </a:lnTo>
                <a:lnTo>
                  <a:pt x="6657792" y="470885"/>
                </a:lnTo>
                <a:lnTo>
                  <a:pt x="6657792" y="444977"/>
                </a:lnTo>
                <a:close/>
              </a:path>
              <a:path w="8383270" h="471170">
                <a:moveTo>
                  <a:pt x="6479514" y="444977"/>
                </a:moveTo>
                <a:lnTo>
                  <a:pt x="6378930" y="444977"/>
                </a:lnTo>
                <a:lnTo>
                  <a:pt x="6378930" y="470885"/>
                </a:lnTo>
                <a:lnTo>
                  <a:pt x="6479514" y="470885"/>
                </a:lnTo>
                <a:lnTo>
                  <a:pt x="6479514" y="444977"/>
                </a:lnTo>
                <a:close/>
              </a:path>
              <a:path w="8383270" h="471170">
                <a:moveTo>
                  <a:pt x="6302730" y="444977"/>
                </a:moveTo>
                <a:lnTo>
                  <a:pt x="6200653" y="444977"/>
                </a:lnTo>
                <a:lnTo>
                  <a:pt x="6200653" y="470885"/>
                </a:lnTo>
                <a:lnTo>
                  <a:pt x="6302730" y="470885"/>
                </a:lnTo>
                <a:lnTo>
                  <a:pt x="6302730" y="444977"/>
                </a:lnTo>
                <a:close/>
              </a:path>
              <a:path w="8383270" h="471170">
                <a:moveTo>
                  <a:pt x="6124453" y="444977"/>
                </a:moveTo>
                <a:lnTo>
                  <a:pt x="6022345" y="444977"/>
                </a:lnTo>
                <a:lnTo>
                  <a:pt x="6022345" y="470885"/>
                </a:lnTo>
                <a:lnTo>
                  <a:pt x="6124453" y="470885"/>
                </a:lnTo>
                <a:lnTo>
                  <a:pt x="6124453" y="444977"/>
                </a:lnTo>
                <a:close/>
              </a:path>
              <a:path w="8383270" h="471170">
                <a:moveTo>
                  <a:pt x="5946145" y="444977"/>
                </a:moveTo>
                <a:lnTo>
                  <a:pt x="5845561" y="444977"/>
                </a:lnTo>
                <a:lnTo>
                  <a:pt x="5845561" y="470885"/>
                </a:lnTo>
                <a:lnTo>
                  <a:pt x="5946145" y="470885"/>
                </a:lnTo>
                <a:lnTo>
                  <a:pt x="5946145" y="444977"/>
                </a:lnTo>
                <a:close/>
              </a:path>
              <a:path w="8383270" h="471170">
                <a:moveTo>
                  <a:pt x="5769391" y="444977"/>
                </a:moveTo>
                <a:lnTo>
                  <a:pt x="5667283" y="444977"/>
                </a:lnTo>
                <a:lnTo>
                  <a:pt x="5667283" y="470885"/>
                </a:lnTo>
                <a:lnTo>
                  <a:pt x="5769391" y="470885"/>
                </a:lnTo>
                <a:lnTo>
                  <a:pt x="5769391" y="444977"/>
                </a:lnTo>
                <a:close/>
              </a:path>
              <a:path w="8383270" h="471170">
                <a:moveTo>
                  <a:pt x="5591083" y="444977"/>
                </a:moveTo>
                <a:lnTo>
                  <a:pt x="5489006" y="444977"/>
                </a:lnTo>
                <a:lnTo>
                  <a:pt x="5489006" y="470885"/>
                </a:lnTo>
                <a:lnTo>
                  <a:pt x="5591083" y="470885"/>
                </a:lnTo>
                <a:lnTo>
                  <a:pt x="5591083" y="444977"/>
                </a:lnTo>
                <a:close/>
              </a:path>
              <a:path w="8383270" h="471170">
                <a:moveTo>
                  <a:pt x="5412806" y="444977"/>
                </a:moveTo>
                <a:lnTo>
                  <a:pt x="5312222" y="444977"/>
                </a:lnTo>
                <a:lnTo>
                  <a:pt x="5312222" y="470885"/>
                </a:lnTo>
                <a:lnTo>
                  <a:pt x="5412806" y="470885"/>
                </a:lnTo>
                <a:lnTo>
                  <a:pt x="5412806" y="444977"/>
                </a:lnTo>
                <a:close/>
              </a:path>
              <a:path w="8383270" h="471170">
                <a:moveTo>
                  <a:pt x="5236022" y="444977"/>
                </a:moveTo>
                <a:lnTo>
                  <a:pt x="5133914" y="444977"/>
                </a:lnTo>
                <a:lnTo>
                  <a:pt x="5133914" y="470885"/>
                </a:lnTo>
                <a:lnTo>
                  <a:pt x="5236022" y="470885"/>
                </a:lnTo>
                <a:lnTo>
                  <a:pt x="5236022" y="444977"/>
                </a:lnTo>
                <a:close/>
              </a:path>
              <a:path w="8383270" h="471170">
                <a:moveTo>
                  <a:pt x="5057744" y="444977"/>
                </a:moveTo>
                <a:lnTo>
                  <a:pt x="4955636" y="444977"/>
                </a:lnTo>
                <a:lnTo>
                  <a:pt x="4955636" y="470885"/>
                </a:lnTo>
                <a:lnTo>
                  <a:pt x="5057744" y="470885"/>
                </a:lnTo>
                <a:lnTo>
                  <a:pt x="5057744" y="444977"/>
                </a:lnTo>
                <a:close/>
              </a:path>
              <a:path w="8383270" h="471170">
                <a:moveTo>
                  <a:pt x="4879436" y="444977"/>
                </a:moveTo>
                <a:lnTo>
                  <a:pt x="4778883" y="444977"/>
                </a:lnTo>
                <a:lnTo>
                  <a:pt x="4778883" y="470885"/>
                </a:lnTo>
                <a:lnTo>
                  <a:pt x="4879436" y="470885"/>
                </a:lnTo>
                <a:lnTo>
                  <a:pt x="4879436" y="444977"/>
                </a:lnTo>
                <a:close/>
              </a:path>
              <a:path w="8383270" h="471170">
                <a:moveTo>
                  <a:pt x="4702683" y="444977"/>
                </a:moveTo>
                <a:lnTo>
                  <a:pt x="4600575" y="444977"/>
                </a:lnTo>
                <a:lnTo>
                  <a:pt x="4600575" y="470885"/>
                </a:lnTo>
                <a:lnTo>
                  <a:pt x="4702683" y="470885"/>
                </a:lnTo>
                <a:lnTo>
                  <a:pt x="4702683" y="444977"/>
                </a:lnTo>
                <a:close/>
              </a:path>
              <a:path w="8383270" h="471170">
                <a:moveTo>
                  <a:pt x="4524375" y="444977"/>
                </a:moveTo>
                <a:lnTo>
                  <a:pt x="4422267" y="444977"/>
                </a:lnTo>
                <a:lnTo>
                  <a:pt x="4422267" y="470885"/>
                </a:lnTo>
                <a:lnTo>
                  <a:pt x="4524375" y="470885"/>
                </a:lnTo>
                <a:lnTo>
                  <a:pt x="4524375" y="444977"/>
                </a:lnTo>
                <a:close/>
              </a:path>
              <a:path w="8383270" h="471170">
                <a:moveTo>
                  <a:pt x="4346097" y="444977"/>
                </a:moveTo>
                <a:lnTo>
                  <a:pt x="4245513" y="444977"/>
                </a:lnTo>
                <a:lnTo>
                  <a:pt x="4245513" y="470885"/>
                </a:lnTo>
                <a:lnTo>
                  <a:pt x="4346097" y="470885"/>
                </a:lnTo>
                <a:lnTo>
                  <a:pt x="4346097" y="444977"/>
                </a:lnTo>
                <a:close/>
              </a:path>
              <a:path w="8383270" h="471170">
                <a:moveTo>
                  <a:pt x="4169313" y="444977"/>
                </a:moveTo>
                <a:lnTo>
                  <a:pt x="4067236" y="444977"/>
                </a:lnTo>
                <a:lnTo>
                  <a:pt x="4067236" y="470885"/>
                </a:lnTo>
                <a:lnTo>
                  <a:pt x="4169313" y="470885"/>
                </a:lnTo>
                <a:lnTo>
                  <a:pt x="4169313" y="444977"/>
                </a:lnTo>
                <a:close/>
              </a:path>
              <a:path w="8383270" h="471170">
                <a:moveTo>
                  <a:pt x="3991036" y="444977"/>
                </a:moveTo>
                <a:lnTo>
                  <a:pt x="3888928" y="444977"/>
                </a:lnTo>
                <a:lnTo>
                  <a:pt x="3888928" y="470885"/>
                </a:lnTo>
                <a:lnTo>
                  <a:pt x="3991036" y="470885"/>
                </a:lnTo>
                <a:lnTo>
                  <a:pt x="3991036" y="444977"/>
                </a:lnTo>
                <a:close/>
              </a:path>
              <a:path w="8383270" h="471170">
                <a:moveTo>
                  <a:pt x="3812728" y="444977"/>
                </a:moveTo>
                <a:lnTo>
                  <a:pt x="3712144" y="444977"/>
                </a:lnTo>
                <a:lnTo>
                  <a:pt x="3712144" y="470885"/>
                </a:lnTo>
                <a:lnTo>
                  <a:pt x="3812728" y="470885"/>
                </a:lnTo>
                <a:lnTo>
                  <a:pt x="3812728" y="444977"/>
                </a:lnTo>
                <a:close/>
              </a:path>
              <a:path w="8383270" h="471170">
                <a:moveTo>
                  <a:pt x="3635974" y="444977"/>
                </a:moveTo>
                <a:lnTo>
                  <a:pt x="3533866" y="444977"/>
                </a:lnTo>
                <a:lnTo>
                  <a:pt x="3533866" y="470885"/>
                </a:lnTo>
                <a:lnTo>
                  <a:pt x="3635974" y="470885"/>
                </a:lnTo>
                <a:lnTo>
                  <a:pt x="3635974" y="444977"/>
                </a:lnTo>
                <a:close/>
              </a:path>
              <a:path w="8383270" h="471170">
                <a:moveTo>
                  <a:pt x="3457666" y="444977"/>
                </a:moveTo>
                <a:lnTo>
                  <a:pt x="3355558" y="444977"/>
                </a:lnTo>
                <a:lnTo>
                  <a:pt x="3355558" y="470885"/>
                </a:lnTo>
                <a:lnTo>
                  <a:pt x="3457666" y="470885"/>
                </a:lnTo>
                <a:lnTo>
                  <a:pt x="3457666" y="444977"/>
                </a:lnTo>
                <a:close/>
              </a:path>
              <a:path w="8383270" h="471170">
                <a:moveTo>
                  <a:pt x="3279358" y="444977"/>
                </a:moveTo>
                <a:lnTo>
                  <a:pt x="3178805" y="444977"/>
                </a:lnTo>
                <a:lnTo>
                  <a:pt x="3178805" y="470885"/>
                </a:lnTo>
                <a:lnTo>
                  <a:pt x="3279358" y="470885"/>
                </a:lnTo>
                <a:lnTo>
                  <a:pt x="3279358" y="444977"/>
                </a:lnTo>
                <a:close/>
              </a:path>
              <a:path w="8383270" h="471170">
                <a:moveTo>
                  <a:pt x="3102605" y="444977"/>
                </a:moveTo>
                <a:lnTo>
                  <a:pt x="3000497" y="444977"/>
                </a:lnTo>
                <a:lnTo>
                  <a:pt x="3000497" y="470885"/>
                </a:lnTo>
                <a:lnTo>
                  <a:pt x="3102605" y="470885"/>
                </a:lnTo>
                <a:lnTo>
                  <a:pt x="3102605" y="444977"/>
                </a:lnTo>
                <a:close/>
              </a:path>
              <a:path w="8383270" h="471170">
                <a:moveTo>
                  <a:pt x="2924327" y="444977"/>
                </a:moveTo>
                <a:lnTo>
                  <a:pt x="2822219" y="444977"/>
                </a:lnTo>
                <a:lnTo>
                  <a:pt x="2822219" y="470885"/>
                </a:lnTo>
                <a:lnTo>
                  <a:pt x="2924327" y="470885"/>
                </a:lnTo>
                <a:lnTo>
                  <a:pt x="2924327" y="444977"/>
                </a:lnTo>
                <a:close/>
              </a:path>
              <a:path w="8383270" h="471170">
                <a:moveTo>
                  <a:pt x="2746019" y="444977"/>
                </a:moveTo>
                <a:lnTo>
                  <a:pt x="2645435" y="444977"/>
                </a:lnTo>
                <a:lnTo>
                  <a:pt x="2645435" y="470885"/>
                </a:lnTo>
                <a:lnTo>
                  <a:pt x="2746019" y="470885"/>
                </a:lnTo>
                <a:lnTo>
                  <a:pt x="2746019" y="444977"/>
                </a:lnTo>
                <a:close/>
              </a:path>
              <a:path w="8383270" h="471170">
                <a:moveTo>
                  <a:pt x="2569235" y="444977"/>
                </a:moveTo>
                <a:lnTo>
                  <a:pt x="2467157" y="444977"/>
                </a:lnTo>
                <a:lnTo>
                  <a:pt x="2467157" y="470885"/>
                </a:lnTo>
                <a:lnTo>
                  <a:pt x="2569235" y="470885"/>
                </a:lnTo>
                <a:lnTo>
                  <a:pt x="2569235" y="444977"/>
                </a:lnTo>
                <a:close/>
              </a:path>
              <a:path w="8383270" h="471170">
                <a:moveTo>
                  <a:pt x="2390957" y="444977"/>
                </a:moveTo>
                <a:lnTo>
                  <a:pt x="2288849" y="444977"/>
                </a:lnTo>
                <a:lnTo>
                  <a:pt x="2288849" y="470885"/>
                </a:lnTo>
                <a:lnTo>
                  <a:pt x="2390957" y="470885"/>
                </a:lnTo>
                <a:lnTo>
                  <a:pt x="2390957" y="444977"/>
                </a:lnTo>
                <a:close/>
              </a:path>
              <a:path w="8383270" h="471170">
                <a:moveTo>
                  <a:pt x="2212680" y="444977"/>
                </a:moveTo>
                <a:lnTo>
                  <a:pt x="2112084" y="444977"/>
                </a:lnTo>
                <a:lnTo>
                  <a:pt x="2112084" y="470885"/>
                </a:lnTo>
                <a:lnTo>
                  <a:pt x="2212680" y="470885"/>
                </a:lnTo>
                <a:lnTo>
                  <a:pt x="2212680" y="444977"/>
                </a:lnTo>
                <a:close/>
              </a:path>
              <a:path w="8383270" h="471170">
                <a:moveTo>
                  <a:pt x="2035896" y="444977"/>
                </a:moveTo>
                <a:lnTo>
                  <a:pt x="1933800" y="444977"/>
                </a:lnTo>
                <a:lnTo>
                  <a:pt x="1933800" y="470885"/>
                </a:lnTo>
                <a:lnTo>
                  <a:pt x="2035896" y="470885"/>
                </a:lnTo>
                <a:lnTo>
                  <a:pt x="2035896" y="444977"/>
                </a:lnTo>
                <a:close/>
              </a:path>
              <a:path w="8383270" h="471170">
                <a:moveTo>
                  <a:pt x="1857600" y="444977"/>
                </a:moveTo>
                <a:lnTo>
                  <a:pt x="1755504" y="444977"/>
                </a:lnTo>
                <a:lnTo>
                  <a:pt x="1755504" y="470885"/>
                </a:lnTo>
                <a:lnTo>
                  <a:pt x="1857600" y="470885"/>
                </a:lnTo>
                <a:lnTo>
                  <a:pt x="1857600" y="444977"/>
                </a:lnTo>
                <a:close/>
              </a:path>
              <a:path w="8383270" h="471170">
                <a:moveTo>
                  <a:pt x="1679304" y="444977"/>
                </a:moveTo>
                <a:lnTo>
                  <a:pt x="1578732" y="444977"/>
                </a:lnTo>
                <a:lnTo>
                  <a:pt x="1578732" y="470885"/>
                </a:lnTo>
                <a:lnTo>
                  <a:pt x="1679304" y="470885"/>
                </a:lnTo>
                <a:lnTo>
                  <a:pt x="1679304" y="444977"/>
                </a:lnTo>
                <a:close/>
              </a:path>
              <a:path w="8383270" h="471170">
                <a:moveTo>
                  <a:pt x="1502542" y="444977"/>
                </a:moveTo>
                <a:lnTo>
                  <a:pt x="1400434" y="444977"/>
                </a:lnTo>
                <a:lnTo>
                  <a:pt x="1400434" y="470885"/>
                </a:lnTo>
                <a:lnTo>
                  <a:pt x="1502542" y="470885"/>
                </a:lnTo>
                <a:lnTo>
                  <a:pt x="1502542" y="444977"/>
                </a:lnTo>
                <a:close/>
              </a:path>
              <a:path w="8383270" h="471170">
                <a:moveTo>
                  <a:pt x="1324246" y="444977"/>
                </a:moveTo>
                <a:lnTo>
                  <a:pt x="1222150" y="444977"/>
                </a:lnTo>
                <a:lnTo>
                  <a:pt x="1222150" y="470885"/>
                </a:lnTo>
                <a:lnTo>
                  <a:pt x="1324246" y="470885"/>
                </a:lnTo>
                <a:lnTo>
                  <a:pt x="1324246" y="444977"/>
                </a:lnTo>
                <a:close/>
              </a:path>
              <a:path w="8383270" h="471170">
                <a:moveTo>
                  <a:pt x="1145950" y="444977"/>
                </a:moveTo>
                <a:lnTo>
                  <a:pt x="1045378" y="444977"/>
                </a:lnTo>
                <a:lnTo>
                  <a:pt x="1045378" y="470885"/>
                </a:lnTo>
                <a:lnTo>
                  <a:pt x="1145950" y="470885"/>
                </a:lnTo>
                <a:lnTo>
                  <a:pt x="1145950" y="444977"/>
                </a:lnTo>
                <a:close/>
              </a:path>
              <a:path w="8383270" h="471170">
                <a:moveTo>
                  <a:pt x="969178" y="444977"/>
                </a:moveTo>
                <a:lnTo>
                  <a:pt x="867082" y="444977"/>
                </a:lnTo>
                <a:lnTo>
                  <a:pt x="867082" y="470885"/>
                </a:lnTo>
                <a:lnTo>
                  <a:pt x="969178" y="470885"/>
                </a:lnTo>
                <a:lnTo>
                  <a:pt x="969178" y="444977"/>
                </a:lnTo>
                <a:close/>
              </a:path>
              <a:path w="8383270" h="471170">
                <a:moveTo>
                  <a:pt x="790895" y="444977"/>
                </a:moveTo>
                <a:lnTo>
                  <a:pt x="688787" y="444977"/>
                </a:lnTo>
                <a:lnTo>
                  <a:pt x="688787" y="470885"/>
                </a:lnTo>
                <a:lnTo>
                  <a:pt x="790895" y="470885"/>
                </a:lnTo>
                <a:lnTo>
                  <a:pt x="790895" y="444977"/>
                </a:lnTo>
                <a:close/>
              </a:path>
              <a:path w="8383270" h="471170">
                <a:moveTo>
                  <a:pt x="612599" y="444977"/>
                </a:moveTo>
                <a:lnTo>
                  <a:pt x="512027" y="444977"/>
                </a:lnTo>
                <a:lnTo>
                  <a:pt x="512027" y="470885"/>
                </a:lnTo>
                <a:lnTo>
                  <a:pt x="612599" y="470885"/>
                </a:lnTo>
                <a:lnTo>
                  <a:pt x="612599" y="444977"/>
                </a:lnTo>
                <a:close/>
              </a:path>
              <a:path w="8383270" h="471170">
                <a:moveTo>
                  <a:pt x="435827" y="444977"/>
                </a:moveTo>
                <a:lnTo>
                  <a:pt x="333731" y="444977"/>
                </a:lnTo>
                <a:lnTo>
                  <a:pt x="333731" y="470885"/>
                </a:lnTo>
                <a:lnTo>
                  <a:pt x="435827" y="470885"/>
                </a:lnTo>
                <a:lnTo>
                  <a:pt x="435827" y="444977"/>
                </a:lnTo>
                <a:close/>
              </a:path>
              <a:path w="8383270" h="471170">
                <a:moveTo>
                  <a:pt x="257531" y="444977"/>
                </a:moveTo>
                <a:lnTo>
                  <a:pt x="155435" y="444977"/>
                </a:lnTo>
                <a:lnTo>
                  <a:pt x="155435" y="470885"/>
                </a:lnTo>
                <a:lnTo>
                  <a:pt x="257531" y="470885"/>
                </a:lnTo>
                <a:lnTo>
                  <a:pt x="257531" y="444977"/>
                </a:lnTo>
                <a:close/>
              </a:path>
            </a:pathLst>
          </a:custGeom>
          <a:solidFill>
            <a:srgbClr val="6565F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320357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Absence IT</a:t>
            </a:r>
            <a:r>
              <a:rPr spc="-105" dirty="0">
                <a:solidFill>
                  <a:schemeClr val="accent1"/>
                </a:solidFill>
              </a:rPr>
              <a:t> </a:t>
            </a:r>
            <a:r>
              <a:rPr spc="-10" dirty="0">
                <a:solidFill>
                  <a:schemeClr val="accent1"/>
                </a:solidFill>
              </a:rPr>
              <a:t>2001</a:t>
            </a:r>
          </a:p>
        </p:txBody>
      </p:sp>
      <p:sp>
        <p:nvSpPr>
          <p:cNvPr id="4" name="object 4"/>
          <p:cNvSpPr/>
          <p:nvPr/>
        </p:nvSpPr>
        <p:spPr>
          <a:xfrm>
            <a:off x="1076370" y="2092787"/>
            <a:ext cx="7776331" cy="467981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773938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Grouping of </a:t>
            </a:r>
            <a:r>
              <a:rPr dirty="0">
                <a:solidFill>
                  <a:schemeClr val="accent1"/>
                </a:solidFill>
              </a:rPr>
              <a:t>PA- </a:t>
            </a:r>
            <a:r>
              <a:rPr spc="-5" dirty="0">
                <a:solidFill>
                  <a:schemeClr val="accent1"/>
                </a:solidFill>
              </a:rPr>
              <a:t>PSA </a:t>
            </a:r>
            <a:r>
              <a:rPr dirty="0">
                <a:solidFill>
                  <a:schemeClr val="accent1"/>
                </a:solidFill>
              </a:rPr>
              <a:t>for </a:t>
            </a:r>
            <a:r>
              <a:rPr spc="-5" dirty="0">
                <a:solidFill>
                  <a:schemeClr val="accent1"/>
                </a:solidFill>
              </a:rPr>
              <a:t>Absence</a:t>
            </a:r>
            <a:r>
              <a:rPr spc="-125" dirty="0">
                <a:solidFill>
                  <a:schemeClr val="accent1"/>
                </a:solidFill>
              </a:rPr>
              <a:t> </a:t>
            </a:r>
            <a:r>
              <a:rPr spc="-5" dirty="0"/>
              <a:t>types</a:t>
            </a:r>
          </a:p>
        </p:txBody>
      </p:sp>
      <p:sp>
        <p:nvSpPr>
          <p:cNvPr id="4" name="object 4"/>
          <p:cNvSpPr/>
          <p:nvPr/>
        </p:nvSpPr>
        <p:spPr>
          <a:xfrm>
            <a:off x="859981" y="1876397"/>
            <a:ext cx="7652887" cy="475296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412877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Define Absence</a:t>
            </a:r>
            <a:r>
              <a:rPr spc="-114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Type</a:t>
            </a:r>
          </a:p>
        </p:txBody>
      </p:sp>
      <p:sp>
        <p:nvSpPr>
          <p:cNvPr id="4" name="object 4"/>
          <p:cNvSpPr/>
          <p:nvPr/>
        </p:nvSpPr>
        <p:spPr>
          <a:xfrm>
            <a:off x="931602" y="1969352"/>
            <a:ext cx="7633075" cy="466001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7446009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Entry Screen and Time Const.</a:t>
            </a:r>
            <a:r>
              <a:rPr spc="-10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Classes</a:t>
            </a:r>
          </a:p>
        </p:txBody>
      </p:sp>
      <p:grpSp>
        <p:nvGrpSpPr>
          <p:cNvPr id="3" name="object 3"/>
          <p:cNvGrpSpPr/>
          <p:nvPr/>
        </p:nvGrpSpPr>
        <p:grpSpPr>
          <a:xfrm>
            <a:off x="716737" y="1804772"/>
            <a:ext cx="8890284" cy="5184223"/>
            <a:chOff x="716737" y="1804772"/>
            <a:chExt cx="8890284" cy="5184223"/>
          </a:xfrm>
        </p:grpSpPr>
        <p:sp>
          <p:nvSpPr>
            <p:cNvPr id="4" name="object 4"/>
            <p:cNvSpPr/>
            <p:nvPr/>
          </p:nvSpPr>
          <p:spPr>
            <a:xfrm>
              <a:off x="716737" y="1804772"/>
              <a:ext cx="8890284" cy="2087706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716737" y="3892478"/>
              <a:ext cx="8890284" cy="3096517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467106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Entry Screen </a:t>
            </a:r>
            <a:r>
              <a:rPr dirty="0">
                <a:solidFill>
                  <a:schemeClr val="accent1"/>
                </a:solidFill>
              </a:rPr>
              <a:t>for </a:t>
            </a:r>
            <a:r>
              <a:rPr spc="-5" dirty="0">
                <a:solidFill>
                  <a:schemeClr val="accent1"/>
                </a:solidFill>
              </a:rPr>
              <a:t>IT</a:t>
            </a:r>
            <a:r>
              <a:rPr spc="-100" dirty="0">
                <a:solidFill>
                  <a:schemeClr val="accent1"/>
                </a:solidFill>
              </a:rPr>
              <a:t> </a:t>
            </a:r>
            <a:r>
              <a:rPr spc="-10" dirty="0">
                <a:solidFill>
                  <a:schemeClr val="accent1"/>
                </a:solidFill>
              </a:rPr>
              <a:t>2001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999664" y="2089230"/>
            <a:ext cx="5447665" cy="6356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4965" marR="5080" indent="-342900">
              <a:lnSpc>
                <a:spcPct val="100000"/>
              </a:lnSpc>
              <a:spcBef>
                <a:spcPts val="1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The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following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screens are currently</a:t>
            </a:r>
            <a:r>
              <a:rPr sz="2000" spc="-12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available: 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Absences:</a:t>
            </a:r>
            <a:endParaRPr sz="2000"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463771" y="3892479"/>
            <a:ext cx="8832629" cy="2965521"/>
          </a:xfrm>
          <a:custGeom>
            <a:avLst/>
            <a:gdLst/>
            <a:ahLst/>
            <a:cxnLst/>
            <a:rect l="l" t="t" r="r" b="b"/>
            <a:pathLst>
              <a:path w="9143365" h="3429000">
                <a:moveTo>
                  <a:pt x="0" y="3428722"/>
                </a:moveTo>
                <a:lnTo>
                  <a:pt x="9143238" y="3428722"/>
                </a:lnTo>
                <a:lnTo>
                  <a:pt x="9143238" y="0"/>
                </a:lnTo>
                <a:lnTo>
                  <a:pt x="0" y="0"/>
                </a:lnTo>
                <a:lnTo>
                  <a:pt x="0" y="342872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7" name="object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4696113"/>
              </p:ext>
            </p:extLst>
          </p:nvPr>
        </p:nvGraphicFramePr>
        <p:xfrm>
          <a:off x="1462164" y="2735589"/>
          <a:ext cx="4328159" cy="211295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210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071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94536">
                <a:tc>
                  <a:txBody>
                    <a:bodyPr/>
                    <a:lstStyle/>
                    <a:p>
                      <a:pPr marL="31750">
                        <a:lnSpc>
                          <a:spcPts val="2215"/>
                        </a:lnSpc>
                      </a:pPr>
                      <a:r>
                        <a:rPr sz="2000" dirty="0">
                          <a:solidFill>
                            <a:srgbClr val="5E5E5E"/>
                          </a:solidFill>
                          <a:latin typeface="Arial"/>
                          <a:cs typeface="Arial"/>
                        </a:rPr>
                        <a:t>-</a:t>
                      </a:r>
                      <a:r>
                        <a:rPr sz="2000" spc="-60" dirty="0">
                          <a:solidFill>
                            <a:srgbClr val="5E5E5E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2000" dirty="0">
                          <a:solidFill>
                            <a:srgbClr val="5E5E5E"/>
                          </a:solidFill>
                          <a:latin typeface="Arial"/>
                          <a:cs typeface="Arial"/>
                        </a:rPr>
                        <a:t>2000</a:t>
                      </a:r>
                      <a:endParaRPr sz="20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2215"/>
                        </a:lnSpc>
                      </a:pPr>
                      <a:r>
                        <a:rPr sz="2000" dirty="0">
                          <a:solidFill>
                            <a:srgbClr val="5E5E5E"/>
                          </a:solidFill>
                          <a:latin typeface="Arial"/>
                          <a:cs typeface="Arial"/>
                        </a:rPr>
                        <a:t>Absences</a:t>
                      </a:r>
                      <a:r>
                        <a:rPr sz="2000" spc="-40" dirty="0">
                          <a:solidFill>
                            <a:srgbClr val="5E5E5E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2000" dirty="0">
                          <a:solidFill>
                            <a:srgbClr val="5E5E5E"/>
                          </a:solidFill>
                          <a:latin typeface="Arial"/>
                          <a:cs typeface="Arial"/>
                        </a:rPr>
                        <a:t>(general)</a:t>
                      </a:r>
                      <a:endParaRPr sz="20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4770">
                <a:tc>
                  <a:txBody>
                    <a:bodyPr/>
                    <a:lstStyle/>
                    <a:p>
                      <a:pPr marL="31750">
                        <a:lnSpc>
                          <a:spcPts val="2295"/>
                        </a:lnSpc>
                      </a:pPr>
                      <a:r>
                        <a:rPr sz="2000" dirty="0">
                          <a:solidFill>
                            <a:srgbClr val="5E5E5E"/>
                          </a:solidFill>
                          <a:latin typeface="Arial"/>
                          <a:cs typeface="Arial"/>
                        </a:rPr>
                        <a:t>-</a:t>
                      </a:r>
                      <a:r>
                        <a:rPr sz="2000" spc="-60" dirty="0">
                          <a:solidFill>
                            <a:srgbClr val="5E5E5E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2000" dirty="0">
                          <a:solidFill>
                            <a:srgbClr val="5E5E5E"/>
                          </a:solidFill>
                          <a:latin typeface="Arial"/>
                          <a:cs typeface="Arial"/>
                        </a:rPr>
                        <a:t>2001</a:t>
                      </a:r>
                      <a:endParaRPr sz="20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2295"/>
                        </a:lnSpc>
                      </a:pPr>
                      <a:r>
                        <a:rPr sz="2000" dirty="0">
                          <a:solidFill>
                            <a:srgbClr val="5E5E5E"/>
                          </a:solidFill>
                          <a:latin typeface="Arial"/>
                          <a:cs typeface="Arial"/>
                        </a:rPr>
                        <a:t>Quota</a:t>
                      </a:r>
                      <a:r>
                        <a:rPr sz="2000" spc="-35" dirty="0">
                          <a:solidFill>
                            <a:srgbClr val="5E5E5E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2000" dirty="0">
                          <a:solidFill>
                            <a:srgbClr val="5E5E5E"/>
                          </a:solidFill>
                          <a:latin typeface="Arial"/>
                          <a:cs typeface="Arial"/>
                        </a:rPr>
                        <a:t>deduction</a:t>
                      </a:r>
                      <a:endParaRPr sz="20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4778">
                <a:tc>
                  <a:txBody>
                    <a:bodyPr/>
                    <a:lstStyle/>
                    <a:p>
                      <a:pPr marL="31750">
                        <a:lnSpc>
                          <a:spcPts val="2295"/>
                        </a:lnSpc>
                      </a:pPr>
                      <a:endParaRPr sz="20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2295"/>
                        </a:lnSpc>
                      </a:pPr>
                      <a:endParaRPr sz="20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4778">
                <a:tc>
                  <a:txBody>
                    <a:bodyPr/>
                    <a:lstStyle/>
                    <a:p>
                      <a:pPr marL="31750">
                        <a:lnSpc>
                          <a:spcPts val="2295"/>
                        </a:lnSpc>
                      </a:pPr>
                      <a:endParaRPr sz="20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2295"/>
                        </a:lnSpc>
                      </a:pPr>
                      <a:endParaRPr sz="20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4775">
                <a:tc>
                  <a:txBody>
                    <a:bodyPr/>
                    <a:lstStyle/>
                    <a:p>
                      <a:pPr marL="31750">
                        <a:lnSpc>
                          <a:spcPts val="2295"/>
                        </a:lnSpc>
                      </a:pPr>
                      <a:endParaRPr sz="20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2295"/>
                        </a:lnSpc>
                      </a:pPr>
                      <a:endParaRPr sz="20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4776">
                <a:tc>
                  <a:txBody>
                    <a:bodyPr/>
                    <a:lstStyle/>
                    <a:p>
                      <a:pPr marL="31750">
                        <a:lnSpc>
                          <a:spcPts val="2295"/>
                        </a:lnSpc>
                      </a:pPr>
                      <a:endParaRPr sz="20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2295"/>
                        </a:lnSpc>
                      </a:pPr>
                      <a:endParaRPr sz="20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94542">
                <a:tc>
                  <a:txBody>
                    <a:bodyPr/>
                    <a:lstStyle/>
                    <a:p>
                      <a:pPr marL="31750">
                        <a:lnSpc>
                          <a:spcPts val="2220"/>
                        </a:lnSpc>
                      </a:pPr>
                      <a:endParaRPr sz="20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ts val="2220"/>
                        </a:lnSpc>
                      </a:pPr>
                      <a:endParaRPr sz="20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500824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IT </a:t>
            </a:r>
            <a:r>
              <a:rPr spc="-10" dirty="0"/>
              <a:t>2001 </a:t>
            </a:r>
            <a:r>
              <a:rPr dirty="0"/>
              <a:t>: </a:t>
            </a:r>
            <a:r>
              <a:rPr spc="-5" dirty="0"/>
              <a:t>PL </a:t>
            </a:r>
            <a:r>
              <a:rPr dirty="0"/>
              <a:t>: </a:t>
            </a:r>
            <a:r>
              <a:rPr spc="-5" dirty="0"/>
              <a:t>Screen</a:t>
            </a:r>
            <a:r>
              <a:rPr spc="-85" dirty="0"/>
              <a:t> </a:t>
            </a:r>
            <a:r>
              <a:rPr spc="-10" dirty="0"/>
              <a:t>2001</a:t>
            </a:r>
          </a:p>
        </p:txBody>
      </p:sp>
      <p:grpSp>
        <p:nvGrpSpPr>
          <p:cNvPr id="3" name="object 3"/>
          <p:cNvGrpSpPr/>
          <p:nvPr/>
        </p:nvGrpSpPr>
        <p:grpSpPr>
          <a:xfrm>
            <a:off x="1219614" y="1655435"/>
            <a:ext cx="7559923" cy="5190317"/>
            <a:chOff x="1219614" y="1655435"/>
            <a:chExt cx="7559923" cy="5190317"/>
          </a:xfrm>
        </p:grpSpPr>
        <p:sp>
          <p:nvSpPr>
            <p:cNvPr id="4" name="object 4"/>
            <p:cNvSpPr/>
            <p:nvPr/>
          </p:nvSpPr>
          <p:spPr>
            <a:xfrm>
              <a:off x="1219614" y="1655435"/>
              <a:ext cx="7559923" cy="2237043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219614" y="3892478"/>
              <a:ext cx="7559923" cy="2953274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33588"/>
            <a:ext cx="4486688" cy="50526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pc="-5" dirty="0">
                <a:solidFill>
                  <a:schemeClr val="accent1"/>
                </a:solidFill>
              </a:rPr>
              <a:t>(Work Schedule)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053004" y="1733247"/>
            <a:ext cx="6658609" cy="512762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70485" marR="652145" indent="-58419">
              <a:lnSpc>
                <a:spcPct val="110000"/>
              </a:lnSpc>
              <a:spcBef>
                <a:spcPts val="100"/>
              </a:spcBef>
              <a:buClr>
                <a:srgbClr val="323299"/>
              </a:buClr>
              <a:buSzPct val="95000"/>
              <a:buFont typeface="Wingdings"/>
              <a:buChar char=""/>
              <a:tabLst>
                <a:tab pos="130175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The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Daily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work schedule specifies the working</a:t>
            </a:r>
            <a:r>
              <a:rPr sz="2000" spc="-16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times 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and</a:t>
            </a:r>
            <a:r>
              <a:rPr sz="2000" spc="-3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breaks</a:t>
            </a:r>
            <a:endParaRPr sz="2000">
              <a:latin typeface="Arial"/>
              <a:cs typeface="Arial"/>
            </a:endParaRPr>
          </a:p>
          <a:p>
            <a:pPr marL="70485" marR="1080135" indent="-58419">
              <a:lnSpc>
                <a:spcPct val="110000"/>
              </a:lnSpc>
              <a:spcBef>
                <a:spcPts val="1195"/>
              </a:spcBef>
              <a:buClr>
                <a:srgbClr val="323299"/>
              </a:buClr>
              <a:buSzPct val="95000"/>
              <a:buFont typeface="Wingdings"/>
              <a:buChar char=""/>
              <a:tabLst>
                <a:tab pos="130175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A period work schedule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is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a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fixed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pattern of</a:t>
            </a:r>
            <a:r>
              <a:rPr sz="2000" spc="-17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daily 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work</a:t>
            </a:r>
            <a:r>
              <a:rPr sz="2000" spc="-4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schedules</a:t>
            </a:r>
            <a:endParaRPr sz="2000">
              <a:latin typeface="Arial"/>
              <a:cs typeface="Arial"/>
            </a:endParaRPr>
          </a:p>
          <a:p>
            <a:pPr marL="129539" indent="-117475">
              <a:lnSpc>
                <a:spcPct val="100000"/>
              </a:lnSpc>
              <a:spcBef>
                <a:spcPts val="1440"/>
              </a:spcBef>
              <a:buClr>
                <a:srgbClr val="323299"/>
              </a:buClr>
              <a:buSzPct val="95000"/>
              <a:buFont typeface="Wingdings"/>
              <a:buChar char=""/>
              <a:tabLst>
                <a:tab pos="130175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A work schedule rule links the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following</a:t>
            </a:r>
            <a:r>
              <a:rPr sz="2000" spc="-13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elements:</a:t>
            </a:r>
            <a:endParaRPr sz="2000">
              <a:latin typeface="Arial"/>
              <a:cs typeface="Arial"/>
            </a:endParaRPr>
          </a:p>
          <a:p>
            <a:pPr marL="570230" lvl="1" indent="-292100">
              <a:lnSpc>
                <a:spcPct val="100000"/>
              </a:lnSpc>
              <a:spcBef>
                <a:spcPts val="1390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Public Holiday</a:t>
            </a:r>
            <a:r>
              <a:rPr sz="1800" spc="3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calendar</a:t>
            </a:r>
            <a:endParaRPr sz="1800">
              <a:latin typeface="Arial"/>
              <a:cs typeface="Arial"/>
            </a:endParaRPr>
          </a:p>
          <a:p>
            <a:pPr marL="570230" lvl="1" indent="-292100">
              <a:lnSpc>
                <a:spcPct val="100000"/>
              </a:lnSpc>
              <a:spcBef>
                <a:spcPts val="1295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Period </a:t>
            </a:r>
            <a:r>
              <a:rPr sz="1800" spc="-15" dirty="0">
                <a:solidFill>
                  <a:srgbClr val="5E5E5E"/>
                </a:solidFill>
                <a:latin typeface="Arial"/>
                <a:cs typeface="Arial"/>
              </a:rPr>
              <a:t>work</a:t>
            </a:r>
            <a:r>
              <a:rPr sz="1800" spc="3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schedule</a:t>
            </a:r>
            <a:endParaRPr sz="1800">
              <a:latin typeface="Arial"/>
              <a:cs typeface="Arial"/>
            </a:endParaRPr>
          </a:p>
          <a:p>
            <a:pPr marL="570230" lvl="1" indent="-292100">
              <a:lnSpc>
                <a:spcPct val="100000"/>
              </a:lnSpc>
              <a:spcBef>
                <a:spcPts val="1295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Daily </a:t>
            </a:r>
            <a:r>
              <a:rPr sz="1800" spc="-15" dirty="0">
                <a:solidFill>
                  <a:srgbClr val="5E5E5E"/>
                </a:solidFill>
                <a:latin typeface="Arial"/>
                <a:cs typeface="Arial"/>
              </a:rPr>
              <a:t>work</a:t>
            </a:r>
            <a:r>
              <a:rPr sz="1800" spc="4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schedule</a:t>
            </a:r>
            <a:endParaRPr sz="1800">
              <a:latin typeface="Arial"/>
              <a:cs typeface="Arial"/>
            </a:endParaRPr>
          </a:p>
          <a:p>
            <a:pPr marL="570230" lvl="1" indent="-292100">
              <a:lnSpc>
                <a:spcPct val="100000"/>
              </a:lnSpc>
              <a:spcBef>
                <a:spcPts val="1295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Work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break schedule</a:t>
            </a:r>
            <a:endParaRPr sz="1800">
              <a:latin typeface="Arial"/>
              <a:cs typeface="Arial"/>
            </a:endParaRPr>
          </a:p>
          <a:p>
            <a:pPr marL="570230" lvl="1" indent="-292100">
              <a:lnSpc>
                <a:spcPct val="100000"/>
              </a:lnSpc>
              <a:spcBef>
                <a:spcPts val="1295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Personnel subarea</a:t>
            </a:r>
            <a:r>
              <a:rPr sz="1800" spc="2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grouping</a:t>
            </a:r>
            <a:endParaRPr sz="1800">
              <a:latin typeface="Arial"/>
              <a:cs typeface="Arial"/>
            </a:endParaRPr>
          </a:p>
          <a:p>
            <a:pPr marL="570230" lvl="1" indent="-292100">
              <a:lnSpc>
                <a:spcPct val="100000"/>
              </a:lnSpc>
              <a:spcBef>
                <a:spcPts val="1300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Employee subgroup</a:t>
            </a:r>
            <a:r>
              <a:rPr sz="1800" spc="4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grouping</a:t>
            </a:r>
            <a:endParaRPr sz="1800">
              <a:latin typeface="Arial"/>
              <a:cs typeface="Arial"/>
            </a:endParaRPr>
          </a:p>
          <a:p>
            <a:pPr marL="129539" indent="-117475">
              <a:lnSpc>
                <a:spcPct val="100000"/>
              </a:lnSpc>
              <a:spcBef>
                <a:spcPts val="1345"/>
              </a:spcBef>
              <a:buClr>
                <a:srgbClr val="323299"/>
              </a:buClr>
              <a:buSzPct val="95000"/>
              <a:buFont typeface="Wingdings"/>
              <a:buChar char=""/>
              <a:tabLst>
                <a:tab pos="130175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The work schedule rule can be defaulted on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infotype</a:t>
            </a:r>
            <a:r>
              <a:rPr sz="2000" spc="-20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0007</a:t>
            </a:r>
            <a:endParaRPr sz="20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631698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IT </a:t>
            </a:r>
            <a:r>
              <a:rPr spc="-10" dirty="0"/>
              <a:t>2001 </a:t>
            </a:r>
            <a:r>
              <a:rPr dirty="0"/>
              <a:t>: </a:t>
            </a:r>
            <a:r>
              <a:rPr spc="-5" dirty="0"/>
              <a:t>Screen </a:t>
            </a:r>
            <a:r>
              <a:rPr spc="-10" dirty="0"/>
              <a:t>2000 </a:t>
            </a:r>
            <a:r>
              <a:rPr dirty="0"/>
              <a:t>: No</a:t>
            </a:r>
            <a:r>
              <a:rPr spc="-105" dirty="0"/>
              <a:t> </a:t>
            </a:r>
            <a:r>
              <a:rPr dirty="0"/>
              <a:t>Quota</a:t>
            </a:r>
          </a:p>
        </p:txBody>
      </p:sp>
      <p:sp>
        <p:nvSpPr>
          <p:cNvPr id="4" name="object 4"/>
          <p:cNvSpPr/>
          <p:nvPr/>
        </p:nvSpPr>
        <p:spPr>
          <a:xfrm>
            <a:off x="1076370" y="1778867"/>
            <a:ext cx="7919557" cy="499373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3611879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Absence</a:t>
            </a:r>
            <a:r>
              <a:rPr spc="-95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Counting</a:t>
            </a:r>
          </a:p>
        </p:txBody>
      </p:sp>
      <p:sp>
        <p:nvSpPr>
          <p:cNvPr id="4" name="object 4"/>
          <p:cNvSpPr/>
          <p:nvPr/>
        </p:nvSpPr>
        <p:spPr>
          <a:xfrm>
            <a:off x="931602" y="2021165"/>
            <a:ext cx="8423970" cy="417541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463774" y="463783"/>
            <a:ext cx="9143365" cy="3429000"/>
            <a:chOff x="463774" y="463783"/>
            <a:chExt cx="9143365" cy="3429000"/>
          </a:xfrm>
        </p:grpSpPr>
        <p:sp>
          <p:nvSpPr>
            <p:cNvPr id="3" name="object 3"/>
            <p:cNvSpPr/>
            <p:nvPr/>
          </p:nvSpPr>
          <p:spPr>
            <a:xfrm>
              <a:off x="1055037" y="1652399"/>
              <a:ext cx="7842250" cy="2240280"/>
            </a:xfrm>
            <a:custGeom>
              <a:avLst/>
              <a:gdLst/>
              <a:ahLst/>
              <a:cxnLst/>
              <a:rect l="l" t="t" r="r" b="b"/>
              <a:pathLst>
                <a:path w="7842250" h="2240279">
                  <a:moveTo>
                    <a:pt x="0" y="2240079"/>
                  </a:moveTo>
                  <a:lnTo>
                    <a:pt x="7841864" y="2240079"/>
                  </a:lnTo>
                  <a:lnTo>
                    <a:pt x="7841864" y="0"/>
                  </a:lnTo>
                  <a:lnTo>
                    <a:pt x="0" y="0"/>
                  </a:lnTo>
                  <a:lnTo>
                    <a:pt x="0" y="2240079"/>
                  </a:lnTo>
                  <a:close/>
                </a:path>
              </a:pathLst>
            </a:custGeom>
            <a:solidFill>
              <a:srgbClr val="FCD1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1042845" y="1638665"/>
              <a:ext cx="7866380" cy="2254250"/>
            </a:xfrm>
            <a:custGeom>
              <a:avLst/>
              <a:gdLst/>
              <a:ahLst/>
              <a:cxnLst/>
              <a:rect l="l" t="t" r="r" b="b"/>
              <a:pathLst>
                <a:path w="7866380" h="2254250">
                  <a:moveTo>
                    <a:pt x="7866245" y="0"/>
                  </a:moveTo>
                  <a:lnTo>
                    <a:pt x="0" y="0"/>
                  </a:lnTo>
                  <a:lnTo>
                    <a:pt x="0" y="2253813"/>
                  </a:lnTo>
                  <a:lnTo>
                    <a:pt x="24384" y="2253813"/>
                  </a:lnTo>
                  <a:lnTo>
                    <a:pt x="24384" y="25908"/>
                  </a:lnTo>
                  <a:lnTo>
                    <a:pt x="12192" y="25908"/>
                  </a:lnTo>
                  <a:lnTo>
                    <a:pt x="24384" y="13716"/>
                  </a:lnTo>
                  <a:lnTo>
                    <a:pt x="7866245" y="13716"/>
                  </a:lnTo>
                  <a:lnTo>
                    <a:pt x="7866245" y="0"/>
                  </a:lnTo>
                  <a:close/>
                </a:path>
                <a:path w="7866380" h="2254250">
                  <a:moveTo>
                    <a:pt x="7840337" y="13716"/>
                  </a:moveTo>
                  <a:lnTo>
                    <a:pt x="7840337" y="2253813"/>
                  </a:lnTo>
                  <a:lnTo>
                    <a:pt x="7866245" y="2253813"/>
                  </a:lnTo>
                  <a:lnTo>
                    <a:pt x="7866245" y="25908"/>
                  </a:lnTo>
                  <a:lnTo>
                    <a:pt x="7854053" y="25908"/>
                  </a:lnTo>
                  <a:lnTo>
                    <a:pt x="7840337" y="13716"/>
                  </a:lnTo>
                  <a:close/>
                </a:path>
                <a:path w="7866380" h="2254250">
                  <a:moveTo>
                    <a:pt x="24384" y="13716"/>
                  </a:moveTo>
                  <a:lnTo>
                    <a:pt x="12192" y="25908"/>
                  </a:lnTo>
                  <a:lnTo>
                    <a:pt x="24384" y="25908"/>
                  </a:lnTo>
                  <a:lnTo>
                    <a:pt x="24384" y="13716"/>
                  </a:lnTo>
                  <a:close/>
                </a:path>
                <a:path w="7866380" h="2254250">
                  <a:moveTo>
                    <a:pt x="7840337" y="13716"/>
                  </a:moveTo>
                  <a:lnTo>
                    <a:pt x="24384" y="13716"/>
                  </a:lnTo>
                  <a:lnTo>
                    <a:pt x="24384" y="25908"/>
                  </a:lnTo>
                  <a:lnTo>
                    <a:pt x="7840337" y="25908"/>
                  </a:lnTo>
                  <a:lnTo>
                    <a:pt x="7840337" y="13716"/>
                  </a:lnTo>
                  <a:close/>
                </a:path>
                <a:path w="7866380" h="2254250">
                  <a:moveTo>
                    <a:pt x="7866245" y="13716"/>
                  </a:moveTo>
                  <a:lnTo>
                    <a:pt x="7840337" y="13716"/>
                  </a:lnTo>
                  <a:lnTo>
                    <a:pt x="7854053" y="25908"/>
                  </a:lnTo>
                  <a:lnTo>
                    <a:pt x="7866245" y="25908"/>
                  </a:lnTo>
                  <a:lnTo>
                    <a:pt x="7866245" y="13716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3366757" y="2388425"/>
              <a:ext cx="2552700" cy="1480185"/>
            </a:xfrm>
            <a:custGeom>
              <a:avLst/>
              <a:gdLst/>
              <a:ahLst/>
              <a:cxnLst/>
              <a:rect l="l" t="t" r="r" b="b"/>
              <a:pathLst>
                <a:path w="2552700" h="1480185">
                  <a:moveTo>
                    <a:pt x="76161" y="800036"/>
                  </a:moveTo>
                  <a:lnTo>
                    <a:pt x="50253" y="834263"/>
                  </a:lnTo>
                  <a:lnTo>
                    <a:pt x="50253" y="31991"/>
                  </a:lnTo>
                  <a:lnTo>
                    <a:pt x="24384" y="31991"/>
                  </a:lnTo>
                  <a:lnTo>
                    <a:pt x="24384" y="832218"/>
                  </a:lnTo>
                  <a:lnTo>
                    <a:pt x="0" y="800036"/>
                  </a:lnTo>
                  <a:lnTo>
                    <a:pt x="38100" y="926528"/>
                  </a:lnTo>
                  <a:lnTo>
                    <a:pt x="61023" y="850328"/>
                  </a:lnTo>
                  <a:lnTo>
                    <a:pt x="76161" y="800036"/>
                  </a:lnTo>
                  <a:close/>
                </a:path>
                <a:path w="2552700" h="1480185">
                  <a:moveTo>
                    <a:pt x="2514384" y="1441602"/>
                  </a:moveTo>
                  <a:lnTo>
                    <a:pt x="2468295" y="1427886"/>
                  </a:lnTo>
                  <a:lnTo>
                    <a:pt x="2386368" y="1403502"/>
                  </a:lnTo>
                  <a:lnTo>
                    <a:pt x="2419527" y="1427886"/>
                  </a:lnTo>
                  <a:lnTo>
                    <a:pt x="533336" y="1427886"/>
                  </a:lnTo>
                  <a:lnTo>
                    <a:pt x="533336" y="1453769"/>
                  </a:lnTo>
                  <a:lnTo>
                    <a:pt x="2421623" y="1453769"/>
                  </a:lnTo>
                  <a:lnTo>
                    <a:pt x="2386368" y="1479677"/>
                  </a:lnTo>
                  <a:lnTo>
                    <a:pt x="2473490" y="1453769"/>
                  </a:lnTo>
                  <a:lnTo>
                    <a:pt x="2514384" y="1441602"/>
                  </a:lnTo>
                  <a:close/>
                </a:path>
                <a:path w="2552700" h="1480185">
                  <a:moveTo>
                    <a:pt x="2552484" y="0"/>
                  </a:moveTo>
                  <a:lnTo>
                    <a:pt x="38100" y="0"/>
                  </a:lnTo>
                  <a:lnTo>
                    <a:pt x="38100" y="25895"/>
                  </a:lnTo>
                  <a:lnTo>
                    <a:pt x="2552484" y="25895"/>
                  </a:lnTo>
                  <a:lnTo>
                    <a:pt x="2552484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902649" y="1632588"/>
              <a:ext cx="3136265" cy="508000"/>
            </a:xfrm>
            <a:custGeom>
              <a:avLst/>
              <a:gdLst/>
              <a:ahLst/>
              <a:cxnLst/>
              <a:rect l="l" t="t" r="r" b="b"/>
              <a:pathLst>
                <a:path w="3136265" h="508000">
                  <a:moveTo>
                    <a:pt x="3136117" y="0"/>
                  </a:moveTo>
                  <a:lnTo>
                    <a:pt x="0" y="0"/>
                  </a:lnTo>
                  <a:lnTo>
                    <a:pt x="0" y="507443"/>
                  </a:lnTo>
                  <a:lnTo>
                    <a:pt x="3136117" y="507443"/>
                  </a:lnTo>
                  <a:lnTo>
                    <a:pt x="313611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890458" y="1620377"/>
              <a:ext cx="3162300" cy="533400"/>
            </a:xfrm>
            <a:custGeom>
              <a:avLst/>
              <a:gdLst/>
              <a:ahLst/>
              <a:cxnLst/>
              <a:rect l="l" t="t" r="r" b="b"/>
              <a:pathLst>
                <a:path w="3162300" h="533400">
                  <a:moveTo>
                    <a:pt x="3162041" y="0"/>
                  </a:moveTo>
                  <a:lnTo>
                    <a:pt x="0" y="0"/>
                  </a:lnTo>
                  <a:lnTo>
                    <a:pt x="0" y="533369"/>
                  </a:lnTo>
                  <a:lnTo>
                    <a:pt x="3162041" y="533369"/>
                  </a:lnTo>
                  <a:lnTo>
                    <a:pt x="3162041" y="519653"/>
                  </a:lnTo>
                  <a:lnTo>
                    <a:pt x="24384" y="519653"/>
                  </a:lnTo>
                  <a:lnTo>
                    <a:pt x="12192" y="507461"/>
                  </a:lnTo>
                  <a:lnTo>
                    <a:pt x="24384" y="507461"/>
                  </a:lnTo>
                  <a:lnTo>
                    <a:pt x="24384" y="24384"/>
                  </a:lnTo>
                  <a:lnTo>
                    <a:pt x="12192" y="24384"/>
                  </a:lnTo>
                  <a:lnTo>
                    <a:pt x="24384" y="12192"/>
                  </a:lnTo>
                  <a:lnTo>
                    <a:pt x="3162041" y="12192"/>
                  </a:lnTo>
                  <a:lnTo>
                    <a:pt x="3162041" y="0"/>
                  </a:lnTo>
                  <a:close/>
                </a:path>
                <a:path w="3162300" h="533400">
                  <a:moveTo>
                    <a:pt x="24384" y="507461"/>
                  </a:moveTo>
                  <a:lnTo>
                    <a:pt x="12192" y="507461"/>
                  </a:lnTo>
                  <a:lnTo>
                    <a:pt x="24384" y="519653"/>
                  </a:lnTo>
                  <a:lnTo>
                    <a:pt x="24384" y="507461"/>
                  </a:lnTo>
                  <a:close/>
                </a:path>
                <a:path w="3162300" h="533400">
                  <a:moveTo>
                    <a:pt x="3136133" y="507461"/>
                  </a:moveTo>
                  <a:lnTo>
                    <a:pt x="24384" y="507461"/>
                  </a:lnTo>
                  <a:lnTo>
                    <a:pt x="24384" y="519653"/>
                  </a:lnTo>
                  <a:lnTo>
                    <a:pt x="3136133" y="519653"/>
                  </a:lnTo>
                  <a:lnTo>
                    <a:pt x="3136133" y="507461"/>
                  </a:lnTo>
                  <a:close/>
                </a:path>
                <a:path w="3162300" h="533400">
                  <a:moveTo>
                    <a:pt x="3136133" y="12192"/>
                  </a:moveTo>
                  <a:lnTo>
                    <a:pt x="3136133" y="519653"/>
                  </a:lnTo>
                  <a:lnTo>
                    <a:pt x="3148325" y="507461"/>
                  </a:lnTo>
                  <a:lnTo>
                    <a:pt x="3162041" y="507461"/>
                  </a:lnTo>
                  <a:lnTo>
                    <a:pt x="3162041" y="24384"/>
                  </a:lnTo>
                  <a:lnTo>
                    <a:pt x="3148325" y="24384"/>
                  </a:lnTo>
                  <a:lnTo>
                    <a:pt x="3136133" y="12192"/>
                  </a:lnTo>
                  <a:close/>
                </a:path>
                <a:path w="3162300" h="533400">
                  <a:moveTo>
                    <a:pt x="3162041" y="507461"/>
                  </a:moveTo>
                  <a:lnTo>
                    <a:pt x="3148325" y="507461"/>
                  </a:lnTo>
                  <a:lnTo>
                    <a:pt x="3136133" y="519653"/>
                  </a:lnTo>
                  <a:lnTo>
                    <a:pt x="3162041" y="519653"/>
                  </a:lnTo>
                  <a:lnTo>
                    <a:pt x="3162041" y="507461"/>
                  </a:lnTo>
                  <a:close/>
                </a:path>
                <a:path w="3162300" h="533400">
                  <a:moveTo>
                    <a:pt x="24384" y="12192"/>
                  </a:moveTo>
                  <a:lnTo>
                    <a:pt x="12192" y="24384"/>
                  </a:lnTo>
                  <a:lnTo>
                    <a:pt x="24384" y="24384"/>
                  </a:lnTo>
                  <a:lnTo>
                    <a:pt x="24384" y="12192"/>
                  </a:lnTo>
                  <a:close/>
                </a:path>
                <a:path w="3162300" h="533400">
                  <a:moveTo>
                    <a:pt x="3136133" y="12192"/>
                  </a:moveTo>
                  <a:lnTo>
                    <a:pt x="24384" y="12192"/>
                  </a:lnTo>
                  <a:lnTo>
                    <a:pt x="24384" y="24384"/>
                  </a:lnTo>
                  <a:lnTo>
                    <a:pt x="3136133" y="24384"/>
                  </a:lnTo>
                  <a:lnTo>
                    <a:pt x="3136133" y="12192"/>
                  </a:lnTo>
                  <a:close/>
                </a:path>
                <a:path w="3162300" h="533400">
                  <a:moveTo>
                    <a:pt x="3162041" y="12192"/>
                  </a:moveTo>
                  <a:lnTo>
                    <a:pt x="3136133" y="12192"/>
                  </a:lnTo>
                  <a:lnTo>
                    <a:pt x="3148325" y="24384"/>
                  </a:lnTo>
                  <a:lnTo>
                    <a:pt x="3162041" y="24384"/>
                  </a:lnTo>
                  <a:lnTo>
                    <a:pt x="3162041" y="1219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1692022" y="1691505"/>
            <a:ext cx="2117978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95"/>
              </a:spcBef>
            </a:pPr>
            <a:r>
              <a:rPr sz="2200" spc="-10" dirty="0">
                <a:latin typeface="Liberation Sans Narrow"/>
                <a:cs typeface="Liberation Sans Narrow"/>
              </a:rPr>
              <a:t>Configuration:</a:t>
            </a:r>
            <a:endParaRPr sz="2200" dirty="0">
              <a:latin typeface="Liberation Sans Narrow"/>
              <a:cs typeface="Liberation Sans Narrow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5859810" y="1826117"/>
            <a:ext cx="3001488" cy="2066925"/>
            <a:chOff x="5859810" y="1826117"/>
            <a:chExt cx="2587625" cy="2066925"/>
          </a:xfrm>
        </p:grpSpPr>
        <p:sp>
          <p:nvSpPr>
            <p:cNvPr id="10" name="object 10"/>
            <p:cNvSpPr/>
            <p:nvPr/>
          </p:nvSpPr>
          <p:spPr>
            <a:xfrm>
              <a:off x="5931438" y="1842872"/>
              <a:ext cx="2488565" cy="1003300"/>
            </a:xfrm>
            <a:custGeom>
              <a:avLst/>
              <a:gdLst/>
              <a:ahLst/>
              <a:cxnLst/>
              <a:rect l="l" t="t" r="r" b="b"/>
              <a:pathLst>
                <a:path w="2488565" h="1003300">
                  <a:moveTo>
                    <a:pt x="2488478" y="0"/>
                  </a:moveTo>
                  <a:lnTo>
                    <a:pt x="0" y="0"/>
                  </a:lnTo>
                  <a:lnTo>
                    <a:pt x="0" y="1002709"/>
                  </a:lnTo>
                  <a:lnTo>
                    <a:pt x="2488478" y="1002709"/>
                  </a:lnTo>
                  <a:lnTo>
                    <a:pt x="2488478" y="0"/>
                  </a:lnTo>
                  <a:close/>
                </a:path>
              </a:pathLst>
            </a:custGeom>
            <a:solidFill>
              <a:srgbClr val="B7EAF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5917722" y="1827641"/>
              <a:ext cx="2517775" cy="1031875"/>
            </a:xfrm>
            <a:custGeom>
              <a:avLst/>
              <a:gdLst/>
              <a:ahLst/>
              <a:cxnLst/>
              <a:rect l="l" t="t" r="r" b="b"/>
              <a:pathLst>
                <a:path w="2517775" h="1031875">
                  <a:moveTo>
                    <a:pt x="2517434" y="0"/>
                  </a:moveTo>
                  <a:lnTo>
                    <a:pt x="0" y="0"/>
                  </a:lnTo>
                  <a:lnTo>
                    <a:pt x="0" y="1031656"/>
                  </a:lnTo>
                  <a:lnTo>
                    <a:pt x="2517434" y="1031656"/>
                  </a:lnTo>
                  <a:lnTo>
                    <a:pt x="2517434" y="1017940"/>
                  </a:lnTo>
                  <a:lnTo>
                    <a:pt x="27432" y="1017940"/>
                  </a:lnTo>
                  <a:lnTo>
                    <a:pt x="13716" y="1004224"/>
                  </a:lnTo>
                  <a:lnTo>
                    <a:pt x="27432" y="1004224"/>
                  </a:lnTo>
                  <a:lnTo>
                    <a:pt x="27432" y="28956"/>
                  </a:lnTo>
                  <a:lnTo>
                    <a:pt x="13716" y="28956"/>
                  </a:lnTo>
                  <a:lnTo>
                    <a:pt x="27432" y="15240"/>
                  </a:lnTo>
                  <a:lnTo>
                    <a:pt x="2517434" y="15240"/>
                  </a:lnTo>
                  <a:lnTo>
                    <a:pt x="2517434" y="0"/>
                  </a:lnTo>
                  <a:close/>
                </a:path>
                <a:path w="2517775" h="1031875">
                  <a:moveTo>
                    <a:pt x="27432" y="1004224"/>
                  </a:moveTo>
                  <a:lnTo>
                    <a:pt x="13716" y="1004224"/>
                  </a:lnTo>
                  <a:lnTo>
                    <a:pt x="27432" y="1017940"/>
                  </a:lnTo>
                  <a:lnTo>
                    <a:pt x="27432" y="1004224"/>
                  </a:lnTo>
                  <a:close/>
                </a:path>
                <a:path w="2517775" h="1031875">
                  <a:moveTo>
                    <a:pt x="2488478" y="1004224"/>
                  </a:moveTo>
                  <a:lnTo>
                    <a:pt x="27432" y="1004224"/>
                  </a:lnTo>
                  <a:lnTo>
                    <a:pt x="27432" y="1017940"/>
                  </a:lnTo>
                  <a:lnTo>
                    <a:pt x="2488478" y="1017940"/>
                  </a:lnTo>
                  <a:lnTo>
                    <a:pt x="2488478" y="1004224"/>
                  </a:lnTo>
                  <a:close/>
                </a:path>
                <a:path w="2517775" h="1031875">
                  <a:moveTo>
                    <a:pt x="2488478" y="15240"/>
                  </a:moveTo>
                  <a:lnTo>
                    <a:pt x="2488478" y="1017940"/>
                  </a:lnTo>
                  <a:lnTo>
                    <a:pt x="2502194" y="1004224"/>
                  </a:lnTo>
                  <a:lnTo>
                    <a:pt x="2517434" y="1004224"/>
                  </a:lnTo>
                  <a:lnTo>
                    <a:pt x="2517434" y="28956"/>
                  </a:lnTo>
                  <a:lnTo>
                    <a:pt x="2502194" y="28956"/>
                  </a:lnTo>
                  <a:lnTo>
                    <a:pt x="2488478" y="15240"/>
                  </a:lnTo>
                  <a:close/>
                </a:path>
                <a:path w="2517775" h="1031875">
                  <a:moveTo>
                    <a:pt x="2517434" y="1004224"/>
                  </a:moveTo>
                  <a:lnTo>
                    <a:pt x="2502194" y="1004224"/>
                  </a:lnTo>
                  <a:lnTo>
                    <a:pt x="2488478" y="1017940"/>
                  </a:lnTo>
                  <a:lnTo>
                    <a:pt x="2517434" y="1017940"/>
                  </a:lnTo>
                  <a:lnTo>
                    <a:pt x="2517434" y="1004224"/>
                  </a:lnTo>
                  <a:close/>
                </a:path>
                <a:path w="2517775" h="1031875">
                  <a:moveTo>
                    <a:pt x="27432" y="15240"/>
                  </a:moveTo>
                  <a:lnTo>
                    <a:pt x="13716" y="28956"/>
                  </a:lnTo>
                  <a:lnTo>
                    <a:pt x="27432" y="28956"/>
                  </a:lnTo>
                  <a:lnTo>
                    <a:pt x="27432" y="15240"/>
                  </a:lnTo>
                  <a:close/>
                </a:path>
                <a:path w="2517775" h="1031875">
                  <a:moveTo>
                    <a:pt x="2488478" y="15240"/>
                  </a:moveTo>
                  <a:lnTo>
                    <a:pt x="27432" y="15240"/>
                  </a:lnTo>
                  <a:lnTo>
                    <a:pt x="27432" y="28956"/>
                  </a:lnTo>
                  <a:lnTo>
                    <a:pt x="2488478" y="28956"/>
                  </a:lnTo>
                  <a:lnTo>
                    <a:pt x="2488478" y="15240"/>
                  </a:lnTo>
                  <a:close/>
                </a:path>
                <a:path w="2517775" h="1031875">
                  <a:moveTo>
                    <a:pt x="2517434" y="15240"/>
                  </a:moveTo>
                  <a:lnTo>
                    <a:pt x="2488478" y="15240"/>
                  </a:lnTo>
                  <a:lnTo>
                    <a:pt x="2502194" y="28956"/>
                  </a:lnTo>
                  <a:lnTo>
                    <a:pt x="2517434" y="28956"/>
                  </a:lnTo>
                  <a:lnTo>
                    <a:pt x="2517434" y="1524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6082283" y="1841348"/>
              <a:ext cx="2221865" cy="1035050"/>
            </a:xfrm>
            <a:custGeom>
              <a:avLst/>
              <a:gdLst/>
              <a:ahLst/>
              <a:cxnLst/>
              <a:rect l="l" t="t" r="r" b="b"/>
              <a:pathLst>
                <a:path w="2221865" h="1035050">
                  <a:moveTo>
                    <a:pt x="2221802" y="0"/>
                  </a:moveTo>
                  <a:lnTo>
                    <a:pt x="0" y="0"/>
                  </a:lnTo>
                  <a:lnTo>
                    <a:pt x="0" y="1034713"/>
                  </a:lnTo>
                  <a:lnTo>
                    <a:pt x="2221802" y="1034713"/>
                  </a:lnTo>
                  <a:lnTo>
                    <a:pt x="2221802" y="0"/>
                  </a:lnTo>
                  <a:close/>
                </a:path>
              </a:pathLst>
            </a:custGeom>
            <a:solidFill>
              <a:srgbClr val="B7EAF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6068568" y="1826117"/>
              <a:ext cx="2251075" cy="1064260"/>
            </a:xfrm>
            <a:custGeom>
              <a:avLst/>
              <a:gdLst/>
              <a:ahLst/>
              <a:cxnLst/>
              <a:rect l="l" t="t" r="r" b="b"/>
              <a:pathLst>
                <a:path w="2251075" h="1064260">
                  <a:moveTo>
                    <a:pt x="2250765" y="0"/>
                  </a:moveTo>
                  <a:lnTo>
                    <a:pt x="0" y="0"/>
                  </a:lnTo>
                  <a:lnTo>
                    <a:pt x="0" y="1063660"/>
                  </a:lnTo>
                  <a:lnTo>
                    <a:pt x="2250765" y="1063660"/>
                  </a:lnTo>
                  <a:lnTo>
                    <a:pt x="2250765" y="1049944"/>
                  </a:lnTo>
                  <a:lnTo>
                    <a:pt x="27432" y="1049944"/>
                  </a:lnTo>
                  <a:lnTo>
                    <a:pt x="13716" y="1034704"/>
                  </a:lnTo>
                  <a:lnTo>
                    <a:pt x="27432" y="1034704"/>
                  </a:lnTo>
                  <a:lnTo>
                    <a:pt x="27432" y="28956"/>
                  </a:lnTo>
                  <a:lnTo>
                    <a:pt x="13716" y="28956"/>
                  </a:lnTo>
                  <a:lnTo>
                    <a:pt x="27432" y="15240"/>
                  </a:lnTo>
                  <a:lnTo>
                    <a:pt x="2250765" y="15240"/>
                  </a:lnTo>
                  <a:lnTo>
                    <a:pt x="2250765" y="0"/>
                  </a:lnTo>
                  <a:close/>
                </a:path>
                <a:path w="2251075" h="1064260">
                  <a:moveTo>
                    <a:pt x="27432" y="1034704"/>
                  </a:moveTo>
                  <a:lnTo>
                    <a:pt x="13716" y="1034704"/>
                  </a:lnTo>
                  <a:lnTo>
                    <a:pt x="27432" y="1049944"/>
                  </a:lnTo>
                  <a:lnTo>
                    <a:pt x="27432" y="1034704"/>
                  </a:lnTo>
                  <a:close/>
                </a:path>
                <a:path w="2251075" h="1064260">
                  <a:moveTo>
                    <a:pt x="2221809" y="1034704"/>
                  </a:moveTo>
                  <a:lnTo>
                    <a:pt x="27432" y="1034704"/>
                  </a:lnTo>
                  <a:lnTo>
                    <a:pt x="27432" y="1049944"/>
                  </a:lnTo>
                  <a:lnTo>
                    <a:pt x="2221809" y="1049944"/>
                  </a:lnTo>
                  <a:lnTo>
                    <a:pt x="2221809" y="1034704"/>
                  </a:lnTo>
                  <a:close/>
                </a:path>
                <a:path w="2251075" h="1064260">
                  <a:moveTo>
                    <a:pt x="2221809" y="15240"/>
                  </a:moveTo>
                  <a:lnTo>
                    <a:pt x="2221809" y="1049944"/>
                  </a:lnTo>
                  <a:lnTo>
                    <a:pt x="2235525" y="1034704"/>
                  </a:lnTo>
                  <a:lnTo>
                    <a:pt x="2250765" y="1034704"/>
                  </a:lnTo>
                  <a:lnTo>
                    <a:pt x="2250765" y="28956"/>
                  </a:lnTo>
                  <a:lnTo>
                    <a:pt x="2235525" y="28956"/>
                  </a:lnTo>
                  <a:lnTo>
                    <a:pt x="2221809" y="15240"/>
                  </a:lnTo>
                  <a:close/>
                </a:path>
                <a:path w="2251075" h="1064260">
                  <a:moveTo>
                    <a:pt x="2250765" y="1034704"/>
                  </a:moveTo>
                  <a:lnTo>
                    <a:pt x="2235525" y="1034704"/>
                  </a:lnTo>
                  <a:lnTo>
                    <a:pt x="2221809" y="1049944"/>
                  </a:lnTo>
                  <a:lnTo>
                    <a:pt x="2250765" y="1049944"/>
                  </a:lnTo>
                  <a:lnTo>
                    <a:pt x="2250765" y="1034704"/>
                  </a:lnTo>
                  <a:close/>
                </a:path>
                <a:path w="2251075" h="1064260">
                  <a:moveTo>
                    <a:pt x="27432" y="15240"/>
                  </a:moveTo>
                  <a:lnTo>
                    <a:pt x="13716" y="28956"/>
                  </a:lnTo>
                  <a:lnTo>
                    <a:pt x="27432" y="28956"/>
                  </a:lnTo>
                  <a:lnTo>
                    <a:pt x="27432" y="15240"/>
                  </a:lnTo>
                  <a:close/>
                </a:path>
                <a:path w="2251075" h="1064260">
                  <a:moveTo>
                    <a:pt x="2221809" y="15240"/>
                  </a:moveTo>
                  <a:lnTo>
                    <a:pt x="27432" y="15240"/>
                  </a:lnTo>
                  <a:lnTo>
                    <a:pt x="27432" y="28956"/>
                  </a:lnTo>
                  <a:lnTo>
                    <a:pt x="2221809" y="28956"/>
                  </a:lnTo>
                  <a:lnTo>
                    <a:pt x="2221809" y="15240"/>
                  </a:lnTo>
                  <a:close/>
                </a:path>
                <a:path w="2251075" h="1064260">
                  <a:moveTo>
                    <a:pt x="2250765" y="15240"/>
                  </a:moveTo>
                  <a:lnTo>
                    <a:pt x="2221809" y="15240"/>
                  </a:lnTo>
                  <a:lnTo>
                    <a:pt x="2235525" y="28956"/>
                  </a:lnTo>
                  <a:lnTo>
                    <a:pt x="2250765" y="28956"/>
                  </a:lnTo>
                  <a:lnTo>
                    <a:pt x="2250765" y="1524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5931438" y="3328650"/>
              <a:ext cx="2488565" cy="563880"/>
            </a:xfrm>
            <a:custGeom>
              <a:avLst/>
              <a:gdLst/>
              <a:ahLst/>
              <a:cxnLst/>
              <a:rect l="l" t="t" r="r" b="b"/>
              <a:pathLst>
                <a:path w="2488565" h="563879">
                  <a:moveTo>
                    <a:pt x="0" y="563828"/>
                  </a:moveTo>
                  <a:lnTo>
                    <a:pt x="2488478" y="563828"/>
                  </a:lnTo>
                  <a:lnTo>
                    <a:pt x="2488478" y="0"/>
                  </a:lnTo>
                  <a:lnTo>
                    <a:pt x="0" y="0"/>
                  </a:lnTo>
                  <a:lnTo>
                    <a:pt x="0" y="563828"/>
                  </a:lnTo>
                  <a:close/>
                </a:path>
              </a:pathLst>
            </a:custGeom>
            <a:solidFill>
              <a:srgbClr val="B7EAF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5917722" y="3313419"/>
              <a:ext cx="2517775" cy="579120"/>
            </a:xfrm>
            <a:custGeom>
              <a:avLst/>
              <a:gdLst/>
              <a:ahLst/>
              <a:cxnLst/>
              <a:rect l="l" t="t" r="r" b="b"/>
              <a:pathLst>
                <a:path w="2517775" h="579120">
                  <a:moveTo>
                    <a:pt x="2517434" y="0"/>
                  </a:moveTo>
                  <a:lnTo>
                    <a:pt x="0" y="0"/>
                  </a:lnTo>
                  <a:lnTo>
                    <a:pt x="0" y="579059"/>
                  </a:lnTo>
                  <a:lnTo>
                    <a:pt x="27432" y="579059"/>
                  </a:lnTo>
                  <a:lnTo>
                    <a:pt x="27432" y="28956"/>
                  </a:lnTo>
                  <a:lnTo>
                    <a:pt x="13716" y="28956"/>
                  </a:lnTo>
                  <a:lnTo>
                    <a:pt x="27432" y="15240"/>
                  </a:lnTo>
                  <a:lnTo>
                    <a:pt x="2517434" y="15240"/>
                  </a:lnTo>
                  <a:lnTo>
                    <a:pt x="2517434" y="0"/>
                  </a:lnTo>
                  <a:close/>
                </a:path>
                <a:path w="2517775" h="579120">
                  <a:moveTo>
                    <a:pt x="2488478" y="15240"/>
                  </a:moveTo>
                  <a:lnTo>
                    <a:pt x="2488478" y="579059"/>
                  </a:lnTo>
                  <a:lnTo>
                    <a:pt x="2517434" y="579059"/>
                  </a:lnTo>
                  <a:lnTo>
                    <a:pt x="2517434" y="28956"/>
                  </a:lnTo>
                  <a:lnTo>
                    <a:pt x="2502194" y="28956"/>
                  </a:lnTo>
                  <a:lnTo>
                    <a:pt x="2488478" y="15240"/>
                  </a:lnTo>
                  <a:close/>
                </a:path>
                <a:path w="2517775" h="579120">
                  <a:moveTo>
                    <a:pt x="27432" y="15240"/>
                  </a:moveTo>
                  <a:lnTo>
                    <a:pt x="13716" y="28956"/>
                  </a:lnTo>
                  <a:lnTo>
                    <a:pt x="27432" y="28956"/>
                  </a:lnTo>
                  <a:lnTo>
                    <a:pt x="27432" y="15240"/>
                  </a:lnTo>
                  <a:close/>
                </a:path>
                <a:path w="2517775" h="579120">
                  <a:moveTo>
                    <a:pt x="2488478" y="15240"/>
                  </a:moveTo>
                  <a:lnTo>
                    <a:pt x="27432" y="15240"/>
                  </a:lnTo>
                  <a:lnTo>
                    <a:pt x="27432" y="28956"/>
                  </a:lnTo>
                  <a:lnTo>
                    <a:pt x="2488478" y="28956"/>
                  </a:lnTo>
                  <a:lnTo>
                    <a:pt x="2488478" y="15240"/>
                  </a:lnTo>
                  <a:close/>
                </a:path>
                <a:path w="2517775" h="579120">
                  <a:moveTo>
                    <a:pt x="2517434" y="15240"/>
                  </a:moveTo>
                  <a:lnTo>
                    <a:pt x="2488478" y="15240"/>
                  </a:lnTo>
                  <a:lnTo>
                    <a:pt x="2502194" y="28956"/>
                  </a:lnTo>
                  <a:lnTo>
                    <a:pt x="2517434" y="28956"/>
                  </a:lnTo>
                  <a:lnTo>
                    <a:pt x="2517434" y="1524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5873526" y="3327126"/>
              <a:ext cx="2560320" cy="565785"/>
            </a:xfrm>
            <a:custGeom>
              <a:avLst/>
              <a:gdLst/>
              <a:ahLst/>
              <a:cxnLst/>
              <a:rect l="l" t="t" r="r" b="b"/>
              <a:pathLst>
                <a:path w="2560320" h="565785">
                  <a:moveTo>
                    <a:pt x="0" y="565352"/>
                  </a:moveTo>
                  <a:lnTo>
                    <a:pt x="2560106" y="565352"/>
                  </a:lnTo>
                  <a:lnTo>
                    <a:pt x="2560106" y="0"/>
                  </a:lnTo>
                  <a:lnTo>
                    <a:pt x="0" y="0"/>
                  </a:lnTo>
                  <a:lnTo>
                    <a:pt x="0" y="565352"/>
                  </a:lnTo>
                  <a:close/>
                </a:path>
              </a:pathLst>
            </a:custGeom>
            <a:solidFill>
              <a:srgbClr val="B7EAF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5859810" y="3311895"/>
              <a:ext cx="2587625" cy="581025"/>
            </a:xfrm>
            <a:custGeom>
              <a:avLst/>
              <a:gdLst/>
              <a:ahLst/>
              <a:cxnLst/>
              <a:rect l="l" t="t" r="r" b="b"/>
              <a:pathLst>
                <a:path w="2587625" h="581025">
                  <a:moveTo>
                    <a:pt x="2587538" y="0"/>
                  </a:moveTo>
                  <a:lnTo>
                    <a:pt x="0" y="0"/>
                  </a:lnTo>
                  <a:lnTo>
                    <a:pt x="0" y="580583"/>
                  </a:lnTo>
                  <a:lnTo>
                    <a:pt x="28956" y="580583"/>
                  </a:lnTo>
                  <a:lnTo>
                    <a:pt x="28956" y="28956"/>
                  </a:lnTo>
                  <a:lnTo>
                    <a:pt x="13716" y="28956"/>
                  </a:lnTo>
                  <a:lnTo>
                    <a:pt x="28956" y="15240"/>
                  </a:lnTo>
                  <a:lnTo>
                    <a:pt x="2587538" y="15240"/>
                  </a:lnTo>
                  <a:lnTo>
                    <a:pt x="2587538" y="0"/>
                  </a:lnTo>
                  <a:close/>
                </a:path>
                <a:path w="2587625" h="581025">
                  <a:moveTo>
                    <a:pt x="2558582" y="15240"/>
                  </a:moveTo>
                  <a:lnTo>
                    <a:pt x="2558582" y="580583"/>
                  </a:lnTo>
                  <a:lnTo>
                    <a:pt x="2587538" y="580583"/>
                  </a:lnTo>
                  <a:lnTo>
                    <a:pt x="2587538" y="28956"/>
                  </a:lnTo>
                  <a:lnTo>
                    <a:pt x="2573822" y="28956"/>
                  </a:lnTo>
                  <a:lnTo>
                    <a:pt x="2558582" y="15240"/>
                  </a:lnTo>
                  <a:close/>
                </a:path>
                <a:path w="2587625" h="581025">
                  <a:moveTo>
                    <a:pt x="28956" y="15240"/>
                  </a:moveTo>
                  <a:lnTo>
                    <a:pt x="13716" y="28956"/>
                  </a:lnTo>
                  <a:lnTo>
                    <a:pt x="28956" y="28956"/>
                  </a:lnTo>
                  <a:lnTo>
                    <a:pt x="28956" y="15240"/>
                  </a:lnTo>
                  <a:close/>
                </a:path>
                <a:path w="2587625" h="581025">
                  <a:moveTo>
                    <a:pt x="2558582" y="15240"/>
                  </a:moveTo>
                  <a:lnTo>
                    <a:pt x="28956" y="15240"/>
                  </a:lnTo>
                  <a:lnTo>
                    <a:pt x="28956" y="28956"/>
                  </a:lnTo>
                  <a:lnTo>
                    <a:pt x="2558582" y="28956"/>
                  </a:lnTo>
                  <a:lnTo>
                    <a:pt x="2558582" y="15240"/>
                  </a:lnTo>
                  <a:close/>
                </a:path>
                <a:path w="2587625" h="581025">
                  <a:moveTo>
                    <a:pt x="2587538" y="15240"/>
                  </a:moveTo>
                  <a:lnTo>
                    <a:pt x="2558582" y="15240"/>
                  </a:lnTo>
                  <a:lnTo>
                    <a:pt x="2573822" y="28956"/>
                  </a:lnTo>
                  <a:lnTo>
                    <a:pt x="2587538" y="28956"/>
                  </a:lnTo>
                  <a:lnTo>
                    <a:pt x="2587538" y="1524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object 18"/>
          <p:cNvSpPr txBox="1"/>
          <p:nvPr/>
        </p:nvSpPr>
        <p:spPr>
          <a:xfrm>
            <a:off x="5766367" y="3257687"/>
            <a:ext cx="3037889" cy="654025"/>
          </a:xfrm>
          <a:prstGeom prst="rect">
            <a:avLst/>
          </a:prstGeom>
        </p:spPr>
        <p:txBody>
          <a:bodyPr vert="horz" wrap="square" lIns="0" tIns="38100" rIns="0" bIns="0" rtlCol="0">
            <a:spAutoFit/>
          </a:bodyPr>
          <a:lstStyle/>
          <a:p>
            <a:pPr marL="473709" marR="470534" indent="98425">
              <a:lnSpc>
                <a:spcPct val="100000"/>
              </a:lnSpc>
              <a:spcBef>
                <a:spcPts val="300"/>
              </a:spcBef>
            </a:pPr>
            <a:r>
              <a:rPr sz="2000" spc="-5" dirty="0">
                <a:latin typeface="Liberation Sans Narrow"/>
                <a:cs typeface="Liberation Sans Narrow"/>
              </a:rPr>
              <a:t>Define rules for  rounding</a:t>
            </a:r>
            <a:r>
              <a:rPr sz="2000" spc="-75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counted</a:t>
            </a:r>
            <a:endParaRPr sz="2000" dirty="0">
              <a:latin typeface="Liberation Sans Narrow"/>
              <a:cs typeface="Liberation Sans Narrow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5942351" y="1782964"/>
            <a:ext cx="3269575" cy="991618"/>
          </a:xfrm>
          <a:prstGeom prst="rect">
            <a:avLst/>
          </a:prstGeom>
        </p:spPr>
        <p:txBody>
          <a:bodyPr vert="horz" wrap="square" lIns="0" tIns="38100" rIns="0" bIns="0" rtlCol="0">
            <a:spAutoFit/>
          </a:bodyPr>
          <a:lstStyle/>
          <a:p>
            <a:pPr marL="397510" marR="357505" indent="93980">
              <a:lnSpc>
                <a:spcPct val="100000"/>
              </a:lnSpc>
              <a:spcBef>
                <a:spcPts val="300"/>
              </a:spcBef>
            </a:pPr>
            <a:r>
              <a:rPr sz="2000" dirty="0">
                <a:latin typeface="Liberation Sans Narrow"/>
                <a:cs typeface="Liberation Sans Narrow"/>
              </a:rPr>
              <a:t>Group </a:t>
            </a:r>
            <a:r>
              <a:rPr sz="2000" spc="-5" dirty="0">
                <a:latin typeface="Liberation Sans Narrow"/>
                <a:cs typeface="Liberation Sans Narrow"/>
              </a:rPr>
              <a:t>employee  subgroups for</a:t>
            </a:r>
            <a:r>
              <a:rPr sz="2000" spc="-60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time</a:t>
            </a:r>
            <a:endParaRPr sz="2000" dirty="0">
              <a:latin typeface="Liberation Sans Narrow"/>
              <a:cs typeface="Liberation Sans Narrow"/>
            </a:endParaRPr>
          </a:p>
          <a:p>
            <a:pPr>
              <a:lnSpc>
                <a:spcPts val="2600"/>
              </a:lnSpc>
              <a:tabLst>
                <a:tab pos="948690" algn="l"/>
              </a:tabLst>
            </a:pPr>
            <a:r>
              <a:rPr sz="4500" baseline="-5555" dirty="0">
                <a:solidFill>
                  <a:srgbClr val="323299"/>
                </a:solidFill>
                <a:latin typeface="Liberation Sans Narrow"/>
                <a:cs typeface="Liberation Sans Narrow"/>
              </a:rPr>
              <a:t>1	</a:t>
            </a:r>
            <a:r>
              <a:rPr sz="2000" spc="-5" dirty="0">
                <a:latin typeface="Liberation Sans Narrow"/>
                <a:cs typeface="Liberation Sans Narrow"/>
              </a:rPr>
              <a:t>quotas</a:t>
            </a:r>
            <a:endParaRPr sz="2000" dirty="0">
              <a:latin typeface="Liberation Sans Narrow"/>
              <a:cs typeface="Liberation Sans Narrow"/>
            </a:endParaRPr>
          </a:p>
        </p:txBody>
      </p:sp>
      <p:grpSp>
        <p:nvGrpSpPr>
          <p:cNvPr id="20" name="object 20"/>
          <p:cNvGrpSpPr/>
          <p:nvPr/>
        </p:nvGrpSpPr>
        <p:grpSpPr>
          <a:xfrm>
            <a:off x="1973936" y="3311895"/>
            <a:ext cx="2575560" cy="581025"/>
            <a:chOff x="1973936" y="3311895"/>
            <a:chExt cx="2575560" cy="581025"/>
          </a:xfrm>
        </p:grpSpPr>
        <p:sp>
          <p:nvSpPr>
            <p:cNvPr id="21" name="object 21"/>
            <p:cNvSpPr/>
            <p:nvPr/>
          </p:nvSpPr>
          <p:spPr>
            <a:xfrm>
              <a:off x="2045552" y="3328650"/>
              <a:ext cx="2488565" cy="563880"/>
            </a:xfrm>
            <a:custGeom>
              <a:avLst/>
              <a:gdLst/>
              <a:ahLst/>
              <a:cxnLst/>
              <a:rect l="l" t="t" r="r" b="b"/>
              <a:pathLst>
                <a:path w="2488565" h="563879">
                  <a:moveTo>
                    <a:pt x="0" y="563828"/>
                  </a:moveTo>
                  <a:lnTo>
                    <a:pt x="2488490" y="563828"/>
                  </a:lnTo>
                  <a:lnTo>
                    <a:pt x="2488490" y="0"/>
                  </a:lnTo>
                  <a:lnTo>
                    <a:pt x="0" y="0"/>
                  </a:lnTo>
                  <a:lnTo>
                    <a:pt x="0" y="563828"/>
                  </a:lnTo>
                  <a:close/>
                </a:path>
              </a:pathLst>
            </a:custGeom>
            <a:solidFill>
              <a:srgbClr val="B7EAF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2031836" y="3313419"/>
              <a:ext cx="2517775" cy="579120"/>
            </a:xfrm>
            <a:custGeom>
              <a:avLst/>
              <a:gdLst/>
              <a:ahLst/>
              <a:cxnLst/>
              <a:rect l="l" t="t" r="r" b="b"/>
              <a:pathLst>
                <a:path w="2517775" h="579120">
                  <a:moveTo>
                    <a:pt x="2517456" y="0"/>
                  </a:moveTo>
                  <a:lnTo>
                    <a:pt x="0" y="0"/>
                  </a:lnTo>
                  <a:lnTo>
                    <a:pt x="0" y="579059"/>
                  </a:lnTo>
                  <a:lnTo>
                    <a:pt x="27432" y="579059"/>
                  </a:lnTo>
                  <a:lnTo>
                    <a:pt x="27432" y="28956"/>
                  </a:lnTo>
                  <a:lnTo>
                    <a:pt x="13716" y="28956"/>
                  </a:lnTo>
                  <a:lnTo>
                    <a:pt x="27432" y="15240"/>
                  </a:lnTo>
                  <a:lnTo>
                    <a:pt x="2517456" y="15240"/>
                  </a:lnTo>
                  <a:lnTo>
                    <a:pt x="2517456" y="0"/>
                  </a:lnTo>
                  <a:close/>
                </a:path>
                <a:path w="2517775" h="579120">
                  <a:moveTo>
                    <a:pt x="2488500" y="15240"/>
                  </a:moveTo>
                  <a:lnTo>
                    <a:pt x="2488500" y="579059"/>
                  </a:lnTo>
                  <a:lnTo>
                    <a:pt x="2517456" y="579059"/>
                  </a:lnTo>
                  <a:lnTo>
                    <a:pt x="2517456" y="28956"/>
                  </a:lnTo>
                  <a:lnTo>
                    <a:pt x="2502216" y="28956"/>
                  </a:lnTo>
                  <a:lnTo>
                    <a:pt x="2488500" y="15240"/>
                  </a:lnTo>
                  <a:close/>
                </a:path>
                <a:path w="2517775" h="579120">
                  <a:moveTo>
                    <a:pt x="27432" y="15240"/>
                  </a:moveTo>
                  <a:lnTo>
                    <a:pt x="13716" y="28956"/>
                  </a:lnTo>
                  <a:lnTo>
                    <a:pt x="27432" y="28956"/>
                  </a:lnTo>
                  <a:lnTo>
                    <a:pt x="27432" y="15240"/>
                  </a:lnTo>
                  <a:close/>
                </a:path>
                <a:path w="2517775" h="579120">
                  <a:moveTo>
                    <a:pt x="2488500" y="15240"/>
                  </a:moveTo>
                  <a:lnTo>
                    <a:pt x="27432" y="15240"/>
                  </a:lnTo>
                  <a:lnTo>
                    <a:pt x="27432" y="28956"/>
                  </a:lnTo>
                  <a:lnTo>
                    <a:pt x="2488500" y="28956"/>
                  </a:lnTo>
                  <a:lnTo>
                    <a:pt x="2488500" y="15240"/>
                  </a:lnTo>
                  <a:close/>
                </a:path>
                <a:path w="2517775" h="579120">
                  <a:moveTo>
                    <a:pt x="2517456" y="15240"/>
                  </a:moveTo>
                  <a:lnTo>
                    <a:pt x="2488500" y="15240"/>
                  </a:lnTo>
                  <a:lnTo>
                    <a:pt x="2502216" y="28956"/>
                  </a:lnTo>
                  <a:lnTo>
                    <a:pt x="2517456" y="28956"/>
                  </a:lnTo>
                  <a:lnTo>
                    <a:pt x="2517456" y="1524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1987640" y="3327126"/>
              <a:ext cx="2522220" cy="565785"/>
            </a:xfrm>
            <a:custGeom>
              <a:avLst/>
              <a:gdLst/>
              <a:ahLst/>
              <a:cxnLst/>
              <a:rect l="l" t="t" r="r" b="b"/>
              <a:pathLst>
                <a:path w="2522220" h="565785">
                  <a:moveTo>
                    <a:pt x="0" y="565352"/>
                  </a:moveTo>
                  <a:lnTo>
                    <a:pt x="2522018" y="565352"/>
                  </a:lnTo>
                  <a:lnTo>
                    <a:pt x="2522018" y="0"/>
                  </a:lnTo>
                  <a:lnTo>
                    <a:pt x="0" y="0"/>
                  </a:lnTo>
                  <a:lnTo>
                    <a:pt x="0" y="565352"/>
                  </a:lnTo>
                  <a:close/>
                </a:path>
              </a:pathLst>
            </a:custGeom>
            <a:solidFill>
              <a:srgbClr val="B7EAF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1973936" y="3311895"/>
              <a:ext cx="2549525" cy="581025"/>
            </a:xfrm>
            <a:custGeom>
              <a:avLst/>
              <a:gdLst/>
              <a:ahLst/>
              <a:cxnLst/>
              <a:rect l="l" t="t" r="r" b="b"/>
              <a:pathLst>
                <a:path w="2549525" h="581025">
                  <a:moveTo>
                    <a:pt x="2549447" y="0"/>
                  </a:moveTo>
                  <a:lnTo>
                    <a:pt x="0" y="0"/>
                  </a:lnTo>
                  <a:lnTo>
                    <a:pt x="0" y="580583"/>
                  </a:lnTo>
                  <a:lnTo>
                    <a:pt x="28943" y="580583"/>
                  </a:lnTo>
                  <a:lnTo>
                    <a:pt x="28943" y="28956"/>
                  </a:lnTo>
                  <a:lnTo>
                    <a:pt x="13703" y="28956"/>
                  </a:lnTo>
                  <a:lnTo>
                    <a:pt x="28943" y="15240"/>
                  </a:lnTo>
                  <a:lnTo>
                    <a:pt x="2549447" y="15240"/>
                  </a:lnTo>
                  <a:lnTo>
                    <a:pt x="2549447" y="0"/>
                  </a:lnTo>
                  <a:close/>
                </a:path>
                <a:path w="2549525" h="581025">
                  <a:moveTo>
                    <a:pt x="2520491" y="15240"/>
                  </a:moveTo>
                  <a:lnTo>
                    <a:pt x="2520491" y="580583"/>
                  </a:lnTo>
                  <a:lnTo>
                    <a:pt x="2549447" y="580583"/>
                  </a:lnTo>
                  <a:lnTo>
                    <a:pt x="2549447" y="28956"/>
                  </a:lnTo>
                  <a:lnTo>
                    <a:pt x="2535731" y="28956"/>
                  </a:lnTo>
                  <a:lnTo>
                    <a:pt x="2520491" y="15240"/>
                  </a:lnTo>
                  <a:close/>
                </a:path>
                <a:path w="2549525" h="581025">
                  <a:moveTo>
                    <a:pt x="28943" y="15240"/>
                  </a:moveTo>
                  <a:lnTo>
                    <a:pt x="13703" y="28956"/>
                  </a:lnTo>
                  <a:lnTo>
                    <a:pt x="28943" y="28956"/>
                  </a:lnTo>
                  <a:lnTo>
                    <a:pt x="28943" y="15240"/>
                  </a:lnTo>
                  <a:close/>
                </a:path>
                <a:path w="2549525" h="581025">
                  <a:moveTo>
                    <a:pt x="2520491" y="15240"/>
                  </a:moveTo>
                  <a:lnTo>
                    <a:pt x="28943" y="15240"/>
                  </a:lnTo>
                  <a:lnTo>
                    <a:pt x="28943" y="28956"/>
                  </a:lnTo>
                  <a:lnTo>
                    <a:pt x="2520491" y="28956"/>
                  </a:lnTo>
                  <a:lnTo>
                    <a:pt x="2520491" y="15240"/>
                  </a:lnTo>
                  <a:close/>
                </a:path>
                <a:path w="2549525" h="581025">
                  <a:moveTo>
                    <a:pt x="2549447" y="15240"/>
                  </a:moveTo>
                  <a:lnTo>
                    <a:pt x="2520491" y="15240"/>
                  </a:lnTo>
                  <a:lnTo>
                    <a:pt x="2535731" y="28956"/>
                  </a:lnTo>
                  <a:lnTo>
                    <a:pt x="2549447" y="28956"/>
                  </a:lnTo>
                  <a:lnTo>
                    <a:pt x="2549447" y="1524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5" name="object 25"/>
          <p:cNvSpPr txBox="1"/>
          <p:nvPr/>
        </p:nvSpPr>
        <p:spPr>
          <a:xfrm>
            <a:off x="2069818" y="3282790"/>
            <a:ext cx="3393848" cy="654025"/>
          </a:xfrm>
          <a:prstGeom prst="rect">
            <a:avLst/>
          </a:prstGeom>
        </p:spPr>
        <p:txBody>
          <a:bodyPr vert="horz" wrap="square" lIns="0" tIns="38100" rIns="0" bIns="0" rtlCol="0">
            <a:spAutoFit/>
          </a:bodyPr>
          <a:lstStyle/>
          <a:p>
            <a:pPr marL="455295" marR="474980" indent="28575">
              <a:lnSpc>
                <a:spcPct val="100000"/>
              </a:lnSpc>
              <a:spcBef>
                <a:spcPts val="300"/>
              </a:spcBef>
            </a:pPr>
            <a:r>
              <a:rPr sz="2000" dirty="0">
                <a:latin typeface="Liberation Sans Narrow"/>
                <a:cs typeface="Liberation Sans Narrow"/>
              </a:rPr>
              <a:t>Group </a:t>
            </a:r>
            <a:r>
              <a:rPr sz="2000" spc="-5" dirty="0">
                <a:latin typeface="Liberation Sans Narrow"/>
                <a:cs typeface="Liberation Sans Narrow"/>
              </a:rPr>
              <a:t>personnel  subareas for</a:t>
            </a:r>
            <a:r>
              <a:rPr sz="2000" spc="-75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time</a:t>
            </a:r>
            <a:endParaRPr sz="2000" dirty="0">
              <a:latin typeface="Liberation Sans Narrow"/>
              <a:cs typeface="Liberation Sans Narrow"/>
            </a:endParaRPr>
          </a:p>
        </p:txBody>
      </p:sp>
      <p:sp>
        <p:nvSpPr>
          <p:cNvPr id="26" name="object 26"/>
          <p:cNvSpPr txBox="1">
            <a:spLocks noGrp="1"/>
          </p:cNvSpPr>
          <p:nvPr>
            <p:ph type="title"/>
          </p:nvPr>
        </p:nvSpPr>
        <p:spPr>
          <a:xfrm>
            <a:off x="876233" y="827471"/>
            <a:ext cx="6836409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Define Rules </a:t>
            </a:r>
            <a:r>
              <a:rPr dirty="0">
                <a:solidFill>
                  <a:schemeClr val="accent1"/>
                </a:solidFill>
              </a:rPr>
              <a:t>for </a:t>
            </a:r>
            <a:r>
              <a:rPr spc="-5" dirty="0">
                <a:solidFill>
                  <a:schemeClr val="accent1"/>
                </a:solidFill>
              </a:rPr>
              <a:t>Absence</a:t>
            </a:r>
            <a:r>
              <a:rPr spc="-114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Counting</a:t>
            </a:r>
          </a:p>
        </p:txBody>
      </p:sp>
      <p:grpSp>
        <p:nvGrpSpPr>
          <p:cNvPr id="27" name="object 27"/>
          <p:cNvGrpSpPr/>
          <p:nvPr/>
        </p:nvGrpSpPr>
        <p:grpSpPr>
          <a:xfrm>
            <a:off x="543584" y="3880266"/>
            <a:ext cx="8985029" cy="3075992"/>
            <a:chOff x="463771" y="3892479"/>
            <a:chExt cx="9143365" cy="3429000"/>
          </a:xfrm>
        </p:grpSpPr>
        <p:sp>
          <p:nvSpPr>
            <p:cNvPr id="28" name="object 28"/>
            <p:cNvSpPr/>
            <p:nvPr/>
          </p:nvSpPr>
          <p:spPr>
            <a:xfrm>
              <a:off x="463771" y="3892479"/>
              <a:ext cx="9143365" cy="3429000"/>
            </a:xfrm>
            <a:custGeom>
              <a:avLst/>
              <a:gdLst/>
              <a:ahLst/>
              <a:cxnLst/>
              <a:rect l="l" t="t" r="r" b="b"/>
              <a:pathLst>
                <a:path w="9143365" h="3429000">
                  <a:moveTo>
                    <a:pt x="0" y="3428722"/>
                  </a:moveTo>
                  <a:lnTo>
                    <a:pt x="9143238" y="3428722"/>
                  </a:lnTo>
                  <a:lnTo>
                    <a:pt x="9143238" y="0"/>
                  </a:lnTo>
                  <a:lnTo>
                    <a:pt x="0" y="0"/>
                  </a:lnTo>
                  <a:lnTo>
                    <a:pt x="0" y="342872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1055037" y="3892479"/>
              <a:ext cx="7842250" cy="2419985"/>
            </a:xfrm>
            <a:custGeom>
              <a:avLst/>
              <a:gdLst/>
              <a:ahLst/>
              <a:cxnLst/>
              <a:rect l="l" t="t" r="r" b="b"/>
              <a:pathLst>
                <a:path w="7842250" h="2419985">
                  <a:moveTo>
                    <a:pt x="0" y="2419916"/>
                  </a:moveTo>
                  <a:lnTo>
                    <a:pt x="7841864" y="2419916"/>
                  </a:lnTo>
                  <a:lnTo>
                    <a:pt x="7841864" y="0"/>
                  </a:lnTo>
                  <a:lnTo>
                    <a:pt x="0" y="0"/>
                  </a:lnTo>
                  <a:lnTo>
                    <a:pt x="0" y="2419916"/>
                  </a:lnTo>
                  <a:close/>
                </a:path>
              </a:pathLst>
            </a:custGeom>
            <a:solidFill>
              <a:srgbClr val="FCD1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1042845" y="3892479"/>
              <a:ext cx="7866380" cy="2432685"/>
            </a:xfrm>
            <a:custGeom>
              <a:avLst/>
              <a:gdLst/>
              <a:ahLst/>
              <a:cxnLst/>
              <a:rect l="l" t="t" r="r" b="b"/>
              <a:pathLst>
                <a:path w="7866380" h="2432685">
                  <a:moveTo>
                    <a:pt x="24384" y="0"/>
                  </a:moveTo>
                  <a:lnTo>
                    <a:pt x="0" y="0"/>
                  </a:lnTo>
                  <a:lnTo>
                    <a:pt x="0" y="2432108"/>
                  </a:lnTo>
                  <a:lnTo>
                    <a:pt x="7866245" y="2432108"/>
                  </a:lnTo>
                  <a:lnTo>
                    <a:pt x="7866245" y="2419916"/>
                  </a:lnTo>
                  <a:lnTo>
                    <a:pt x="24384" y="2419916"/>
                  </a:lnTo>
                  <a:lnTo>
                    <a:pt x="12192" y="2407724"/>
                  </a:lnTo>
                  <a:lnTo>
                    <a:pt x="24384" y="2407724"/>
                  </a:lnTo>
                  <a:lnTo>
                    <a:pt x="24384" y="0"/>
                  </a:lnTo>
                  <a:close/>
                </a:path>
                <a:path w="7866380" h="2432685">
                  <a:moveTo>
                    <a:pt x="24384" y="2407724"/>
                  </a:moveTo>
                  <a:lnTo>
                    <a:pt x="12192" y="2407724"/>
                  </a:lnTo>
                  <a:lnTo>
                    <a:pt x="24384" y="2419916"/>
                  </a:lnTo>
                  <a:lnTo>
                    <a:pt x="24384" y="2407724"/>
                  </a:lnTo>
                  <a:close/>
                </a:path>
                <a:path w="7866380" h="2432685">
                  <a:moveTo>
                    <a:pt x="7840337" y="2407724"/>
                  </a:moveTo>
                  <a:lnTo>
                    <a:pt x="24384" y="2407724"/>
                  </a:lnTo>
                  <a:lnTo>
                    <a:pt x="24384" y="2419916"/>
                  </a:lnTo>
                  <a:lnTo>
                    <a:pt x="7840337" y="2419916"/>
                  </a:lnTo>
                  <a:lnTo>
                    <a:pt x="7840337" y="2407724"/>
                  </a:lnTo>
                  <a:close/>
                </a:path>
                <a:path w="7866380" h="2432685">
                  <a:moveTo>
                    <a:pt x="7866245" y="0"/>
                  </a:moveTo>
                  <a:lnTo>
                    <a:pt x="7840337" y="0"/>
                  </a:lnTo>
                  <a:lnTo>
                    <a:pt x="7840337" y="2419916"/>
                  </a:lnTo>
                  <a:lnTo>
                    <a:pt x="7854053" y="2407724"/>
                  </a:lnTo>
                  <a:lnTo>
                    <a:pt x="7866245" y="2407724"/>
                  </a:lnTo>
                  <a:lnTo>
                    <a:pt x="7866245" y="0"/>
                  </a:lnTo>
                  <a:close/>
                </a:path>
                <a:path w="7866380" h="2432685">
                  <a:moveTo>
                    <a:pt x="7866245" y="2407724"/>
                  </a:moveTo>
                  <a:lnTo>
                    <a:pt x="7854053" y="2407724"/>
                  </a:lnTo>
                  <a:lnTo>
                    <a:pt x="7840337" y="2419916"/>
                  </a:lnTo>
                  <a:lnTo>
                    <a:pt x="7866245" y="2419916"/>
                  </a:lnTo>
                  <a:lnTo>
                    <a:pt x="7866245" y="2407724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4566018" y="3924490"/>
              <a:ext cx="2667000" cy="1430020"/>
            </a:xfrm>
            <a:custGeom>
              <a:avLst/>
              <a:gdLst/>
              <a:ahLst/>
              <a:cxnLst/>
              <a:rect l="l" t="t" r="r" b="b"/>
              <a:pathLst>
                <a:path w="2667000" h="1430020">
                  <a:moveTo>
                    <a:pt x="2115159" y="1377581"/>
                  </a:moveTo>
                  <a:lnTo>
                    <a:pt x="94310" y="1377581"/>
                  </a:lnTo>
                  <a:lnTo>
                    <a:pt x="126492" y="1353197"/>
                  </a:lnTo>
                  <a:lnTo>
                    <a:pt x="0" y="1391297"/>
                  </a:lnTo>
                  <a:lnTo>
                    <a:pt x="126492" y="1429397"/>
                  </a:lnTo>
                  <a:lnTo>
                    <a:pt x="92290" y="1403489"/>
                  </a:lnTo>
                  <a:lnTo>
                    <a:pt x="2115159" y="1403489"/>
                  </a:lnTo>
                  <a:lnTo>
                    <a:pt x="2115159" y="1377581"/>
                  </a:lnTo>
                  <a:close/>
                </a:path>
                <a:path w="2667000" h="1430020">
                  <a:moveTo>
                    <a:pt x="2666784" y="749744"/>
                  </a:moveTo>
                  <a:lnTo>
                    <a:pt x="2640876" y="783945"/>
                  </a:lnTo>
                  <a:lnTo>
                    <a:pt x="2640876" y="0"/>
                  </a:lnTo>
                  <a:lnTo>
                    <a:pt x="2616492" y="0"/>
                  </a:lnTo>
                  <a:lnTo>
                    <a:pt x="2616492" y="783945"/>
                  </a:lnTo>
                  <a:lnTo>
                    <a:pt x="2590584" y="749744"/>
                  </a:lnTo>
                  <a:lnTo>
                    <a:pt x="2628684" y="876236"/>
                  </a:lnTo>
                  <a:lnTo>
                    <a:pt x="2651645" y="800036"/>
                  </a:lnTo>
                  <a:lnTo>
                    <a:pt x="2666784" y="749744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5931438" y="3892479"/>
              <a:ext cx="2488565" cy="439420"/>
            </a:xfrm>
            <a:custGeom>
              <a:avLst/>
              <a:gdLst/>
              <a:ahLst/>
              <a:cxnLst/>
              <a:rect l="l" t="t" r="r" b="b"/>
              <a:pathLst>
                <a:path w="2488565" h="439420">
                  <a:moveTo>
                    <a:pt x="0" y="438881"/>
                  </a:moveTo>
                  <a:lnTo>
                    <a:pt x="2488478" y="438881"/>
                  </a:lnTo>
                  <a:lnTo>
                    <a:pt x="2488478" y="0"/>
                  </a:lnTo>
                  <a:lnTo>
                    <a:pt x="0" y="0"/>
                  </a:lnTo>
                  <a:lnTo>
                    <a:pt x="0" y="438881"/>
                  </a:lnTo>
                  <a:close/>
                </a:path>
              </a:pathLst>
            </a:custGeom>
            <a:solidFill>
              <a:srgbClr val="B7EAF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5917722" y="3892479"/>
              <a:ext cx="2517775" cy="452755"/>
            </a:xfrm>
            <a:custGeom>
              <a:avLst/>
              <a:gdLst/>
              <a:ahLst/>
              <a:cxnLst/>
              <a:rect l="l" t="t" r="r" b="b"/>
              <a:pathLst>
                <a:path w="2517775" h="452754">
                  <a:moveTo>
                    <a:pt x="27432" y="0"/>
                  </a:moveTo>
                  <a:lnTo>
                    <a:pt x="0" y="0"/>
                  </a:lnTo>
                  <a:lnTo>
                    <a:pt x="0" y="452597"/>
                  </a:lnTo>
                  <a:lnTo>
                    <a:pt x="2517434" y="452597"/>
                  </a:lnTo>
                  <a:lnTo>
                    <a:pt x="2517434" y="438881"/>
                  </a:lnTo>
                  <a:lnTo>
                    <a:pt x="27432" y="438881"/>
                  </a:lnTo>
                  <a:lnTo>
                    <a:pt x="13716" y="425165"/>
                  </a:lnTo>
                  <a:lnTo>
                    <a:pt x="27432" y="425165"/>
                  </a:lnTo>
                  <a:lnTo>
                    <a:pt x="27432" y="0"/>
                  </a:lnTo>
                  <a:close/>
                </a:path>
                <a:path w="2517775" h="452754">
                  <a:moveTo>
                    <a:pt x="27432" y="425165"/>
                  </a:moveTo>
                  <a:lnTo>
                    <a:pt x="13716" y="425165"/>
                  </a:lnTo>
                  <a:lnTo>
                    <a:pt x="27432" y="438881"/>
                  </a:lnTo>
                  <a:lnTo>
                    <a:pt x="27432" y="425165"/>
                  </a:lnTo>
                  <a:close/>
                </a:path>
                <a:path w="2517775" h="452754">
                  <a:moveTo>
                    <a:pt x="2488478" y="425165"/>
                  </a:moveTo>
                  <a:lnTo>
                    <a:pt x="27432" y="425165"/>
                  </a:lnTo>
                  <a:lnTo>
                    <a:pt x="27432" y="438881"/>
                  </a:lnTo>
                  <a:lnTo>
                    <a:pt x="2488478" y="438881"/>
                  </a:lnTo>
                  <a:lnTo>
                    <a:pt x="2488478" y="425165"/>
                  </a:lnTo>
                  <a:close/>
                </a:path>
                <a:path w="2517775" h="452754">
                  <a:moveTo>
                    <a:pt x="2517434" y="0"/>
                  </a:moveTo>
                  <a:lnTo>
                    <a:pt x="2488478" y="0"/>
                  </a:lnTo>
                  <a:lnTo>
                    <a:pt x="2488478" y="438881"/>
                  </a:lnTo>
                  <a:lnTo>
                    <a:pt x="2502194" y="425165"/>
                  </a:lnTo>
                  <a:lnTo>
                    <a:pt x="2517434" y="425165"/>
                  </a:lnTo>
                  <a:lnTo>
                    <a:pt x="2517434" y="0"/>
                  </a:lnTo>
                  <a:close/>
                </a:path>
                <a:path w="2517775" h="452754">
                  <a:moveTo>
                    <a:pt x="2517434" y="425165"/>
                  </a:moveTo>
                  <a:lnTo>
                    <a:pt x="2502194" y="425165"/>
                  </a:lnTo>
                  <a:lnTo>
                    <a:pt x="2488478" y="438881"/>
                  </a:lnTo>
                  <a:lnTo>
                    <a:pt x="2517434" y="438881"/>
                  </a:lnTo>
                  <a:lnTo>
                    <a:pt x="2517434" y="425165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5873526" y="3892479"/>
              <a:ext cx="2996488" cy="439420"/>
            </a:xfrm>
            <a:custGeom>
              <a:avLst/>
              <a:gdLst/>
              <a:ahLst/>
              <a:cxnLst/>
              <a:rect l="l" t="t" r="r" b="b"/>
              <a:pathLst>
                <a:path w="2560320" h="469900">
                  <a:moveTo>
                    <a:pt x="0" y="469361"/>
                  </a:moveTo>
                  <a:lnTo>
                    <a:pt x="2560106" y="469361"/>
                  </a:lnTo>
                  <a:lnTo>
                    <a:pt x="2560106" y="0"/>
                  </a:lnTo>
                  <a:lnTo>
                    <a:pt x="0" y="0"/>
                  </a:lnTo>
                  <a:lnTo>
                    <a:pt x="0" y="469361"/>
                  </a:lnTo>
                  <a:close/>
                </a:path>
              </a:pathLst>
            </a:custGeom>
            <a:solidFill>
              <a:srgbClr val="B7EAF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5859810" y="3892479"/>
              <a:ext cx="3035870" cy="423301"/>
            </a:xfrm>
            <a:custGeom>
              <a:avLst/>
              <a:gdLst/>
              <a:ahLst/>
              <a:cxnLst/>
              <a:rect l="l" t="t" r="r" b="b"/>
              <a:pathLst>
                <a:path w="2587625" h="483235">
                  <a:moveTo>
                    <a:pt x="28956" y="0"/>
                  </a:moveTo>
                  <a:lnTo>
                    <a:pt x="0" y="0"/>
                  </a:lnTo>
                  <a:lnTo>
                    <a:pt x="0" y="483077"/>
                  </a:lnTo>
                  <a:lnTo>
                    <a:pt x="2587538" y="483077"/>
                  </a:lnTo>
                  <a:lnTo>
                    <a:pt x="2587538" y="469361"/>
                  </a:lnTo>
                  <a:lnTo>
                    <a:pt x="28956" y="469361"/>
                  </a:lnTo>
                  <a:lnTo>
                    <a:pt x="13716" y="454121"/>
                  </a:lnTo>
                  <a:lnTo>
                    <a:pt x="28956" y="454121"/>
                  </a:lnTo>
                  <a:lnTo>
                    <a:pt x="28956" y="0"/>
                  </a:lnTo>
                  <a:close/>
                </a:path>
                <a:path w="2587625" h="483235">
                  <a:moveTo>
                    <a:pt x="28956" y="454121"/>
                  </a:moveTo>
                  <a:lnTo>
                    <a:pt x="13716" y="454121"/>
                  </a:lnTo>
                  <a:lnTo>
                    <a:pt x="28956" y="469361"/>
                  </a:lnTo>
                  <a:lnTo>
                    <a:pt x="28956" y="454121"/>
                  </a:lnTo>
                  <a:close/>
                </a:path>
                <a:path w="2587625" h="483235">
                  <a:moveTo>
                    <a:pt x="2558582" y="454121"/>
                  </a:moveTo>
                  <a:lnTo>
                    <a:pt x="28956" y="454121"/>
                  </a:lnTo>
                  <a:lnTo>
                    <a:pt x="28956" y="469361"/>
                  </a:lnTo>
                  <a:lnTo>
                    <a:pt x="2558582" y="469361"/>
                  </a:lnTo>
                  <a:lnTo>
                    <a:pt x="2558582" y="454121"/>
                  </a:lnTo>
                  <a:close/>
                </a:path>
                <a:path w="2587625" h="483235">
                  <a:moveTo>
                    <a:pt x="2587538" y="0"/>
                  </a:moveTo>
                  <a:lnTo>
                    <a:pt x="2558582" y="0"/>
                  </a:lnTo>
                  <a:lnTo>
                    <a:pt x="2558582" y="469361"/>
                  </a:lnTo>
                  <a:lnTo>
                    <a:pt x="2573822" y="454121"/>
                  </a:lnTo>
                  <a:lnTo>
                    <a:pt x="2587538" y="454121"/>
                  </a:lnTo>
                  <a:lnTo>
                    <a:pt x="2587538" y="0"/>
                  </a:lnTo>
                  <a:close/>
                </a:path>
                <a:path w="2587625" h="483235">
                  <a:moveTo>
                    <a:pt x="2587538" y="454121"/>
                  </a:moveTo>
                  <a:lnTo>
                    <a:pt x="2573822" y="454121"/>
                  </a:lnTo>
                  <a:lnTo>
                    <a:pt x="2558582" y="469361"/>
                  </a:lnTo>
                  <a:lnTo>
                    <a:pt x="2587538" y="469361"/>
                  </a:lnTo>
                  <a:lnTo>
                    <a:pt x="2587538" y="454121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7" name="object 37"/>
          <p:cNvSpPr txBox="1"/>
          <p:nvPr/>
        </p:nvSpPr>
        <p:spPr>
          <a:xfrm>
            <a:off x="6707078" y="3962075"/>
            <a:ext cx="1277220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2000" spc="-5" dirty="0">
                <a:latin typeface="Liberation Sans Narrow"/>
                <a:cs typeface="Liberation Sans Narrow"/>
              </a:rPr>
              <a:t>ab</a:t>
            </a:r>
            <a:r>
              <a:rPr sz="2000" spc="-10" dirty="0">
                <a:latin typeface="Liberation Sans Narrow"/>
                <a:cs typeface="Liberation Sans Narrow"/>
              </a:rPr>
              <a:t>s</a:t>
            </a:r>
            <a:r>
              <a:rPr sz="2000" spc="-5" dirty="0">
                <a:latin typeface="Liberation Sans Narrow"/>
                <a:cs typeface="Liberation Sans Narrow"/>
              </a:rPr>
              <a:t>en</a:t>
            </a:r>
            <a:r>
              <a:rPr sz="2000" spc="-10" dirty="0">
                <a:latin typeface="Liberation Sans Narrow"/>
                <a:cs typeface="Liberation Sans Narrow"/>
              </a:rPr>
              <a:t>c</a:t>
            </a:r>
            <a:r>
              <a:rPr sz="2000" spc="-5" dirty="0">
                <a:latin typeface="Liberation Sans Narrow"/>
                <a:cs typeface="Liberation Sans Narrow"/>
              </a:rPr>
              <a:t>e</a:t>
            </a:r>
            <a:r>
              <a:rPr sz="2000" dirty="0">
                <a:latin typeface="Liberation Sans Narrow"/>
                <a:cs typeface="Liberation Sans Narrow"/>
              </a:rPr>
              <a:t>s</a:t>
            </a:r>
          </a:p>
        </p:txBody>
      </p:sp>
      <p:grpSp>
        <p:nvGrpSpPr>
          <p:cNvPr id="38" name="object 38"/>
          <p:cNvGrpSpPr/>
          <p:nvPr/>
        </p:nvGrpSpPr>
        <p:grpSpPr>
          <a:xfrm>
            <a:off x="5873526" y="4838806"/>
            <a:ext cx="2514600" cy="1028700"/>
            <a:chOff x="5873526" y="4838806"/>
            <a:chExt cx="2514600" cy="1028700"/>
          </a:xfrm>
        </p:grpSpPr>
        <p:sp>
          <p:nvSpPr>
            <p:cNvPr id="39" name="object 39"/>
            <p:cNvSpPr/>
            <p:nvPr/>
          </p:nvSpPr>
          <p:spPr>
            <a:xfrm>
              <a:off x="5887242" y="4852522"/>
              <a:ext cx="2488565" cy="1003300"/>
            </a:xfrm>
            <a:custGeom>
              <a:avLst/>
              <a:gdLst/>
              <a:ahLst/>
              <a:cxnLst/>
              <a:rect l="l" t="t" r="r" b="b"/>
              <a:pathLst>
                <a:path w="2488565" h="1003300">
                  <a:moveTo>
                    <a:pt x="2488490" y="0"/>
                  </a:moveTo>
                  <a:lnTo>
                    <a:pt x="0" y="0"/>
                  </a:lnTo>
                  <a:lnTo>
                    <a:pt x="0" y="1002709"/>
                  </a:lnTo>
                  <a:lnTo>
                    <a:pt x="2488490" y="1002709"/>
                  </a:lnTo>
                  <a:lnTo>
                    <a:pt x="2488490" y="0"/>
                  </a:lnTo>
                  <a:close/>
                </a:path>
              </a:pathLst>
            </a:custGeom>
            <a:solidFill>
              <a:srgbClr val="B7EAF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0"/>
            <p:cNvSpPr/>
            <p:nvPr/>
          </p:nvSpPr>
          <p:spPr>
            <a:xfrm>
              <a:off x="5873526" y="4838806"/>
              <a:ext cx="2514600" cy="1028700"/>
            </a:xfrm>
            <a:custGeom>
              <a:avLst/>
              <a:gdLst/>
              <a:ahLst/>
              <a:cxnLst/>
              <a:rect l="l" t="t" r="r" b="b"/>
              <a:pathLst>
                <a:path w="2514600" h="1028700">
                  <a:moveTo>
                    <a:pt x="2514386" y="0"/>
                  </a:moveTo>
                  <a:lnTo>
                    <a:pt x="0" y="0"/>
                  </a:lnTo>
                  <a:lnTo>
                    <a:pt x="0" y="1028617"/>
                  </a:lnTo>
                  <a:lnTo>
                    <a:pt x="2514386" y="1028617"/>
                  </a:lnTo>
                  <a:lnTo>
                    <a:pt x="2514386" y="1016425"/>
                  </a:lnTo>
                  <a:lnTo>
                    <a:pt x="25908" y="1016425"/>
                  </a:lnTo>
                  <a:lnTo>
                    <a:pt x="13716" y="1004233"/>
                  </a:lnTo>
                  <a:lnTo>
                    <a:pt x="25908" y="1004233"/>
                  </a:lnTo>
                  <a:lnTo>
                    <a:pt x="25908" y="25908"/>
                  </a:lnTo>
                  <a:lnTo>
                    <a:pt x="13716" y="25908"/>
                  </a:lnTo>
                  <a:lnTo>
                    <a:pt x="25908" y="13716"/>
                  </a:lnTo>
                  <a:lnTo>
                    <a:pt x="2514386" y="13716"/>
                  </a:lnTo>
                  <a:lnTo>
                    <a:pt x="2514386" y="0"/>
                  </a:lnTo>
                  <a:close/>
                </a:path>
                <a:path w="2514600" h="1028700">
                  <a:moveTo>
                    <a:pt x="25908" y="1004233"/>
                  </a:moveTo>
                  <a:lnTo>
                    <a:pt x="13716" y="1004233"/>
                  </a:lnTo>
                  <a:lnTo>
                    <a:pt x="25908" y="1016425"/>
                  </a:lnTo>
                  <a:lnTo>
                    <a:pt x="25908" y="1004233"/>
                  </a:lnTo>
                  <a:close/>
                </a:path>
                <a:path w="2514600" h="1028700">
                  <a:moveTo>
                    <a:pt x="2490002" y="1004233"/>
                  </a:moveTo>
                  <a:lnTo>
                    <a:pt x="25908" y="1004233"/>
                  </a:lnTo>
                  <a:lnTo>
                    <a:pt x="25908" y="1016425"/>
                  </a:lnTo>
                  <a:lnTo>
                    <a:pt x="2490002" y="1016425"/>
                  </a:lnTo>
                  <a:lnTo>
                    <a:pt x="2490002" y="1004233"/>
                  </a:lnTo>
                  <a:close/>
                </a:path>
                <a:path w="2514600" h="1028700">
                  <a:moveTo>
                    <a:pt x="2490002" y="13716"/>
                  </a:moveTo>
                  <a:lnTo>
                    <a:pt x="2490002" y="1016425"/>
                  </a:lnTo>
                  <a:lnTo>
                    <a:pt x="2502194" y="1004233"/>
                  </a:lnTo>
                  <a:lnTo>
                    <a:pt x="2514386" y="1004233"/>
                  </a:lnTo>
                  <a:lnTo>
                    <a:pt x="2514386" y="25908"/>
                  </a:lnTo>
                  <a:lnTo>
                    <a:pt x="2502194" y="25908"/>
                  </a:lnTo>
                  <a:lnTo>
                    <a:pt x="2490002" y="13716"/>
                  </a:lnTo>
                  <a:close/>
                </a:path>
                <a:path w="2514600" h="1028700">
                  <a:moveTo>
                    <a:pt x="2514386" y="1004233"/>
                  </a:moveTo>
                  <a:lnTo>
                    <a:pt x="2502194" y="1004233"/>
                  </a:lnTo>
                  <a:lnTo>
                    <a:pt x="2490002" y="1016425"/>
                  </a:lnTo>
                  <a:lnTo>
                    <a:pt x="2514386" y="1016425"/>
                  </a:lnTo>
                  <a:lnTo>
                    <a:pt x="2514386" y="1004233"/>
                  </a:lnTo>
                  <a:close/>
                </a:path>
                <a:path w="2514600" h="1028700">
                  <a:moveTo>
                    <a:pt x="25908" y="13716"/>
                  </a:moveTo>
                  <a:lnTo>
                    <a:pt x="13716" y="25908"/>
                  </a:lnTo>
                  <a:lnTo>
                    <a:pt x="25908" y="25908"/>
                  </a:lnTo>
                  <a:lnTo>
                    <a:pt x="25908" y="13716"/>
                  </a:lnTo>
                  <a:close/>
                </a:path>
                <a:path w="2514600" h="1028700">
                  <a:moveTo>
                    <a:pt x="2490002" y="13716"/>
                  </a:moveTo>
                  <a:lnTo>
                    <a:pt x="25908" y="13716"/>
                  </a:lnTo>
                  <a:lnTo>
                    <a:pt x="25908" y="25908"/>
                  </a:lnTo>
                  <a:lnTo>
                    <a:pt x="2490002" y="25908"/>
                  </a:lnTo>
                  <a:lnTo>
                    <a:pt x="2490002" y="13716"/>
                  </a:lnTo>
                  <a:close/>
                </a:path>
                <a:path w="2514600" h="1028700">
                  <a:moveTo>
                    <a:pt x="2514386" y="13716"/>
                  </a:moveTo>
                  <a:lnTo>
                    <a:pt x="2490002" y="13716"/>
                  </a:lnTo>
                  <a:lnTo>
                    <a:pt x="2502194" y="25908"/>
                  </a:lnTo>
                  <a:lnTo>
                    <a:pt x="2514386" y="25908"/>
                  </a:lnTo>
                  <a:lnTo>
                    <a:pt x="2514386" y="13716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1" name="object 41"/>
          <p:cNvSpPr txBox="1"/>
          <p:nvPr/>
        </p:nvSpPr>
        <p:spPr>
          <a:xfrm>
            <a:off x="5908578" y="3872169"/>
            <a:ext cx="186690" cy="4826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3000" dirty="0">
                <a:solidFill>
                  <a:srgbClr val="323299"/>
                </a:solidFill>
                <a:latin typeface="Liberation Sans Narrow"/>
                <a:cs typeface="Liberation Sans Narrow"/>
              </a:rPr>
              <a:t>3</a:t>
            </a:r>
            <a:endParaRPr sz="3000">
              <a:latin typeface="Liberation Sans Narrow"/>
              <a:cs typeface="Liberation Sans Narrow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5908578" y="5415855"/>
            <a:ext cx="186690" cy="4826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3000" dirty="0">
                <a:solidFill>
                  <a:srgbClr val="323299"/>
                </a:solidFill>
                <a:latin typeface="Liberation Sans Narrow"/>
                <a:cs typeface="Liberation Sans Narrow"/>
              </a:rPr>
              <a:t>4</a:t>
            </a:r>
            <a:endParaRPr sz="3000">
              <a:latin typeface="Liberation Sans Narrow"/>
              <a:cs typeface="Liberation Sans Narrow"/>
            </a:endParaRPr>
          </a:p>
        </p:txBody>
      </p:sp>
      <p:grpSp>
        <p:nvGrpSpPr>
          <p:cNvPr id="43" name="object 43"/>
          <p:cNvGrpSpPr/>
          <p:nvPr/>
        </p:nvGrpSpPr>
        <p:grpSpPr>
          <a:xfrm>
            <a:off x="1973936" y="3892479"/>
            <a:ext cx="2575560" cy="483234"/>
            <a:chOff x="1973936" y="3892479"/>
            <a:chExt cx="2575560" cy="483234"/>
          </a:xfrm>
        </p:grpSpPr>
        <p:sp>
          <p:nvSpPr>
            <p:cNvPr id="44" name="object 44"/>
            <p:cNvSpPr/>
            <p:nvPr/>
          </p:nvSpPr>
          <p:spPr>
            <a:xfrm>
              <a:off x="2045552" y="3892479"/>
              <a:ext cx="2488565" cy="439420"/>
            </a:xfrm>
            <a:custGeom>
              <a:avLst/>
              <a:gdLst/>
              <a:ahLst/>
              <a:cxnLst/>
              <a:rect l="l" t="t" r="r" b="b"/>
              <a:pathLst>
                <a:path w="2488565" h="439420">
                  <a:moveTo>
                    <a:pt x="0" y="438881"/>
                  </a:moveTo>
                  <a:lnTo>
                    <a:pt x="2488490" y="438881"/>
                  </a:lnTo>
                  <a:lnTo>
                    <a:pt x="2488490" y="0"/>
                  </a:lnTo>
                  <a:lnTo>
                    <a:pt x="0" y="0"/>
                  </a:lnTo>
                  <a:lnTo>
                    <a:pt x="0" y="438881"/>
                  </a:lnTo>
                  <a:close/>
                </a:path>
              </a:pathLst>
            </a:custGeom>
            <a:solidFill>
              <a:srgbClr val="B7EAF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45"/>
            <p:cNvSpPr/>
            <p:nvPr/>
          </p:nvSpPr>
          <p:spPr>
            <a:xfrm>
              <a:off x="2031836" y="3892479"/>
              <a:ext cx="2517775" cy="452755"/>
            </a:xfrm>
            <a:custGeom>
              <a:avLst/>
              <a:gdLst/>
              <a:ahLst/>
              <a:cxnLst/>
              <a:rect l="l" t="t" r="r" b="b"/>
              <a:pathLst>
                <a:path w="2517775" h="452754">
                  <a:moveTo>
                    <a:pt x="27432" y="0"/>
                  </a:moveTo>
                  <a:lnTo>
                    <a:pt x="0" y="0"/>
                  </a:lnTo>
                  <a:lnTo>
                    <a:pt x="0" y="452597"/>
                  </a:lnTo>
                  <a:lnTo>
                    <a:pt x="2517456" y="452597"/>
                  </a:lnTo>
                  <a:lnTo>
                    <a:pt x="2517456" y="438881"/>
                  </a:lnTo>
                  <a:lnTo>
                    <a:pt x="27432" y="438881"/>
                  </a:lnTo>
                  <a:lnTo>
                    <a:pt x="13716" y="425165"/>
                  </a:lnTo>
                  <a:lnTo>
                    <a:pt x="27432" y="425165"/>
                  </a:lnTo>
                  <a:lnTo>
                    <a:pt x="27432" y="0"/>
                  </a:lnTo>
                  <a:close/>
                </a:path>
                <a:path w="2517775" h="452754">
                  <a:moveTo>
                    <a:pt x="27432" y="425165"/>
                  </a:moveTo>
                  <a:lnTo>
                    <a:pt x="13716" y="425165"/>
                  </a:lnTo>
                  <a:lnTo>
                    <a:pt x="27432" y="438881"/>
                  </a:lnTo>
                  <a:lnTo>
                    <a:pt x="27432" y="425165"/>
                  </a:lnTo>
                  <a:close/>
                </a:path>
                <a:path w="2517775" h="452754">
                  <a:moveTo>
                    <a:pt x="2488500" y="425165"/>
                  </a:moveTo>
                  <a:lnTo>
                    <a:pt x="27432" y="425165"/>
                  </a:lnTo>
                  <a:lnTo>
                    <a:pt x="27432" y="438881"/>
                  </a:lnTo>
                  <a:lnTo>
                    <a:pt x="2488500" y="438881"/>
                  </a:lnTo>
                  <a:lnTo>
                    <a:pt x="2488500" y="425165"/>
                  </a:lnTo>
                  <a:close/>
                </a:path>
                <a:path w="2517775" h="452754">
                  <a:moveTo>
                    <a:pt x="2517456" y="0"/>
                  </a:moveTo>
                  <a:lnTo>
                    <a:pt x="2488500" y="0"/>
                  </a:lnTo>
                  <a:lnTo>
                    <a:pt x="2488500" y="438881"/>
                  </a:lnTo>
                  <a:lnTo>
                    <a:pt x="2502216" y="425165"/>
                  </a:lnTo>
                  <a:lnTo>
                    <a:pt x="2517456" y="425165"/>
                  </a:lnTo>
                  <a:lnTo>
                    <a:pt x="2517456" y="0"/>
                  </a:lnTo>
                  <a:close/>
                </a:path>
                <a:path w="2517775" h="452754">
                  <a:moveTo>
                    <a:pt x="2517456" y="425165"/>
                  </a:moveTo>
                  <a:lnTo>
                    <a:pt x="2502216" y="425165"/>
                  </a:lnTo>
                  <a:lnTo>
                    <a:pt x="2488500" y="438881"/>
                  </a:lnTo>
                  <a:lnTo>
                    <a:pt x="2517456" y="438881"/>
                  </a:lnTo>
                  <a:lnTo>
                    <a:pt x="2517456" y="425165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6"/>
            <p:cNvSpPr/>
            <p:nvPr/>
          </p:nvSpPr>
          <p:spPr>
            <a:xfrm>
              <a:off x="1987640" y="3892479"/>
              <a:ext cx="2522220" cy="469900"/>
            </a:xfrm>
            <a:custGeom>
              <a:avLst/>
              <a:gdLst/>
              <a:ahLst/>
              <a:cxnLst/>
              <a:rect l="l" t="t" r="r" b="b"/>
              <a:pathLst>
                <a:path w="2522220" h="469900">
                  <a:moveTo>
                    <a:pt x="0" y="469361"/>
                  </a:moveTo>
                  <a:lnTo>
                    <a:pt x="2522018" y="469361"/>
                  </a:lnTo>
                  <a:lnTo>
                    <a:pt x="2522018" y="0"/>
                  </a:lnTo>
                  <a:lnTo>
                    <a:pt x="0" y="0"/>
                  </a:lnTo>
                  <a:lnTo>
                    <a:pt x="0" y="469361"/>
                  </a:lnTo>
                  <a:close/>
                </a:path>
              </a:pathLst>
            </a:custGeom>
            <a:solidFill>
              <a:srgbClr val="B7EAF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7"/>
            <p:cNvSpPr/>
            <p:nvPr/>
          </p:nvSpPr>
          <p:spPr>
            <a:xfrm>
              <a:off x="1973936" y="3892479"/>
              <a:ext cx="2549525" cy="483234"/>
            </a:xfrm>
            <a:custGeom>
              <a:avLst/>
              <a:gdLst/>
              <a:ahLst/>
              <a:cxnLst/>
              <a:rect l="l" t="t" r="r" b="b"/>
              <a:pathLst>
                <a:path w="2549525" h="483235">
                  <a:moveTo>
                    <a:pt x="28943" y="0"/>
                  </a:moveTo>
                  <a:lnTo>
                    <a:pt x="0" y="0"/>
                  </a:lnTo>
                  <a:lnTo>
                    <a:pt x="0" y="483077"/>
                  </a:lnTo>
                  <a:lnTo>
                    <a:pt x="2549447" y="483077"/>
                  </a:lnTo>
                  <a:lnTo>
                    <a:pt x="2549447" y="469361"/>
                  </a:lnTo>
                  <a:lnTo>
                    <a:pt x="28943" y="469361"/>
                  </a:lnTo>
                  <a:lnTo>
                    <a:pt x="13703" y="454121"/>
                  </a:lnTo>
                  <a:lnTo>
                    <a:pt x="28943" y="454121"/>
                  </a:lnTo>
                  <a:lnTo>
                    <a:pt x="28943" y="0"/>
                  </a:lnTo>
                  <a:close/>
                </a:path>
                <a:path w="2549525" h="483235">
                  <a:moveTo>
                    <a:pt x="28943" y="454121"/>
                  </a:moveTo>
                  <a:lnTo>
                    <a:pt x="13703" y="454121"/>
                  </a:lnTo>
                  <a:lnTo>
                    <a:pt x="28943" y="469361"/>
                  </a:lnTo>
                  <a:lnTo>
                    <a:pt x="28943" y="454121"/>
                  </a:lnTo>
                  <a:close/>
                </a:path>
                <a:path w="2549525" h="483235">
                  <a:moveTo>
                    <a:pt x="2520491" y="454121"/>
                  </a:moveTo>
                  <a:lnTo>
                    <a:pt x="28943" y="454121"/>
                  </a:lnTo>
                  <a:lnTo>
                    <a:pt x="28943" y="469361"/>
                  </a:lnTo>
                  <a:lnTo>
                    <a:pt x="2520491" y="469361"/>
                  </a:lnTo>
                  <a:lnTo>
                    <a:pt x="2520491" y="454121"/>
                  </a:lnTo>
                  <a:close/>
                </a:path>
                <a:path w="2549525" h="483235">
                  <a:moveTo>
                    <a:pt x="2549447" y="0"/>
                  </a:moveTo>
                  <a:lnTo>
                    <a:pt x="2520491" y="0"/>
                  </a:lnTo>
                  <a:lnTo>
                    <a:pt x="2520491" y="469361"/>
                  </a:lnTo>
                  <a:lnTo>
                    <a:pt x="2535731" y="454121"/>
                  </a:lnTo>
                  <a:lnTo>
                    <a:pt x="2549447" y="454121"/>
                  </a:lnTo>
                  <a:lnTo>
                    <a:pt x="2549447" y="0"/>
                  </a:lnTo>
                  <a:close/>
                </a:path>
                <a:path w="2549525" h="483235">
                  <a:moveTo>
                    <a:pt x="2549447" y="454121"/>
                  </a:moveTo>
                  <a:lnTo>
                    <a:pt x="2535731" y="454121"/>
                  </a:lnTo>
                  <a:lnTo>
                    <a:pt x="2520491" y="469361"/>
                  </a:lnTo>
                  <a:lnTo>
                    <a:pt x="2549447" y="469361"/>
                  </a:lnTo>
                  <a:lnTo>
                    <a:pt x="2549447" y="454121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8" name="object 48"/>
          <p:cNvSpPr txBox="1"/>
          <p:nvPr/>
        </p:nvSpPr>
        <p:spPr>
          <a:xfrm>
            <a:off x="2933981" y="3962076"/>
            <a:ext cx="956405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2000" spc="-5" dirty="0">
                <a:latin typeface="Liberation Sans Narrow"/>
                <a:cs typeface="Liberation Sans Narrow"/>
              </a:rPr>
              <a:t>quota</a:t>
            </a:r>
            <a:r>
              <a:rPr sz="2000" dirty="0">
                <a:latin typeface="Liberation Sans Narrow"/>
                <a:cs typeface="Liberation Sans Narrow"/>
              </a:rPr>
              <a:t>s</a:t>
            </a:r>
          </a:p>
        </p:txBody>
      </p:sp>
      <p:sp>
        <p:nvSpPr>
          <p:cNvPr id="49" name="object 49"/>
          <p:cNvSpPr txBox="1"/>
          <p:nvPr/>
        </p:nvSpPr>
        <p:spPr>
          <a:xfrm>
            <a:off x="6452595" y="5056219"/>
            <a:ext cx="2242499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96570" marR="5080" indent="-497205">
              <a:lnSpc>
                <a:spcPct val="100000"/>
              </a:lnSpc>
              <a:spcBef>
                <a:spcPts val="100"/>
              </a:spcBef>
            </a:pPr>
            <a:r>
              <a:rPr sz="2000" spc="-5" dirty="0">
                <a:latin typeface="Liberation Sans Narrow"/>
                <a:cs typeface="Liberation Sans Narrow"/>
              </a:rPr>
              <a:t>Define</a:t>
            </a:r>
            <a:r>
              <a:rPr sz="2000" spc="-100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counting  rules</a:t>
            </a:r>
            <a:endParaRPr sz="2000" dirty="0">
              <a:latin typeface="Liberation Sans Narrow"/>
              <a:cs typeface="Liberation Sans Narrow"/>
            </a:endParaRPr>
          </a:p>
        </p:txBody>
      </p:sp>
      <p:grpSp>
        <p:nvGrpSpPr>
          <p:cNvPr id="50" name="object 50"/>
          <p:cNvGrpSpPr/>
          <p:nvPr/>
        </p:nvGrpSpPr>
        <p:grpSpPr>
          <a:xfrm>
            <a:off x="2031836" y="4843378"/>
            <a:ext cx="2524125" cy="1064260"/>
            <a:chOff x="2031836" y="4843378"/>
            <a:chExt cx="2524125" cy="1064260"/>
          </a:xfrm>
        </p:grpSpPr>
        <p:sp>
          <p:nvSpPr>
            <p:cNvPr id="51" name="object 51"/>
            <p:cNvSpPr/>
            <p:nvPr/>
          </p:nvSpPr>
          <p:spPr>
            <a:xfrm>
              <a:off x="2045552" y="4858618"/>
              <a:ext cx="2494915" cy="1035050"/>
            </a:xfrm>
            <a:custGeom>
              <a:avLst/>
              <a:gdLst/>
              <a:ahLst/>
              <a:cxnLst/>
              <a:rect l="l" t="t" r="r" b="b"/>
              <a:pathLst>
                <a:path w="2494915" h="1035050">
                  <a:moveTo>
                    <a:pt x="2494586" y="0"/>
                  </a:moveTo>
                  <a:lnTo>
                    <a:pt x="0" y="0"/>
                  </a:lnTo>
                  <a:lnTo>
                    <a:pt x="0" y="1034713"/>
                  </a:lnTo>
                  <a:lnTo>
                    <a:pt x="2494586" y="1034713"/>
                  </a:lnTo>
                  <a:lnTo>
                    <a:pt x="2494586" y="0"/>
                  </a:lnTo>
                  <a:close/>
                </a:path>
              </a:pathLst>
            </a:custGeom>
            <a:solidFill>
              <a:srgbClr val="B7EAF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52"/>
            <p:cNvSpPr/>
            <p:nvPr/>
          </p:nvSpPr>
          <p:spPr>
            <a:xfrm>
              <a:off x="2031836" y="4843378"/>
              <a:ext cx="2524125" cy="1064260"/>
            </a:xfrm>
            <a:custGeom>
              <a:avLst/>
              <a:gdLst/>
              <a:ahLst/>
              <a:cxnLst/>
              <a:rect l="l" t="t" r="r" b="b"/>
              <a:pathLst>
                <a:path w="2524125" h="1064260">
                  <a:moveTo>
                    <a:pt x="2523552" y="0"/>
                  </a:moveTo>
                  <a:lnTo>
                    <a:pt x="0" y="0"/>
                  </a:lnTo>
                  <a:lnTo>
                    <a:pt x="0" y="1063669"/>
                  </a:lnTo>
                  <a:lnTo>
                    <a:pt x="2523552" y="1063669"/>
                  </a:lnTo>
                  <a:lnTo>
                    <a:pt x="2523552" y="1049953"/>
                  </a:lnTo>
                  <a:lnTo>
                    <a:pt x="27432" y="1049953"/>
                  </a:lnTo>
                  <a:lnTo>
                    <a:pt x="13716" y="1036237"/>
                  </a:lnTo>
                  <a:lnTo>
                    <a:pt x="27432" y="1036237"/>
                  </a:lnTo>
                  <a:lnTo>
                    <a:pt x="27432" y="28956"/>
                  </a:lnTo>
                  <a:lnTo>
                    <a:pt x="13716" y="28956"/>
                  </a:lnTo>
                  <a:lnTo>
                    <a:pt x="27432" y="15240"/>
                  </a:lnTo>
                  <a:lnTo>
                    <a:pt x="2523552" y="15240"/>
                  </a:lnTo>
                  <a:lnTo>
                    <a:pt x="2523552" y="0"/>
                  </a:lnTo>
                  <a:close/>
                </a:path>
                <a:path w="2524125" h="1064260">
                  <a:moveTo>
                    <a:pt x="27432" y="1036237"/>
                  </a:moveTo>
                  <a:lnTo>
                    <a:pt x="13716" y="1036237"/>
                  </a:lnTo>
                  <a:lnTo>
                    <a:pt x="27432" y="1049953"/>
                  </a:lnTo>
                  <a:lnTo>
                    <a:pt x="27432" y="1036237"/>
                  </a:lnTo>
                  <a:close/>
                </a:path>
                <a:path w="2524125" h="1064260">
                  <a:moveTo>
                    <a:pt x="2494596" y="1036237"/>
                  </a:moveTo>
                  <a:lnTo>
                    <a:pt x="27432" y="1036237"/>
                  </a:lnTo>
                  <a:lnTo>
                    <a:pt x="27432" y="1049953"/>
                  </a:lnTo>
                  <a:lnTo>
                    <a:pt x="2494596" y="1049953"/>
                  </a:lnTo>
                  <a:lnTo>
                    <a:pt x="2494596" y="1036237"/>
                  </a:lnTo>
                  <a:close/>
                </a:path>
                <a:path w="2524125" h="1064260">
                  <a:moveTo>
                    <a:pt x="2494596" y="15240"/>
                  </a:moveTo>
                  <a:lnTo>
                    <a:pt x="2494596" y="1049953"/>
                  </a:lnTo>
                  <a:lnTo>
                    <a:pt x="2508312" y="1036237"/>
                  </a:lnTo>
                  <a:lnTo>
                    <a:pt x="2523552" y="1036237"/>
                  </a:lnTo>
                  <a:lnTo>
                    <a:pt x="2523552" y="28956"/>
                  </a:lnTo>
                  <a:lnTo>
                    <a:pt x="2508312" y="28956"/>
                  </a:lnTo>
                  <a:lnTo>
                    <a:pt x="2494596" y="15240"/>
                  </a:lnTo>
                  <a:close/>
                </a:path>
                <a:path w="2524125" h="1064260">
                  <a:moveTo>
                    <a:pt x="2523552" y="1036237"/>
                  </a:moveTo>
                  <a:lnTo>
                    <a:pt x="2508312" y="1036237"/>
                  </a:lnTo>
                  <a:lnTo>
                    <a:pt x="2494596" y="1049953"/>
                  </a:lnTo>
                  <a:lnTo>
                    <a:pt x="2523552" y="1049953"/>
                  </a:lnTo>
                  <a:lnTo>
                    <a:pt x="2523552" y="1036237"/>
                  </a:lnTo>
                  <a:close/>
                </a:path>
                <a:path w="2524125" h="1064260">
                  <a:moveTo>
                    <a:pt x="27432" y="15240"/>
                  </a:moveTo>
                  <a:lnTo>
                    <a:pt x="13716" y="28956"/>
                  </a:lnTo>
                  <a:lnTo>
                    <a:pt x="27432" y="28956"/>
                  </a:lnTo>
                  <a:lnTo>
                    <a:pt x="27432" y="15240"/>
                  </a:lnTo>
                  <a:close/>
                </a:path>
                <a:path w="2524125" h="1064260">
                  <a:moveTo>
                    <a:pt x="2494596" y="15240"/>
                  </a:moveTo>
                  <a:lnTo>
                    <a:pt x="27432" y="15240"/>
                  </a:lnTo>
                  <a:lnTo>
                    <a:pt x="27432" y="28956"/>
                  </a:lnTo>
                  <a:lnTo>
                    <a:pt x="2494596" y="28956"/>
                  </a:lnTo>
                  <a:lnTo>
                    <a:pt x="2494596" y="15240"/>
                  </a:lnTo>
                  <a:close/>
                </a:path>
                <a:path w="2524125" h="1064260">
                  <a:moveTo>
                    <a:pt x="2523552" y="15240"/>
                  </a:moveTo>
                  <a:lnTo>
                    <a:pt x="2494596" y="15240"/>
                  </a:lnTo>
                  <a:lnTo>
                    <a:pt x="2508312" y="28956"/>
                  </a:lnTo>
                  <a:lnTo>
                    <a:pt x="2523552" y="28956"/>
                  </a:lnTo>
                  <a:lnTo>
                    <a:pt x="2523552" y="1524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3" name="object 53"/>
          <p:cNvSpPr txBox="1"/>
          <p:nvPr/>
        </p:nvSpPr>
        <p:spPr>
          <a:xfrm>
            <a:off x="2266317" y="4919852"/>
            <a:ext cx="2474866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5080" indent="-635" algn="ctr">
              <a:lnSpc>
                <a:spcPct val="100000"/>
              </a:lnSpc>
              <a:spcBef>
                <a:spcPts val="100"/>
              </a:spcBef>
            </a:pPr>
            <a:r>
              <a:rPr sz="2000" spc="-10" dirty="0">
                <a:latin typeface="Liberation Sans Narrow"/>
                <a:cs typeface="Liberation Sans Narrow"/>
              </a:rPr>
              <a:t>Assign </a:t>
            </a:r>
            <a:r>
              <a:rPr sz="2000" spc="-5" dirty="0">
                <a:latin typeface="Liberation Sans Narrow"/>
                <a:cs typeface="Liberation Sans Narrow"/>
              </a:rPr>
              <a:t>counting  rules to</a:t>
            </a:r>
            <a:r>
              <a:rPr sz="2000" spc="-100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absence  types</a:t>
            </a:r>
            <a:endParaRPr sz="2000" dirty="0">
              <a:latin typeface="Liberation Sans Narrow"/>
              <a:cs typeface="Liberation Sans Narrow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2060792" y="3916353"/>
            <a:ext cx="186690" cy="4826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3000" dirty="0">
                <a:solidFill>
                  <a:srgbClr val="323299"/>
                </a:solidFill>
                <a:latin typeface="Liberation Sans Narrow"/>
                <a:cs typeface="Liberation Sans Narrow"/>
              </a:rPr>
              <a:t>2</a:t>
            </a:r>
            <a:endParaRPr sz="3000">
              <a:latin typeface="Liberation Sans Narrow"/>
              <a:cs typeface="Liberation Sans Narrow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2047076" y="5434143"/>
            <a:ext cx="186690" cy="4826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3000" dirty="0">
                <a:solidFill>
                  <a:srgbClr val="323299"/>
                </a:solidFill>
                <a:latin typeface="Liberation Sans Narrow"/>
                <a:cs typeface="Liberation Sans Narrow"/>
              </a:rPr>
              <a:t>5</a:t>
            </a:r>
            <a:endParaRPr sz="3000">
              <a:latin typeface="Liberation Sans Narrow"/>
              <a:cs typeface="Liberation Sans Narrow"/>
            </a:endParaRPr>
          </a:p>
        </p:txBody>
      </p: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469265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Counting Class </a:t>
            </a:r>
            <a:r>
              <a:rPr dirty="0">
                <a:solidFill>
                  <a:schemeClr val="accent1"/>
                </a:solidFill>
              </a:rPr>
              <a:t>for</a:t>
            </a:r>
            <a:r>
              <a:rPr spc="-130" dirty="0">
                <a:solidFill>
                  <a:schemeClr val="accent1"/>
                </a:solidFill>
              </a:rPr>
              <a:t> </a:t>
            </a:r>
            <a:r>
              <a:rPr dirty="0">
                <a:solidFill>
                  <a:schemeClr val="accent1"/>
                </a:solidFill>
              </a:rPr>
              <a:t>PWS</a:t>
            </a:r>
          </a:p>
        </p:txBody>
      </p:sp>
      <p:sp>
        <p:nvSpPr>
          <p:cNvPr id="4" name="object 4"/>
          <p:cNvSpPr/>
          <p:nvPr/>
        </p:nvSpPr>
        <p:spPr>
          <a:xfrm>
            <a:off x="1292760" y="1804775"/>
            <a:ext cx="7343546" cy="460819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643591" y="1804772"/>
            <a:ext cx="8963660" cy="2087880"/>
            <a:chOff x="643591" y="1804772"/>
            <a:chExt cx="8963660" cy="2087880"/>
          </a:xfrm>
        </p:grpSpPr>
        <p:sp>
          <p:nvSpPr>
            <p:cNvPr id="3" name="object 3"/>
            <p:cNvSpPr/>
            <p:nvPr/>
          </p:nvSpPr>
          <p:spPr>
            <a:xfrm>
              <a:off x="643591" y="1804772"/>
              <a:ext cx="3962064" cy="2087706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3282939" y="3101589"/>
              <a:ext cx="6324081" cy="790889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6" name="object 6"/>
          <p:cNvGrpSpPr/>
          <p:nvPr/>
        </p:nvGrpSpPr>
        <p:grpSpPr>
          <a:xfrm>
            <a:off x="643591" y="3892479"/>
            <a:ext cx="8963429" cy="2965521"/>
            <a:chOff x="643591" y="3892479"/>
            <a:chExt cx="8963660" cy="3209290"/>
          </a:xfrm>
        </p:grpSpPr>
        <p:sp>
          <p:nvSpPr>
            <p:cNvPr id="7" name="object 7"/>
            <p:cNvSpPr/>
            <p:nvPr/>
          </p:nvSpPr>
          <p:spPr>
            <a:xfrm>
              <a:off x="643591" y="3892479"/>
              <a:ext cx="3962064" cy="540989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282939" y="3892479"/>
              <a:ext cx="6324081" cy="3209284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348234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>
                <a:solidFill>
                  <a:schemeClr val="accent1"/>
                </a:solidFill>
              </a:rPr>
              <a:t>PA </a:t>
            </a:r>
            <a:r>
              <a:rPr spc="-5" dirty="0">
                <a:solidFill>
                  <a:schemeClr val="accent1"/>
                </a:solidFill>
              </a:rPr>
              <a:t>PSA</a:t>
            </a:r>
            <a:r>
              <a:rPr spc="-7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Grouping</a:t>
            </a:r>
          </a:p>
        </p:txBody>
      </p:sp>
      <p:grpSp>
        <p:nvGrpSpPr>
          <p:cNvPr id="3" name="object 3"/>
          <p:cNvGrpSpPr/>
          <p:nvPr/>
        </p:nvGrpSpPr>
        <p:grpSpPr>
          <a:xfrm>
            <a:off x="1076370" y="1626479"/>
            <a:ext cx="7703179" cy="5219273"/>
            <a:chOff x="1076370" y="1626479"/>
            <a:chExt cx="7703179" cy="5219273"/>
          </a:xfrm>
        </p:grpSpPr>
        <p:sp>
          <p:nvSpPr>
            <p:cNvPr id="4" name="object 4"/>
            <p:cNvSpPr/>
            <p:nvPr/>
          </p:nvSpPr>
          <p:spPr>
            <a:xfrm>
              <a:off x="1076370" y="1626479"/>
              <a:ext cx="7703179" cy="2265999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076370" y="3892478"/>
              <a:ext cx="7703179" cy="2953274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291147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Rounding</a:t>
            </a:r>
            <a:r>
              <a:rPr spc="-10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Rule</a:t>
            </a:r>
          </a:p>
        </p:txBody>
      </p:sp>
      <p:sp>
        <p:nvSpPr>
          <p:cNvPr id="4" name="object 4"/>
          <p:cNvSpPr/>
          <p:nvPr/>
        </p:nvSpPr>
        <p:spPr>
          <a:xfrm>
            <a:off x="859981" y="2164409"/>
            <a:ext cx="8157301" cy="403217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47277" y="772607"/>
            <a:ext cx="291147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Rounding</a:t>
            </a:r>
            <a:r>
              <a:rPr spc="-10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Rul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923477" y="1583300"/>
            <a:ext cx="7904480" cy="36836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361950">
              <a:lnSpc>
                <a:spcPct val="100000"/>
              </a:lnSpc>
              <a:spcBef>
                <a:spcPts val="100"/>
              </a:spcBef>
              <a:buChar char="•"/>
              <a:tabLst>
                <a:tab pos="140970" algn="l"/>
              </a:tabLst>
            </a:pPr>
            <a:r>
              <a:rPr sz="2000" spc="-5" dirty="0">
                <a:latin typeface="Liberation Sans Narrow"/>
                <a:cs typeface="Liberation Sans Narrow"/>
              </a:rPr>
              <a:t>Quotas can be rounded for which </a:t>
            </a:r>
            <a:r>
              <a:rPr sz="2000" dirty="0">
                <a:latin typeface="Liberation Sans Narrow"/>
                <a:cs typeface="Liberation Sans Narrow"/>
              </a:rPr>
              <a:t>we </a:t>
            </a:r>
            <a:r>
              <a:rPr sz="2000" spc="-5" dirty="0">
                <a:latin typeface="Liberation Sans Narrow"/>
                <a:cs typeface="Liberation Sans Narrow"/>
              </a:rPr>
              <a:t>can specify the conditions for rounding in </a:t>
            </a:r>
            <a:r>
              <a:rPr sz="2000" dirty="0">
                <a:latin typeface="Liberation Sans Narrow"/>
                <a:cs typeface="Liberation Sans Narrow"/>
              </a:rPr>
              <a:t>a  </a:t>
            </a:r>
            <a:r>
              <a:rPr sz="2000" spc="-5" dirty="0">
                <a:latin typeface="Liberation Sans Narrow"/>
                <a:cs typeface="Liberation Sans Narrow"/>
              </a:rPr>
              <a:t>rounding</a:t>
            </a:r>
            <a:r>
              <a:rPr sz="2000" spc="-20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rule</a:t>
            </a:r>
            <a:endParaRPr sz="2000">
              <a:latin typeface="Liberation Sans Narrow"/>
              <a:cs typeface="Liberation Sans Narrow"/>
            </a:endParaRPr>
          </a:p>
          <a:p>
            <a:pPr>
              <a:lnSpc>
                <a:spcPct val="100000"/>
              </a:lnSpc>
              <a:buFont typeface="Liberation Sans Narrow"/>
              <a:buChar char="•"/>
            </a:pPr>
            <a:endParaRPr sz="2300">
              <a:latin typeface="Liberation Sans Narrow"/>
              <a:cs typeface="Liberation Sans Narrow"/>
            </a:endParaRPr>
          </a:p>
          <a:p>
            <a:pPr>
              <a:lnSpc>
                <a:spcPct val="100000"/>
              </a:lnSpc>
              <a:spcBef>
                <a:spcPts val="40"/>
              </a:spcBef>
              <a:buFont typeface="Liberation Sans Narrow"/>
              <a:buChar char="•"/>
            </a:pPr>
            <a:endParaRPr sz="1850">
              <a:latin typeface="Liberation Sans Narrow"/>
              <a:cs typeface="Liberation Sans Narrow"/>
            </a:endParaRPr>
          </a:p>
          <a:p>
            <a:pPr marL="12700" marR="652145">
              <a:lnSpc>
                <a:spcPct val="100000"/>
              </a:lnSpc>
              <a:buChar char="•"/>
              <a:tabLst>
                <a:tab pos="137795" algn="l"/>
              </a:tabLst>
            </a:pPr>
            <a:r>
              <a:rPr sz="2000" dirty="0">
                <a:latin typeface="Liberation Sans Narrow"/>
                <a:cs typeface="Liberation Sans Narrow"/>
              </a:rPr>
              <a:t>The </a:t>
            </a:r>
            <a:r>
              <a:rPr sz="2000" spc="-5" dirty="0">
                <a:latin typeface="Liberation Sans Narrow"/>
                <a:cs typeface="Liberation Sans Narrow"/>
              </a:rPr>
              <a:t>lower </a:t>
            </a:r>
            <a:r>
              <a:rPr sz="2000" spc="-10" dirty="0">
                <a:latin typeface="Liberation Sans Narrow"/>
                <a:cs typeface="Liberation Sans Narrow"/>
              </a:rPr>
              <a:t>limit </a:t>
            </a:r>
            <a:r>
              <a:rPr sz="2000" spc="-5" dirty="0">
                <a:latin typeface="Liberation Sans Narrow"/>
                <a:cs typeface="Liberation Sans Narrow"/>
              </a:rPr>
              <a:t>and upper </a:t>
            </a:r>
            <a:r>
              <a:rPr sz="2000" spc="-10" dirty="0">
                <a:latin typeface="Liberation Sans Narrow"/>
                <a:cs typeface="Liberation Sans Narrow"/>
              </a:rPr>
              <a:t>limit </a:t>
            </a:r>
            <a:r>
              <a:rPr sz="2000" spc="-5" dirty="0">
                <a:latin typeface="Liberation Sans Narrow"/>
                <a:cs typeface="Liberation Sans Narrow"/>
              </a:rPr>
              <a:t>can be </a:t>
            </a:r>
            <a:r>
              <a:rPr sz="2000" spc="-10" dirty="0">
                <a:latin typeface="Liberation Sans Narrow"/>
                <a:cs typeface="Liberation Sans Narrow"/>
              </a:rPr>
              <a:t>specified </a:t>
            </a:r>
            <a:r>
              <a:rPr sz="2000" spc="-5" dirty="0">
                <a:latin typeface="Liberation Sans Narrow"/>
                <a:cs typeface="Liberation Sans Narrow"/>
              </a:rPr>
              <a:t>along with the target value for  rounding.</a:t>
            </a:r>
            <a:endParaRPr sz="2000">
              <a:latin typeface="Liberation Sans Narrow"/>
              <a:cs typeface="Liberation Sans Narrow"/>
            </a:endParaRPr>
          </a:p>
          <a:p>
            <a:pPr>
              <a:lnSpc>
                <a:spcPct val="100000"/>
              </a:lnSpc>
              <a:buFont typeface="Liberation Sans Narrow"/>
              <a:buChar char="•"/>
            </a:pPr>
            <a:endParaRPr sz="2300">
              <a:latin typeface="Liberation Sans Narrow"/>
              <a:cs typeface="Liberation Sans Narrow"/>
            </a:endParaRPr>
          </a:p>
          <a:p>
            <a:pPr>
              <a:lnSpc>
                <a:spcPct val="100000"/>
              </a:lnSpc>
              <a:spcBef>
                <a:spcPts val="35"/>
              </a:spcBef>
              <a:buFont typeface="Liberation Sans Narrow"/>
              <a:buChar char="•"/>
            </a:pPr>
            <a:endParaRPr sz="1850">
              <a:latin typeface="Liberation Sans Narrow"/>
              <a:cs typeface="Liberation Sans Narrow"/>
            </a:endParaRPr>
          </a:p>
          <a:p>
            <a:pPr marL="140335" indent="-128270">
              <a:lnSpc>
                <a:spcPct val="100000"/>
              </a:lnSpc>
              <a:buChar char="•"/>
              <a:tabLst>
                <a:tab pos="140970" algn="l"/>
              </a:tabLst>
            </a:pPr>
            <a:r>
              <a:rPr sz="2000" spc="-15" dirty="0">
                <a:latin typeface="Liberation Sans Narrow"/>
                <a:cs typeface="Liberation Sans Narrow"/>
              </a:rPr>
              <a:t>We </a:t>
            </a:r>
            <a:r>
              <a:rPr sz="2000" spc="-5" dirty="0">
                <a:latin typeface="Liberation Sans Narrow"/>
                <a:cs typeface="Liberation Sans Narrow"/>
              </a:rPr>
              <a:t>can either include or exclude the lower or upper </a:t>
            </a:r>
            <a:r>
              <a:rPr sz="2000" spc="-10" dirty="0">
                <a:latin typeface="Liberation Sans Narrow"/>
                <a:cs typeface="Liberation Sans Narrow"/>
              </a:rPr>
              <a:t>limit </a:t>
            </a:r>
            <a:r>
              <a:rPr sz="2000" spc="-5" dirty="0">
                <a:latin typeface="Liberation Sans Narrow"/>
                <a:cs typeface="Liberation Sans Narrow"/>
              </a:rPr>
              <a:t>for the purpose of</a:t>
            </a:r>
            <a:r>
              <a:rPr sz="2000" spc="60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rounding</a:t>
            </a:r>
            <a:endParaRPr sz="2000">
              <a:latin typeface="Liberation Sans Narrow"/>
              <a:cs typeface="Liberation Sans Narrow"/>
            </a:endParaRPr>
          </a:p>
          <a:p>
            <a:pPr>
              <a:lnSpc>
                <a:spcPct val="100000"/>
              </a:lnSpc>
              <a:buFont typeface="Liberation Sans Narrow"/>
              <a:buChar char="•"/>
            </a:pPr>
            <a:endParaRPr sz="2300">
              <a:latin typeface="Liberation Sans Narrow"/>
              <a:cs typeface="Liberation Sans Narrow"/>
            </a:endParaRPr>
          </a:p>
          <a:p>
            <a:pPr>
              <a:lnSpc>
                <a:spcPct val="100000"/>
              </a:lnSpc>
              <a:spcBef>
                <a:spcPts val="40"/>
              </a:spcBef>
              <a:buFont typeface="Liberation Sans Narrow"/>
              <a:buChar char="•"/>
            </a:pPr>
            <a:endParaRPr sz="1850">
              <a:latin typeface="Liberation Sans Narrow"/>
              <a:cs typeface="Liberation Sans Narrow"/>
            </a:endParaRPr>
          </a:p>
          <a:p>
            <a:pPr marL="140335" indent="-128270">
              <a:lnSpc>
                <a:spcPct val="100000"/>
              </a:lnSpc>
              <a:buChar char="•"/>
              <a:tabLst>
                <a:tab pos="140970" algn="l"/>
              </a:tabLst>
            </a:pPr>
            <a:r>
              <a:rPr sz="2000" spc="-5" dirty="0">
                <a:latin typeface="Liberation Sans Narrow"/>
                <a:cs typeface="Liberation Sans Narrow"/>
              </a:rPr>
              <a:t>If </a:t>
            </a:r>
            <a:r>
              <a:rPr sz="2000" dirty="0">
                <a:latin typeface="Liberation Sans Narrow"/>
                <a:cs typeface="Liberation Sans Narrow"/>
              </a:rPr>
              <a:t>we </a:t>
            </a:r>
            <a:r>
              <a:rPr sz="2000" spc="-10" dirty="0">
                <a:latin typeface="Liberation Sans Narrow"/>
                <a:cs typeface="Liberation Sans Narrow"/>
              </a:rPr>
              <a:t>select </a:t>
            </a:r>
            <a:r>
              <a:rPr sz="2000" spc="-5" dirty="0">
                <a:latin typeface="Liberation Sans Narrow"/>
                <a:cs typeface="Liberation Sans Narrow"/>
              </a:rPr>
              <a:t>checkbox “Roll” the target value would be rolled for subsequent</a:t>
            </a:r>
            <a:r>
              <a:rPr sz="2000" spc="70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intervals</a:t>
            </a:r>
            <a:endParaRPr sz="2000">
              <a:latin typeface="Liberation Sans Narrow"/>
              <a:cs typeface="Liberation Sans Narrow"/>
            </a:endParaRPr>
          </a:p>
        </p:txBody>
      </p: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279908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Counting</a:t>
            </a:r>
            <a:r>
              <a:rPr spc="-95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Rul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999664" y="1913967"/>
            <a:ext cx="4283075" cy="4117975"/>
          </a:xfrm>
          <a:prstGeom prst="rect">
            <a:avLst/>
          </a:prstGeom>
        </p:spPr>
        <p:txBody>
          <a:bodyPr vert="horz" wrap="square" lIns="0" tIns="187960" rIns="0" bIns="0" rtlCol="0">
            <a:spAutoFit/>
          </a:bodyPr>
          <a:lstStyle/>
          <a:p>
            <a:pPr marL="354965" indent="-342900">
              <a:lnSpc>
                <a:spcPct val="100000"/>
              </a:lnSpc>
              <a:spcBef>
                <a:spcPts val="148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Applicability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of</a:t>
            </a:r>
            <a:r>
              <a:rPr sz="2000" spc="-2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Rule</a:t>
            </a:r>
            <a:endParaRPr sz="2000">
              <a:latin typeface="Arial"/>
              <a:cs typeface="Arial"/>
            </a:endParaRPr>
          </a:p>
          <a:p>
            <a:pPr marL="1155065" lvl="1" indent="-229235">
              <a:lnSpc>
                <a:spcPct val="100000"/>
              </a:lnSpc>
              <a:spcBef>
                <a:spcPts val="1100"/>
              </a:spcBef>
              <a:buClr>
                <a:srgbClr val="323299"/>
              </a:buClr>
              <a:buFont typeface="Wingdings"/>
              <a:buChar char=""/>
              <a:tabLst>
                <a:tab pos="1155065" algn="l"/>
                <a:tab pos="1155700" algn="l"/>
              </a:tabLst>
            </a:pPr>
            <a:r>
              <a:rPr sz="1600" spc="-5" dirty="0">
                <a:solidFill>
                  <a:srgbClr val="5E5E5E"/>
                </a:solidFill>
                <a:latin typeface="Arial"/>
                <a:cs typeface="Arial"/>
              </a:rPr>
              <a:t>Condition for Current</a:t>
            </a:r>
            <a:r>
              <a:rPr sz="1600" spc="1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5E5E5E"/>
                </a:solidFill>
                <a:latin typeface="Arial"/>
                <a:cs typeface="Arial"/>
              </a:rPr>
              <a:t>Day</a:t>
            </a:r>
            <a:endParaRPr sz="1600">
              <a:latin typeface="Arial"/>
              <a:cs typeface="Arial"/>
            </a:endParaRPr>
          </a:p>
          <a:p>
            <a:pPr marL="2069464" lvl="2" indent="-229235">
              <a:lnSpc>
                <a:spcPct val="100000"/>
              </a:lnSpc>
              <a:spcBef>
                <a:spcPts val="894"/>
              </a:spcBef>
              <a:buClr>
                <a:srgbClr val="323299"/>
              </a:buClr>
              <a:buFont typeface="Wingdings"/>
              <a:buChar char=""/>
              <a:tabLst>
                <a:tab pos="2069464" algn="l"/>
                <a:tab pos="2070100" algn="l"/>
              </a:tabLst>
            </a:pPr>
            <a:r>
              <a:rPr sz="1400" dirty="0">
                <a:solidFill>
                  <a:srgbClr val="5E5E5E"/>
                </a:solidFill>
                <a:latin typeface="Arial"/>
                <a:cs typeface="Arial"/>
              </a:rPr>
              <a:t>Weekday</a:t>
            </a:r>
            <a:endParaRPr sz="1400">
              <a:latin typeface="Arial"/>
              <a:cs typeface="Arial"/>
            </a:endParaRPr>
          </a:p>
          <a:p>
            <a:pPr marL="2069464" lvl="2" indent="-229235">
              <a:lnSpc>
                <a:spcPct val="100000"/>
              </a:lnSpc>
              <a:spcBef>
                <a:spcPts val="840"/>
              </a:spcBef>
              <a:buClr>
                <a:srgbClr val="323299"/>
              </a:buClr>
              <a:buFont typeface="Wingdings"/>
              <a:buChar char=""/>
              <a:tabLst>
                <a:tab pos="2069464" algn="l"/>
                <a:tab pos="2070100" algn="l"/>
              </a:tabLst>
            </a:pPr>
            <a:r>
              <a:rPr sz="1400" spc="-5" dirty="0">
                <a:solidFill>
                  <a:srgbClr val="5E5E5E"/>
                </a:solidFill>
                <a:latin typeface="Arial"/>
                <a:cs typeface="Arial"/>
              </a:rPr>
              <a:t>Holiday</a:t>
            </a:r>
            <a:r>
              <a:rPr sz="1400" spc="-3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400" spc="-5" dirty="0">
                <a:solidFill>
                  <a:srgbClr val="5E5E5E"/>
                </a:solidFill>
                <a:latin typeface="Arial"/>
                <a:cs typeface="Arial"/>
              </a:rPr>
              <a:t>Class</a:t>
            </a:r>
            <a:endParaRPr sz="1400">
              <a:latin typeface="Arial"/>
              <a:cs typeface="Arial"/>
            </a:endParaRPr>
          </a:p>
          <a:p>
            <a:pPr marL="1155065" lvl="1" indent="-229235">
              <a:lnSpc>
                <a:spcPct val="100000"/>
              </a:lnSpc>
              <a:spcBef>
                <a:spcPts val="900"/>
              </a:spcBef>
              <a:buClr>
                <a:srgbClr val="323299"/>
              </a:buClr>
              <a:buFont typeface="Wingdings"/>
              <a:buChar char=""/>
              <a:tabLst>
                <a:tab pos="1155065" algn="l"/>
                <a:tab pos="1155700" algn="l"/>
              </a:tabLst>
            </a:pPr>
            <a:r>
              <a:rPr sz="1600" spc="-5" dirty="0">
                <a:solidFill>
                  <a:srgbClr val="5E5E5E"/>
                </a:solidFill>
                <a:latin typeface="Arial"/>
                <a:cs typeface="Arial"/>
              </a:rPr>
              <a:t>Condition For Work Schedule</a:t>
            </a:r>
            <a:endParaRPr sz="1600">
              <a:latin typeface="Arial"/>
              <a:cs typeface="Arial"/>
            </a:endParaRPr>
          </a:p>
          <a:p>
            <a:pPr marL="2069464" lvl="2" indent="-229235">
              <a:lnSpc>
                <a:spcPct val="100000"/>
              </a:lnSpc>
              <a:spcBef>
                <a:spcPts val="900"/>
              </a:spcBef>
              <a:buClr>
                <a:srgbClr val="323299"/>
              </a:buClr>
              <a:buFont typeface="Wingdings"/>
              <a:buChar char=""/>
              <a:tabLst>
                <a:tab pos="2069464" algn="l"/>
                <a:tab pos="2070100" algn="l"/>
              </a:tabLst>
            </a:pPr>
            <a:r>
              <a:rPr sz="1400" spc="-5" dirty="0">
                <a:solidFill>
                  <a:srgbClr val="5E5E5E"/>
                </a:solidFill>
                <a:latin typeface="Arial"/>
                <a:cs typeface="Arial"/>
              </a:rPr>
              <a:t>Counting </a:t>
            </a:r>
            <a:r>
              <a:rPr sz="1400" dirty="0">
                <a:solidFill>
                  <a:srgbClr val="5E5E5E"/>
                </a:solidFill>
                <a:latin typeface="Arial"/>
                <a:cs typeface="Arial"/>
              </a:rPr>
              <a:t>class for</a:t>
            </a:r>
            <a:r>
              <a:rPr sz="1400" spc="-10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400" spc="5" dirty="0">
                <a:solidFill>
                  <a:srgbClr val="5E5E5E"/>
                </a:solidFill>
                <a:latin typeface="Arial"/>
                <a:cs typeface="Arial"/>
              </a:rPr>
              <a:t>PWS</a:t>
            </a:r>
            <a:endParaRPr sz="1400">
              <a:latin typeface="Arial"/>
              <a:cs typeface="Arial"/>
            </a:endParaRPr>
          </a:p>
          <a:p>
            <a:pPr marL="2069464" lvl="2" indent="-229235">
              <a:lnSpc>
                <a:spcPct val="100000"/>
              </a:lnSpc>
              <a:spcBef>
                <a:spcPts val="840"/>
              </a:spcBef>
              <a:buClr>
                <a:srgbClr val="323299"/>
              </a:buClr>
              <a:buFont typeface="Wingdings"/>
              <a:buChar char=""/>
              <a:tabLst>
                <a:tab pos="2069464" algn="l"/>
                <a:tab pos="2070100" algn="l"/>
              </a:tabLst>
            </a:pPr>
            <a:r>
              <a:rPr sz="1400" dirty="0">
                <a:solidFill>
                  <a:srgbClr val="5E5E5E"/>
                </a:solidFill>
                <a:latin typeface="Arial"/>
                <a:cs typeface="Arial"/>
              </a:rPr>
              <a:t>DWS</a:t>
            </a:r>
            <a:r>
              <a:rPr sz="1400" spc="-3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400" spc="-5" dirty="0">
                <a:solidFill>
                  <a:srgbClr val="5E5E5E"/>
                </a:solidFill>
                <a:latin typeface="Arial"/>
                <a:cs typeface="Arial"/>
              </a:rPr>
              <a:t>Class</a:t>
            </a:r>
            <a:endParaRPr sz="1400">
              <a:latin typeface="Arial"/>
              <a:cs typeface="Arial"/>
            </a:endParaRPr>
          </a:p>
          <a:p>
            <a:pPr marL="227965" marR="26670" lvl="2" indent="-227965" algn="r">
              <a:lnSpc>
                <a:spcPct val="100000"/>
              </a:lnSpc>
              <a:spcBef>
                <a:spcPts val="840"/>
              </a:spcBef>
              <a:buClr>
                <a:srgbClr val="323299"/>
              </a:buClr>
              <a:buFont typeface="Wingdings"/>
              <a:buChar char=""/>
              <a:tabLst>
                <a:tab pos="227965" algn="l"/>
                <a:tab pos="2070100" algn="l"/>
              </a:tabLst>
            </a:pPr>
            <a:r>
              <a:rPr sz="1400" spc="-5" dirty="0">
                <a:solidFill>
                  <a:srgbClr val="5E5E5E"/>
                </a:solidFill>
                <a:latin typeface="Arial"/>
                <a:cs typeface="Arial"/>
              </a:rPr>
              <a:t>Condition </a:t>
            </a:r>
            <a:r>
              <a:rPr sz="1400" dirty="0">
                <a:solidFill>
                  <a:srgbClr val="5E5E5E"/>
                </a:solidFill>
                <a:latin typeface="Arial"/>
                <a:cs typeface="Arial"/>
              </a:rPr>
              <a:t>for </a:t>
            </a:r>
            <a:r>
              <a:rPr sz="1400" spc="-5" dirty="0">
                <a:solidFill>
                  <a:srgbClr val="5E5E5E"/>
                </a:solidFill>
                <a:latin typeface="Arial"/>
                <a:cs typeface="Arial"/>
              </a:rPr>
              <a:t>planned</a:t>
            </a:r>
            <a:r>
              <a:rPr sz="1400" spc="-12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400" spc="-5" dirty="0">
                <a:solidFill>
                  <a:srgbClr val="5E5E5E"/>
                </a:solidFill>
                <a:latin typeface="Arial"/>
                <a:cs typeface="Arial"/>
              </a:rPr>
              <a:t>hours</a:t>
            </a:r>
            <a:endParaRPr sz="1400">
              <a:latin typeface="Arial"/>
              <a:cs typeface="Arial"/>
            </a:endParaRPr>
          </a:p>
          <a:p>
            <a:pPr marL="227965" marR="5080" lvl="1" indent="-227965" algn="r">
              <a:lnSpc>
                <a:spcPct val="100000"/>
              </a:lnSpc>
              <a:spcBef>
                <a:spcPts val="900"/>
              </a:spcBef>
              <a:buClr>
                <a:srgbClr val="323299"/>
              </a:buClr>
              <a:buFont typeface="Wingdings"/>
              <a:buChar char=""/>
              <a:tabLst>
                <a:tab pos="227965" algn="l"/>
                <a:tab pos="1155700" algn="l"/>
              </a:tabLst>
            </a:pPr>
            <a:r>
              <a:rPr sz="1600" spc="-5" dirty="0">
                <a:solidFill>
                  <a:srgbClr val="5E5E5E"/>
                </a:solidFill>
                <a:latin typeface="Arial"/>
                <a:cs typeface="Arial"/>
              </a:rPr>
              <a:t>Condition for absence/</a:t>
            </a:r>
            <a:r>
              <a:rPr sz="1600" spc="1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5E5E5E"/>
                </a:solidFill>
                <a:latin typeface="Arial"/>
                <a:cs typeface="Arial"/>
              </a:rPr>
              <a:t>Attendance</a:t>
            </a:r>
            <a:endParaRPr sz="16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065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Counting</a:t>
            </a:r>
            <a:endParaRPr sz="20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2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Deduction</a:t>
            </a:r>
            <a:r>
              <a:rPr sz="2000" spc="-4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Rule</a:t>
            </a:r>
            <a:endParaRPr sz="20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47277" y="835092"/>
            <a:ext cx="279908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Counting</a:t>
            </a:r>
            <a:r>
              <a:rPr spc="-95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Rul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075864" y="1455903"/>
            <a:ext cx="6063615" cy="939800"/>
          </a:xfrm>
          <a:prstGeom prst="rect">
            <a:avLst/>
          </a:prstGeom>
        </p:spPr>
        <p:txBody>
          <a:bodyPr vert="horz" wrap="square" lIns="0" tIns="164465" rIns="0" bIns="0" rtlCol="0">
            <a:spAutoFit/>
          </a:bodyPr>
          <a:lstStyle/>
          <a:p>
            <a:pPr marL="140335" indent="-128270">
              <a:lnSpc>
                <a:spcPct val="100000"/>
              </a:lnSpc>
              <a:spcBef>
                <a:spcPts val="1295"/>
              </a:spcBef>
              <a:buChar char="•"/>
              <a:tabLst>
                <a:tab pos="140970" algn="l"/>
              </a:tabLst>
            </a:pPr>
            <a:r>
              <a:rPr sz="2000" spc="-15" dirty="0">
                <a:latin typeface="Liberation Sans Narrow"/>
                <a:cs typeface="Liberation Sans Narrow"/>
              </a:rPr>
              <a:t>We </a:t>
            </a:r>
            <a:r>
              <a:rPr sz="2000" spc="-10" dirty="0">
                <a:latin typeface="Liberation Sans Narrow"/>
                <a:cs typeface="Liberation Sans Narrow"/>
              </a:rPr>
              <a:t>assign </a:t>
            </a:r>
            <a:r>
              <a:rPr sz="2000" dirty="0">
                <a:latin typeface="Liberation Sans Narrow"/>
                <a:cs typeface="Liberation Sans Narrow"/>
              </a:rPr>
              <a:t>a </a:t>
            </a:r>
            <a:r>
              <a:rPr sz="2000" spc="-5" dirty="0">
                <a:latin typeface="Liberation Sans Narrow"/>
                <a:cs typeface="Liberation Sans Narrow"/>
              </a:rPr>
              <a:t>deduction rule in </a:t>
            </a:r>
            <a:r>
              <a:rPr sz="2000" dirty="0">
                <a:latin typeface="Liberation Sans Narrow"/>
                <a:cs typeface="Liberation Sans Narrow"/>
              </a:rPr>
              <a:t>a </a:t>
            </a:r>
            <a:r>
              <a:rPr sz="2000" spc="-5" dirty="0">
                <a:latin typeface="Liberation Sans Narrow"/>
                <a:cs typeface="Liberation Sans Narrow"/>
              </a:rPr>
              <a:t>counting rule</a:t>
            </a:r>
            <a:endParaRPr sz="2000">
              <a:latin typeface="Liberation Sans Narrow"/>
              <a:cs typeface="Liberation Sans Narrow"/>
            </a:endParaRPr>
          </a:p>
          <a:p>
            <a:pPr marL="140335" indent="-128270">
              <a:lnSpc>
                <a:spcPct val="100000"/>
              </a:lnSpc>
              <a:spcBef>
                <a:spcPts val="1200"/>
              </a:spcBef>
              <a:buChar char="•"/>
              <a:tabLst>
                <a:tab pos="140970" algn="l"/>
              </a:tabLst>
            </a:pPr>
            <a:r>
              <a:rPr sz="2000" spc="-5" dirty="0">
                <a:latin typeface="Liberation Sans Narrow"/>
                <a:cs typeface="Liberation Sans Narrow"/>
              </a:rPr>
              <a:t>Counting rule will specify the conditions for counting an</a:t>
            </a:r>
            <a:r>
              <a:rPr sz="2000" spc="-15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absence</a:t>
            </a:r>
            <a:endParaRPr sz="2000">
              <a:latin typeface="Liberation Sans Narrow"/>
              <a:cs typeface="Liberation Sans Narrow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730108" y="3037606"/>
            <a:ext cx="4631690" cy="855344"/>
          </a:xfrm>
          <a:custGeom>
            <a:avLst/>
            <a:gdLst/>
            <a:ahLst/>
            <a:cxnLst/>
            <a:rect l="l" t="t" r="r" b="b"/>
            <a:pathLst>
              <a:path w="4631690" h="855345">
                <a:moveTo>
                  <a:pt x="4631067" y="0"/>
                </a:moveTo>
                <a:lnTo>
                  <a:pt x="0" y="0"/>
                </a:lnTo>
                <a:lnTo>
                  <a:pt x="0" y="854872"/>
                </a:lnTo>
                <a:lnTo>
                  <a:pt x="9144" y="854872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4631067" y="4572"/>
                </a:lnTo>
                <a:lnTo>
                  <a:pt x="4631067" y="0"/>
                </a:lnTo>
                <a:close/>
              </a:path>
              <a:path w="4631690" h="855345">
                <a:moveTo>
                  <a:pt x="4621923" y="4572"/>
                </a:moveTo>
                <a:lnTo>
                  <a:pt x="4621923" y="854872"/>
                </a:lnTo>
                <a:lnTo>
                  <a:pt x="4631067" y="854872"/>
                </a:lnTo>
                <a:lnTo>
                  <a:pt x="4631067" y="9144"/>
                </a:lnTo>
                <a:lnTo>
                  <a:pt x="4626495" y="9144"/>
                </a:lnTo>
                <a:lnTo>
                  <a:pt x="4621923" y="4572"/>
                </a:lnTo>
                <a:close/>
              </a:path>
              <a:path w="4631690" h="85534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4631690" h="855345">
                <a:moveTo>
                  <a:pt x="4621923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4621923" y="9144"/>
                </a:lnTo>
                <a:lnTo>
                  <a:pt x="4621923" y="4572"/>
                </a:lnTo>
                <a:close/>
              </a:path>
              <a:path w="4631690" h="855345">
                <a:moveTo>
                  <a:pt x="4631067" y="4572"/>
                </a:moveTo>
                <a:lnTo>
                  <a:pt x="4621923" y="4572"/>
                </a:lnTo>
                <a:lnTo>
                  <a:pt x="4626495" y="9144"/>
                </a:lnTo>
                <a:lnTo>
                  <a:pt x="4631067" y="9144"/>
                </a:lnTo>
                <a:lnTo>
                  <a:pt x="4631067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1964285" y="3463762"/>
            <a:ext cx="121348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Counting</a:t>
            </a:r>
            <a:r>
              <a:rPr sz="1800" spc="-40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Rule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4473092" y="3506937"/>
            <a:ext cx="619125" cy="315595"/>
          </a:xfrm>
          <a:custGeom>
            <a:avLst/>
            <a:gdLst/>
            <a:ahLst/>
            <a:cxnLst/>
            <a:rect l="l" t="t" r="r" b="b"/>
            <a:pathLst>
              <a:path w="619125" h="315595">
                <a:moveTo>
                  <a:pt x="618683" y="0"/>
                </a:moveTo>
                <a:lnTo>
                  <a:pt x="0" y="0"/>
                </a:lnTo>
                <a:lnTo>
                  <a:pt x="0" y="315468"/>
                </a:lnTo>
                <a:lnTo>
                  <a:pt x="618683" y="315468"/>
                </a:lnTo>
                <a:lnTo>
                  <a:pt x="618683" y="309372"/>
                </a:lnTo>
                <a:lnTo>
                  <a:pt x="9144" y="309372"/>
                </a:lnTo>
                <a:lnTo>
                  <a:pt x="4572" y="304800"/>
                </a:lnTo>
                <a:lnTo>
                  <a:pt x="9144" y="304800"/>
                </a:lnTo>
                <a:lnTo>
                  <a:pt x="9144" y="10668"/>
                </a:lnTo>
                <a:lnTo>
                  <a:pt x="4572" y="10668"/>
                </a:lnTo>
                <a:lnTo>
                  <a:pt x="9144" y="4572"/>
                </a:lnTo>
                <a:lnTo>
                  <a:pt x="618683" y="4572"/>
                </a:lnTo>
                <a:lnTo>
                  <a:pt x="618683" y="0"/>
                </a:lnTo>
                <a:close/>
              </a:path>
              <a:path w="619125" h="315595">
                <a:moveTo>
                  <a:pt x="9144" y="304800"/>
                </a:moveTo>
                <a:lnTo>
                  <a:pt x="4572" y="304800"/>
                </a:lnTo>
                <a:lnTo>
                  <a:pt x="9144" y="309372"/>
                </a:lnTo>
                <a:lnTo>
                  <a:pt x="9144" y="304800"/>
                </a:lnTo>
                <a:close/>
              </a:path>
              <a:path w="619125" h="315595">
                <a:moveTo>
                  <a:pt x="609539" y="304800"/>
                </a:moveTo>
                <a:lnTo>
                  <a:pt x="9144" y="304800"/>
                </a:lnTo>
                <a:lnTo>
                  <a:pt x="9144" y="309372"/>
                </a:lnTo>
                <a:lnTo>
                  <a:pt x="609539" y="309372"/>
                </a:lnTo>
                <a:lnTo>
                  <a:pt x="609539" y="304800"/>
                </a:lnTo>
                <a:close/>
              </a:path>
              <a:path w="619125" h="315595">
                <a:moveTo>
                  <a:pt x="609539" y="4572"/>
                </a:moveTo>
                <a:lnTo>
                  <a:pt x="609539" y="309372"/>
                </a:lnTo>
                <a:lnTo>
                  <a:pt x="614111" y="304800"/>
                </a:lnTo>
                <a:lnTo>
                  <a:pt x="618683" y="304800"/>
                </a:lnTo>
                <a:lnTo>
                  <a:pt x="618683" y="10668"/>
                </a:lnTo>
                <a:lnTo>
                  <a:pt x="614111" y="10668"/>
                </a:lnTo>
                <a:lnTo>
                  <a:pt x="609539" y="4572"/>
                </a:lnTo>
                <a:close/>
              </a:path>
              <a:path w="619125" h="315595">
                <a:moveTo>
                  <a:pt x="618683" y="304800"/>
                </a:moveTo>
                <a:lnTo>
                  <a:pt x="614111" y="304800"/>
                </a:lnTo>
                <a:lnTo>
                  <a:pt x="609539" y="309372"/>
                </a:lnTo>
                <a:lnTo>
                  <a:pt x="618683" y="309372"/>
                </a:lnTo>
                <a:lnTo>
                  <a:pt x="618683" y="304800"/>
                </a:lnTo>
                <a:close/>
              </a:path>
              <a:path w="619125" h="315595">
                <a:moveTo>
                  <a:pt x="9144" y="4572"/>
                </a:moveTo>
                <a:lnTo>
                  <a:pt x="4572" y="10668"/>
                </a:lnTo>
                <a:lnTo>
                  <a:pt x="9144" y="10668"/>
                </a:lnTo>
                <a:lnTo>
                  <a:pt x="9144" y="4572"/>
                </a:lnTo>
                <a:close/>
              </a:path>
              <a:path w="619125" h="315595">
                <a:moveTo>
                  <a:pt x="609539" y="4572"/>
                </a:moveTo>
                <a:lnTo>
                  <a:pt x="9144" y="4572"/>
                </a:lnTo>
                <a:lnTo>
                  <a:pt x="9144" y="10668"/>
                </a:lnTo>
                <a:lnTo>
                  <a:pt x="609539" y="10668"/>
                </a:lnTo>
                <a:lnTo>
                  <a:pt x="609539" y="4572"/>
                </a:lnTo>
                <a:close/>
              </a:path>
              <a:path w="619125" h="315595">
                <a:moveTo>
                  <a:pt x="618683" y="4572"/>
                </a:moveTo>
                <a:lnTo>
                  <a:pt x="609539" y="4572"/>
                </a:lnTo>
                <a:lnTo>
                  <a:pt x="614111" y="10668"/>
                </a:lnTo>
                <a:lnTo>
                  <a:pt x="618683" y="10668"/>
                </a:lnTo>
                <a:lnTo>
                  <a:pt x="61868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4554858" y="3509483"/>
            <a:ext cx="33718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10</a:t>
            </a:r>
            <a:r>
              <a:rPr sz="1800" dirty="0">
                <a:latin typeface="Liberation Sans Narrow"/>
                <a:cs typeface="Liberation Sans Narrow"/>
              </a:rPr>
              <a:t>1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1730108" y="3892479"/>
            <a:ext cx="4631690" cy="1275715"/>
          </a:xfrm>
          <a:custGeom>
            <a:avLst/>
            <a:gdLst/>
            <a:ahLst/>
            <a:cxnLst/>
            <a:rect l="l" t="t" r="r" b="b"/>
            <a:pathLst>
              <a:path w="4631690" h="1275714">
                <a:moveTo>
                  <a:pt x="9144" y="0"/>
                </a:moveTo>
                <a:lnTo>
                  <a:pt x="0" y="0"/>
                </a:lnTo>
                <a:lnTo>
                  <a:pt x="0" y="1275487"/>
                </a:lnTo>
                <a:lnTo>
                  <a:pt x="4631067" y="1275487"/>
                </a:lnTo>
                <a:lnTo>
                  <a:pt x="4631067" y="1270915"/>
                </a:lnTo>
                <a:lnTo>
                  <a:pt x="9144" y="1270915"/>
                </a:lnTo>
                <a:lnTo>
                  <a:pt x="4572" y="1266343"/>
                </a:lnTo>
                <a:lnTo>
                  <a:pt x="9144" y="1266343"/>
                </a:lnTo>
                <a:lnTo>
                  <a:pt x="9144" y="0"/>
                </a:lnTo>
                <a:close/>
              </a:path>
              <a:path w="4631690" h="1275714">
                <a:moveTo>
                  <a:pt x="9144" y="1266343"/>
                </a:moveTo>
                <a:lnTo>
                  <a:pt x="4572" y="1266343"/>
                </a:lnTo>
                <a:lnTo>
                  <a:pt x="9144" y="1270915"/>
                </a:lnTo>
                <a:lnTo>
                  <a:pt x="9144" y="1266343"/>
                </a:lnTo>
                <a:close/>
              </a:path>
              <a:path w="4631690" h="1275714">
                <a:moveTo>
                  <a:pt x="4621923" y="1266343"/>
                </a:moveTo>
                <a:lnTo>
                  <a:pt x="9144" y="1266343"/>
                </a:lnTo>
                <a:lnTo>
                  <a:pt x="9144" y="1270915"/>
                </a:lnTo>
                <a:lnTo>
                  <a:pt x="4621923" y="1270915"/>
                </a:lnTo>
                <a:lnTo>
                  <a:pt x="4621923" y="1266343"/>
                </a:lnTo>
                <a:close/>
              </a:path>
              <a:path w="4631690" h="1275714">
                <a:moveTo>
                  <a:pt x="4631067" y="0"/>
                </a:moveTo>
                <a:lnTo>
                  <a:pt x="4621923" y="0"/>
                </a:lnTo>
                <a:lnTo>
                  <a:pt x="4621923" y="1270915"/>
                </a:lnTo>
                <a:lnTo>
                  <a:pt x="4626495" y="1266343"/>
                </a:lnTo>
                <a:lnTo>
                  <a:pt x="4631067" y="1266343"/>
                </a:lnTo>
                <a:lnTo>
                  <a:pt x="4631067" y="0"/>
                </a:lnTo>
                <a:close/>
              </a:path>
              <a:path w="4631690" h="1275714">
                <a:moveTo>
                  <a:pt x="4631067" y="1266343"/>
                </a:moveTo>
                <a:lnTo>
                  <a:pt x="4626495" y="1266343"/>
                </a:lnTo>
                <a:lnTo>
                  <a:pt x="4621923" y="1270915"/>
                </a:lnTo>
                <a:lnTo>
                  <a:pt x="4631067" y="1270915"/>
                </a:lnTo>
                <a:lnTo>
                  <a:pt x="4631067" y="126634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1964285" y="4286660"/>
            <a:ext cx="158877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Sequence</a:t>
            </a:r>
            <a:r>
              <a:rPr sz="1800" spc="-25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Number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4549292" y="4268876"/>
            <a:ext cx="619125" cy="315595"/>
          </a:xfrm>
          <a:custGeom>
            <a:avLst/>
            <a:gdLst/>
            <a:ahLst/>
            <a:cxnLst/>
            <a:rect l="l" t="t" r="r" b="b"/>
            <a:pathLst>
              <a:path w="619125" h="315595">
                <a:moveTo>
                  <a:pt x="618683" y="0"/>
                </a:moveTo>
                <a:lnTo>
                  <a:pt x="0" y="0"/>
                </a:lnTo>
                <a:lnTo>
                  <a:pt x="0" y="315437"/>
                </a:lnTo>
                <a:lnTo>
                  <a:pt x="618683" y="315437"/>
                </a:lnTo>
                <a:lnTo>
                  <a:pt x="618683" y="309341"/>
                </a:lnTo>
                <a:lnTo>
                  <a:pt x="9113" y="309341"/>
                </a:lnTo>
                <a:lnTo>
                  <a:pt x="4572" y="304769"/>
                </a:lnTo>
                <a:lnTo>
                  <a:pt x="9113" y="304769"/>
                </a:lnTo>
                <a:lnTo>
                  <a:pt x="9113" y="10668"/>
                </a:lnTo>
                <a:lnTo>
                  <a:pt x="4572" y="10668"/>
                </a:lnTo>
                <a:lnTo>
                  <a:pt x="9113" y="4572"/>
                </a:lnTo>
                <a:lnTo>
                  <a:pt x="618683" y="4572"/>
                </a:lnTo>
                <a:lnTo>
                  <a:pt x="618683" y="0"/>
                </a:lnTo>
                <a:close/>
              </a:path>
              <a:path w="619125" h="315595">
                <a:moveTo>
                  <a:pt x="9113" y="304769"/>
                </a:moveTo>
                <a:lnTo>
                  <a:pt x="4572" y="304769"/>
                </a:lnTo>
                <a:lnTo>
                  <a:pt x="9113" y="309341"/>
                </a:lnTo>
                <a:lnTo>
                  <a:pt x="9113" y="304769"/>
                </a:lnTo>
                <a:close/>
              </a:path>
              <a:path w="619125" h="315595">
                <a:moveTo>
                  <a:pt x="609539" y="304769"/>
                </a:moveTo>
                <a:lnTo>
                  <a:pt x="9113" y="304769"/>
                </a:lnTo>
                <a:lnTo>
                  <a:pt x="9113" y="309341"/>
                </a:lnTo>
                <a:lnTo>
                  <a:pt x="609539" y="309341"/>
                </a:lnTo>
                <a:lnTo>
                  <a:pt x="609539" y="304769"/>
                </a:lnTo>
                <a:close/>
              </a:path>
              <a:path w="619125" h="315595">
                <a:moveTo>
                  <a:pt x="609539" y="4572"/>
                </a:moveTo>
                <a:lnTo>
                  <a:pt x="609539" y="309341"/>
                </a:lnTo>
                <a:lnTo>
                  <a:pt x="614111" y="304769"/>
                </a:lnTo>
                <a:lnTo>
                  <a:pt x="618683" y="304769"/>
                </a:lnTo>
                <a:lnTo>
                  <a:pt x="618683" y="10668"/>
                </a:lnTo>
                <a:lnTo>
                  <a:pt x="614111" y="10668"/>
                </a:lnTo>
                <a:lnTo>
                  <a:pt x="609539" y="4572"/>
                </a:lnTo>
                <a:close/>
              </a:path>
              <a:path w="619125" h="315595">
                <a:moveTo>
                  <a:pt x="618683" y="304769"/>
                </a:moveTo>
                <a:lnTo>
                  <a:pt x="614111" y="304769"/>
                </a:lnTo>
                <a:lnTo>
                  <a:pt x="609539" y="309341"/>
                </a:lnTo>
                <a:lnTo>
                  <a:pt x="618683" y="309341"/>
                </a:lnTo>
                <a:lnTo>
                  <a:pt x="618683" y="304769"/>
                </a:lnTo>
                <a:close/>
              </a:path>
              <a:path w="619125" h="315595">
                <a:moveTo>
                  <a:pt x="9113" y="4572"/>
                </a:moveTo>
                <a:lnTo>
                  <a:pt x="4572" y="10668"/>
                </a:lnTo>
                <a:lnTo>
                  <a:pt x="9113" y="10668"/>
                </a:lnTo>
                <a:lnTo>
                  <a:pt x="9113" y="4572"/>
                </a:lnTo>
                <a:close/>
              </a:path>
              <a:path w="619125" h="315595">
                <a:moveTo>
                  <a:pt x="609539" y="4572"/>
                </a:moveTo>
                <a:lnTo>
                  <a:pt x="9113" y="4572"/>
                </a:lnTo>
                <a:lnTo>
                  <a:pt x="9113" y="10668"/>
                </a:lnTo>
                <a:lnTo>
                  <a:pt x="609539" y="10668"/>
                </a:lnTo>
                <a:lnTo>
                  <a:pt x="609539" y="4572"/>
                </a:lnTo>
                <a:close/>
              </a:path>
              <a:path w="619125" h="315595">
                <a:moveTo>
                  <a:pt x="618683" y="4572"/>
                </a:moveTo>
                <a:lnTo>
                  <a:pt x="609539" y="4572"/>
                </a:lnTo>
                <a:lnTo>
                  <a:pt x="614111" y="10668"/>
                </a:lnTo>
                <a:lnTo>
                  <a:pt x="618683" y="10668"/>
                </a:lnTo>
                <a:lnTo>
                  <a:pt x="61868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4631058" y="4271419"/>
            <a:ext cx="33718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00</a:t>
            </a:r>
            <a:r>
              <a:rPr sz="1800" dirty="0">
                <a:latin typeface="Liberation Sans Narrow"/>
                <a:cs typeface="Liberation Sans Narrow"/>
              </a:rPr>
              <a:t>1</a:t>
            </a:r>
            <a:endParaRPr sz="1800">
              <a:latin typeface="Liberation Sans Narrow"/>
              <a:cs typeface="Liberation Sans Narrow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334010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pc="-5" dirty="0">
                <a:solidFill>
                  <a:schemeClr val="accent1"/>
                </a:solidFill>
              </a:rPr>
              <a:t>Holiday Calendar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999664" y="1937439"/>
            <a:ext cx="6778625" cy="1397000"/>
          </a:xfrm>
          <a:prstGeom prst="rect">
            <a:avLst/>
          </a:prstGeom>
        </p:spPr>
        <p:txBody>
          <a:bodyPr vert="horz" wrap="square" lIns="0" tIns="165100" rIns="0" bIns="0" rtlCol="0">
            <a:spAutoFit/>
          </a:bodyPr>
          <a:lstStyle/>
          <a:p>
            <a:pPr marL="354965" indent="-342900">
              <a:lnSpc>
                <a:spcPct val="100000"/>
              </a:lnSpc>
              <a:spcBef>
                <a:spcPts val="13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Public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Holiday Class (Blank – No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holiday,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1 –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Public</a:t>
            </a:r>
            <a:r>
              <a:rPr sz="2000" spc="-6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day)</a:t>
            </a:r>
            <a:endParaRPr sz="20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195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Create a Holiday </a:t>
            </a:r>
            <a:r>
              <a:rPr sz="2000" spc="3370" dirty="0">
                <a:solidFill>
                  <a:srgbClr val="5E5E5E"/>
                </a:solidFill>
                <a:latin typeface="Wingdings"/>
                <a:cs typeface="Wingdings"/>
              </a:rPr>
              <a:t>€</a:t>
            </a:r>
            <a:r>
              <a:rPr sz="2000" spc="-70" dirty="0">
                <a:solidFill>
                  <a:srgbClr val="5E5E5E"/>
                </a:solidFill>
                <a:latin typeface="Times New Roman"/>
                <a:cs typeface="Times New Roman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Assign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to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Holiday calendar</a:t>
            </a:r>
            <a:endParaRPr sz="20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200"/>
              </a:spcBef>
              <a:buClr>
                <a:srgbClr val="323299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T-code -</a:t>
            </a:r>
            <a:r>
              <a:rPr sz="2000" spc="-6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SCAL</a:t>
            </a:r>
            <a:endParaRPr sz="20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38200" y="457200"/>
            <a:ext cx="449135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Counting Rule</a:t>
            </a:r>
            <a:r>
              <a:rPr spc="-85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Contd…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990587" y="1129220"/>
            <a:ext cx="7687945" cy="526478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30000"/>
              </a:lnSpc>
              <a:spcBef>
                <a:spcPts val="100"/>
              </a:spcBef>
              <a:buChar char="•"/>
              <a:tabLst>
                <a:tab pos="128905" algn="l"/>
              </a:tabLst>
            </a:pPr>
            <a:r>
              <a:rPr sz="1800" spc="-5" dirty="0">
                <a:latin typeface="Liberation Sans Narrow"/>
                <a:cs typeface="Liberation Sans Narrow"/>
              </a:rPr>
              <a:t>Checkboxes for Monday to Sunday would be available and these have to be </a:t>
            </a:r>
            <a:r>
              <a:rPr sz="1800" dirty="0">
                <a:latin typeface="Liberation Sans Narrow"/>
                <a:cs typeface="Liberation Sans Narrow"/>
              </a:rPr>
              <a:t>checked </a:t>
            </a:r>
            <a:r>
              <a:rPr sz="1800" spc="-5" dirty="0">
                <a:latin typeface="Liberation Sans Narrow"/>
                <a:cs typeface="Liberation Sans Narrow"/>
              </a:rPr>
              <a:t>if the  leave is to be counted on these</a:t>
            </a:r>
            <a:r>
              <a:rPr sz="1800" spc="120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days</a:t>
            </a:r>
            <a:endParaRPr sz="1800" dirty="0">
              <a:latin typeface="Liberation Sans Narrow"/>
              <a:cs typeface="Liberation Sans Narrow"/>
            </a:endParaRPr>
          </a:p>
          <a:p>
            <a:pPr marL="12700" marR="128270">
              <a:lnSpc>
                <a:spcPct val="130000"/>
              </a:lnSpc>
              <a:spcBef>
                <a:spcPts val="1080"/>
              </a:spcBef>
              <a:buChar char="•"/>
              <a:tabLst>
                <a:tab pos="128905" algn="l"/>
              </a:tabLst>
            </a:pPr>
            <a:r>
              <a:rPr sz="1800" spc="-5" dirty="0">
                <a:latin typeface="Liberation Sans Narrow"/>
                <a:cs typeface="Liberation Sans Narrow"/>
              </a:rPr>
              <a:t>Counting Classes </a:t>
            </a:r>
            <a:r>
              <a:rPr sz="1800" dirty="0">
                <a:latin typeface="Liberation Sans Narrow"/>
                <a:cs typeface="Liberation Sans Narrow"/>
              </a:rPr>
              <a:t>can </a:t>
            </a:r>
            <a:r>
              <a:rPr sz="1800" spc="-5" dirty="0">
                <a:latin typeface="Liberation Sans Narrow"/>
                <a:cs typeface="Liberation Sans Narrow"/>
              </a:rPr>
              <a:t>be attached to Period </a:t>
            </a:r>
            <a:r>
              <a:rPr sz="1800" spc="-10" dirty="0">
                <a:latin typeface="Liberation Sans Narrow"/>
                <a:cs typeface="Liberation Sans Narrow"/>
              </a:rPr>
              <a:t>Work </a:t>
            </a:r>
            <a:r>
              <a:rPr sz="1800" spc="-5" dirty="0">
                <a:latin typeface="Liberation Sans Narrow"/>
                <a:cs typeface="Liberation Sans Narrow"/>
              </a:rPr>
              <a:t>Schedules which </a:t>
            </a:r>
            <a:r>
              <a:rPr sz="1800" dirty="0">
                <a:latin typeface="Liberation Sans Narrow"/>
                <a:cs typeface="Liberation Sans Narrow"/>
              </a:rPr>
              <a:t>can </a:t>
            </a:r>
            <a:r>
              <a:rPr sz="1800" spc="-5" dirty="0">
                <a:latin typeface="Liberation Sans Narrow"/>
                <a:cs typeface="Liberation Sans Narrow"/>
              </a:rPr>
              <a:t>be queried in the  counting</a:t>
            </a:r>
            <a:r>
              <a:rPr sz="1800" spc="20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rule</a:t>
            </a:r>
            <a:endParaRPr sz="1800" dirty="0">
              <a:latin typeface="Liberation Sans Narrow"/>
              <a:cs typeface="Liberation Sans Narrow"/>
            </a:endParaRPr>
          </a:p>
          <a:p>
            <a:pPr marL="12700" marR="29209">
              <a:lnSpc>
                <a:spcPct val="130000"/>
              </a:lnSpc>
              <a:spcBef>
                <a:spcPts val="1080"/>
              </a:spcBef>
              <a:buChar char="•"/>
              <a:tabLst>
                <a:tab pos="128905" algn="l"/>
              </a:tabLst>
            </a:pPr>
            <a:r>
              <a:rPr sz="1800" spc="-5" dirty="0">
                <a:latin typeface="Liberation Sans Narrow"/>
                <a:cs typeface="Liberation Sans Narrow"/>
              </a:rPr>
              <a:t>DWS </a:t>
            </a:r>
            <a:r>
              <a:rPr sz="1800" dirty="0">
                <a:latin typeface="Liberation Sans Narrow"/>
                <a:cs typeface="Liberation Sans Narrow"/>
              </a:rPr>
              <a:t>class </a:t>
            </a:r>
            <a:r>
              <a:rPr sz="1800" spc="-5" dirty="0">
                <a:latin typeface="Liberation Sans Narrow"/>
                <a:cs typeface="Liberation Sans Narrow"/>
              </a:rPr>
              <a:t>given in the Daily </a:t>
            </a:r>
            <a:r>
              <a:rPr sz="1800" spc="-10" dirty="0">
                <a:latin typeface="Liberation Sans Narrow"/>
                <a:cs typeface="Liberation Sans Narrow"/>
              </a:rPr>
              <a:t>Work </a:t>
            </a:r>
            <a:r>
              <a:rPr sz="1800" spc="-5" dirty="0">
                <a:latin typeface="Liberation Sans Narrow"/>
                <a:cs typeface="Liberation Sans Narrow"/>
              </a:rPr>
              <a:t>Schedule </a:t>
            </a:r>
            <a:r>
              <a:rPr sz="1800" dirty="0">
                <a:latin typeface="Liberation Sans Narrow"/>
                <a:cs typeface="Liberation Sans Narrow"/>
              </a:rPr>
              <a:t>can </a:t>
            </a:r>
            <a:r>
              <a:rPr sz="1800" spc="-5" dirty="0">
                <a:latin typeface="Liberation Sans Narrow"/>
                <a:cs typeface="Liberation Sans Narrow"/>
              </a:rPr>
              <a:t>be queried in the Counting rule. Only  absences for those employees who belong to the selected category would be counted using  this rule. If one rule is not satisfied </a:t>
            </a:r>
            <a:r>
              <a:rPr sz="1800" dirty="0">
                <a:latin typeface="Liberation Sans Narrow"/>
                <a:cs typeface="Liberation Sans Narrow"/>
              </a:rPr>
              <a:t>system </a:t>
            </a:r>
            <a:r>
              <a:rPr sz="1800" spc="-5" dirty="0">
                <a:latin typeface="Liberation Sans Narrow"/>
                <a:cs typeface="Liberation Sans Narrow"/>
              </a:rPr>
              <a:t>will process the sub-rules</a:t>
            </a:r>
            <a:r>
              <a:rPr sz="1800" spc="204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sequentially</a:t>
            </a:r>
            <a:endParaRPr sz="1800" dirty="0">
              <a:latin typeface="Liberation Sans Narrow"/>
              <a:cs typeface="Liberation Sans Narrow"/>
            </a:endParaRPr>
          </a:p>
          <a:p>
            <a:pPr marL="125095" indent="-113030">
              <a:lnSpc>
                <a:spcPct val="100000"/>
              </a:lnSpc>
              <a:spcBef>
                <a:spcPts val="1725"/>
              </a:spcBef>
              <a:buChar char="•"/>
              <a:tabLst>
                <a:tab pos="125730" algn="l"/>
              </a:tabLst>
            </a:pPr>
            <a:r>
              <a:rPr sz="1800" spc="-5" dirty="0">
                <a:latin typeface="Liberation Sans Narrow"/>
                <a:cs typeface="Liberation Sans Narrow"/>
              </a:rPr>
              <a:t>The Holiday Classes blank to </a:t>
            </a:r>
            <a:r>
              <a:rPr sz="1800" dirty="0">
                <a:latin typeface="Liberation Sans Narrow"/>
                <a:cs typeface="Liberation Sans Narrow"/>
              </a:rPr>
              <a:t>9 can </a:t>
            </a:r>
            <a:r>
              <a:rPr sz="1800" spc="-5" dirty="0">
                <a:latin typeface="Liberation Sans Narrow"/>
                <a:cs typeface="Liberation Sans Narrow"/>
              </a:rPr>
              <a:t>be queried and counted if</a:t>
            </a:r>
            <a:r>
              <a:rPr sz="1800" spc="245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required</a:t>
            </a:r>
            <a:endParaRPr sz="1800" dirty="0">
              <a:latin typeface="Liberation Sans Narrow"/>
              <a:cs typeface="Liberation Sans Narrow"/>
            </a:endParaRPr>
          </a:p>
          <a:p>
            <a:pPr marL="125095" indent="-113030">
              <a:lnSpc>
                <a:spcPct val="100000"/>
              </a:lnSpc>
              <a:spcBef>
                <a:spcPts val="1730"/>
              </a:spcBef>
              <a:buChar char="•"/>
              <a:tabLst>
                <a:tab pos="125730" algn="l"/>
              </a:tabLst>
            </a:pPr>
            <a:r>
              <a:rPr sz="1800" spc="-5" dirty="0">
                <a:latin typeface="Liberation Sans Narrow"/>
                <a:cs typeface="Liberation Sans Narrow"/>
              </a:rPr>
              <a:t>The Day types </a:t>
            </a:r>
            <a:r>
              <a:rPr sz="1800" dirty="0">
                <a:latin typeface="Liberation Sans Narrow"/>
                <a:cs typeface="Liberation Sans Narrow"/>
              </a:rPr>
              <a:t>can </a:t>
            </a:r>
            <a:r>
              <a:rPr sz="1800" spc="-5" dirty="0">
                <a:latin typeface="Liberation Sans Narrow"/>
                <a:cs typeface="Liberation Sans Narrow"/>
              </a:rPr>
              <a:t>be queried in the counting</a:t>
            </a:r>
            <a:r>
              <a:rPr sz="1800" spc="180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rule</a:t>
            </a:r>
            <a:endParaRPr sz="1800" dirty="0">
              <a:latin typeface="Liberation Sans Narrow"/>
              <a:cs typeface="Liberation Sans Narrow"/>
            </a:endParaRPr>
          </a:p>
          <a:p>
            <a:pPr marL="128270" indent="-116205">
              <a:lnSpc>
                <a:spcPct val="100000"/>
              </a:lnSpc>
              <a:spcBef>
                <a:spcPts val="1725"/>
              </a:spcBef>
              <a:buChar char="•"/>
              <a:tabLst>
                <a:tab pos="128905" algn="l"/>
              </a:tabLst>
            </a:pPr>
            <a:r>
              <a:rPr sz="1800" spc="-5" dirty="0">
                <a:latin typeface="Liberation Sans Narrow"/>
                <a:cs typeface="Liberation Sans Narrow"/>
              </a:rPr>
              <a:t>Less than one day and one day options are available in the counting</a:t>
            </a:r>
            <a:r>
              <a:rPr sz="1800" spc="340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rule</a:t>
            </a:r>
            <a:endParaRPr sz="1800" dirty="0">
              <a:latin typeface="Liberation Sans Narrow"/>
              <a:cs typeface="Liberation Sans Narrow"/>
            </a:endParaRPr>
          </a:p>
          <a:p>
            <a:pPr marL="128270" indent="-116205">
              <a:lnSpc>
                <a:spcPct val="100000"/>
              </a:lnSpc>
              <a:spcBef>
                <a:spcPts val="1730"/>
              </a:spcBef>
              <a:buChar char="•"/>
              <a:tabLst>
                <a:tab pos="128905" algn="l"/>
              </a:tabLst>
            </a:pPr>
            <a:r>
              <a:rPr sz="1800" spc="-5" dirty="0">
                <a:latin typeface="Liberation Sans Narrow"/>
                <a:cs typeface="Liberation Sans Narrow"/>
              </a:rPr>
              <a:t>Planned hours </a:t>
            </a:r>
            <a:r>
              <a:rPr sz="1800" dirty="0">
                <a:latin typeface="Liberation Sans Narrow"/>
                <a:cs typeface="Liberation Sans Narrow"/>
              </a:rPr>
              <a:t>=0 </a:t>
            </a:r>
            <a:r>
              <a:rPr sz="1800" spc="-5" dirty="0">
                <a:latin typeface="Liberation Sans Narrow"/>
                <a:cs typeface="Liberation Sans Narrow"/>
              </a:rPr>
              <a:t>and Planned hours </a:t>
            </a:r>
            <a:r>
              <a:rPr sz="1800" dirty="0">
                <a:latin typeface="Liberation Sans Narrow"/>
                <a:cs typeface="Liberation Sans Narrow"/>
              </a:rPr>
              <a:t>&gt; 0 </a:t>
            </a:r>
            <a:r>
              <a:rPr sz="1800" spc="-5" dirty="0">
                <a:latin typeface="Liberation Sans Narrow"/>
                <a:cs typeface="Liberation Sans Narrow"/>
              </a:rPr>
              <a:t>options </a:t>
            </a:r>
            <a:r>
              <a:rPr sz="1800" dirty="0">
                <a:latin typeface="Liberation Sans Narrow"/>
                <a:cs typeface="Liberation Sans Narrow"/>
              </a:rPr>
              <a:t>can </a:t>
            </a:r>
            <a:r>
              <a:rPr sz="1800" spc="-5" dirty="0">
                <a:latin typeface="Liberation Sans Narrow"/>
                <a:cs typeface="Liberation Sans Narrow"/>
              </a:rPr>
              <a:t>also be used for</a:t>
            </a:r>
            <a:r>
              <a:rPr sz="1800" spc="295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counting</a:t>
            </a:r>
            <a:endParaRPr sz="1800" dirty="0">
              <a:latin typeface="Liberation Sans Narrow"/>
              <a:cs typeface="Liberation Sans Narrow"/>
            </a:endParaRPr>
          </a:p>
          <a:p>
            <a:pPr marL="128270" indent="-116205">
              <a:lnSpc>
                <a:spcPct val="100000"/>
              </a:lnSpc>
              <a:spcBef>
                <a:spcPts val="1725"/>
              </a:spcBef>
              <a:buChar char="•"/>
              <a:tabLst>
                <a:tab pos="128905" algn="l"/>
              </a:tabLst>
            </a:pPr>
            <a:r>
              <a:rPr sz="1800" spc="-5" dirty="0">
                <a:latin typeface="Liberation Sans Narrow"/>
                <a:cs typeface="Liberation Sans Narrow"/>
              </a:rPr>
              <a:t>System will count the leave only if all the selected conditions are</a:t>
            </a:r>
            <a:r>
              <a:rPr sz="1800" spc="250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satisfied</a:t>
            </a:r>
            <a:endParaRPr sz="1800" dirty="0">
              <a:latin typeface="Liberation Sans Narrow"/>
              <a:cs typeface="Liberation Sans Narrow"/>
            </a:endParaRPr>
          </a:p>
        </p:txBody>
      </p:sp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47277" y="796992"/>
            <a:ext cx="449135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Counting Rule</a:t>
            </a:r>
            <a:r>
              <a:rPr spc="-85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Contd…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999664" y="1662548"/>
            <a:ext cx="7804784" cy="16414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40335" indent="-128270">
              <a:lnSpc>
                <a:spcPct val="100000"/>
              </a:lnSpc>
              <a:spcBef>
                <a:spcPts val="100"/>
              </a:spcBef>
              <a:buChar char="•"/>
              <a:tabLst>
                <a:tab pos="140970" algn="l"/>
              </a:tabLst>
            </a:pPr>
            <a:r>
              <a:rPr sz="2000" spc="-5" dirty="0">
                <a:latin typeface="Liberation Sans Narrow"/>
                <a:cs typeface="Liberation Sans Narrow"/>
              </a:rPr>
              <a:t>Rounding can also be done during</a:t>
            </a:r>
            <a:r>
              <a:rPr sz="2000" spc="-10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counting.</a:t>
            </a:r>
            <a:endParaRPr sz="2000">
              <a:latin typeface="Liberation Sans Narrow"/>
              <a:cs typeface="Liberation Sans Narrow"/>
            </a:endParaRPr>
          </a:p>
          <a:p>
            <a:pPr marL="140335" indent="-128270">
              <a:lnSpc>
                <a:spcPct val="100000"/>
              </a:lnSpc>
              <a:spcBef>
                <a:spcPts val="1440"/>
              </a:spcBef>
              <a:buChar char="•"/>
              <a:tabLst>
                <a:tab pos="140970" algn="l"/>
              </a:tabLst>
            </a:pPr>
            <a:r>
              <a:rPr sz="2000" spc="-5" dirty="0">
                <a:latin typeface="Liberation Sans Narrow"/>
                <a:cs typeface="Liberation Sans Narrow"/>
              </a:rPr>
              <a:t>Whether to Count first or Round first radio button option to be</a:t>
            </a:r>
            <a:r>
              <a:rPr sz="2000" spc="-55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selected</a:t>
            </a:r>
            <a:endParaRPr sz="2000">
              <a:latin typeface="Liberation Sans Narrow"/>
              <a:cs typeface="Liberation Sans Narrow"/>
            </a:endParaRPr>
          </a:p>
          <a:p>
            <a:pPr marL="12700" marR="5080">
              <a:lnSpc>
                <a:spcPct val="110000"/>
              </a:lnSpc>
              <a:spcBef>
                <a:spcPts val="1200"/>
              </a:spcBef>
              <a:buChar char="•"/>
              <a:tabLst>
                <a:tab pos="137795" algn="l"/>
              </a:tabLst>
            </a:pPr>
            <a:r>
              <a:rPr sz="2000" dirty="0">
                <a:latin typeface="Liberation Sans Narrow"/>
                <a:cs typeface="Liberation Sans Narrow"/>
              </a:rPr>
              <a:t>The </a:t>
            </a:r>
            <a:r>
              <a:rPr sz="2000" spc="-5" dirty="0">
                <a:latin typeface="Liberation Sans Narrow"/>
                <a:cs typeface="Liberation Sans Narrow"/>
              </a:rPr>
              <a:t>Deduction rule framed earlier has to be </a:t>
            </a:r>
            <a:r>
              <a:rPr sz="2000" dirty="0">
                <a:latin typeface="Liberation Sans Narrow"/>
                <a:cs typeface="Liberation Sans Narrow"/>
              </a:rPr>
              <a:t>referred </a:t>
            </a:r>
            <a:r>
              <a:rPr sz="2000" spc="-5" dirty="0">
                <a:latin typeface="Liberation Sans Narrow"/>
                <a:cs typeface="Liberation Sans Narrow"/>
              </a:rPr>
              <a:t>in counting rule either in within  entitlement or over entitlement</a:t>
            </a:r>
            <a:r>
              <a:rPr sz="2000" spc="-50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field.</a:t>
            </a:r>
            <a:endParaRPr sz="2000">
              <a:latin typeface="Liberation Sans Narrow"/>
              <a:cs typeface="Liberation Sans Narrow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932787" y="3875722"/>
            <a:ext cx="4695190" cy="1457325"/>
          </a:xfrm>
          <a:custGeom>
            <a:avLst/>
            <a:gdLst/>
            <a:ahLst/>
            <a:cxnLst/>
            <a:rect l="l" t="t" r="r" b="b"/>
            <a:pathLst>
              <a:path w="4695190" h="1457325">
                <a:moveTo>
                  <a:pt x="2371140" y="228600"/>
                </a:moveTo>
                <a:lnTo>
                  <a:pt x="2361996" y="228600"/>
                </a:lnTo>
                <a:lnTo>
                  <a:pt x="2361996" y="237744"/>
                </a:lnTo>
                <a:lnTo>
                  <a:pt x="2361996" y="533361"/>
                </a:lnTo>
                <a:lnTo>
                  <a:pt x="237718" y="533361"/>
                </a:lnTo>
                <a:lnTo>
                  <a:pt x="237718" y="237744"/>
                </a:lnTo>
                <a:lnTo>
                  <a:pt x="2361996" y="237744"/>
                </a:lnTo>
                <a:lnTo>
                  <a:pt x="2361996" y="228600"/>
                </a:lnTo>
                <a:lnTo>
                  <a:pt x="228574" y="228600"/>
                </a:lnTo>
                <a:lnTo>
                  <a:pt x="228574" y="542505"/>
                </a:lnTo>
                <a:lnTo>
                  <a:pt x="2371140" y="542505"/>
                </a:lnTo>
                <a:lnTo>
                  <a:pt x="2371140" y="537933"/>
                </a:lnTo>
                <a:lnTo>
                  <a:pt x="2371140" y="533361"/>
                </a:lnTo>
                <a:lnTo>
                  <a:pt x="2371140" y="237744"/>
                </a:lnTo>
                <a:lnTo>
                  <a:pt x="2371140" y="233172"/>
                </a:lnTo>
                <a:lnTo>
                  <a:pt x="2371140" y="228600"/>
                </a:lnTo>
                <a:close/>
              </a:path>
              <a:path w="4695190" h="1457325">
                <a:moveTo>
                  <a:pt x="4695050" y="0"/>
                </a:moveTo>
                <a:lnTo>
                  <a:pt x="4685906" y="0"/>
                </a:lnTo>
                <a:lnTo>
                  <a:pt x="4685906" y="9144"/>
                </a:lnTo>
                <a:lnTo>
                  <a:pt x="4685906" y="16764"/>
                </a:lnTo>
                <a:lnTo>
                  <a:pt x="4685906" y="1447685"/>
                </a:lnTo>
                <a:lnTo>
                  <a:pt x="9144" y="1447685"/>
                </a:lnTo>
                <a:lnTo>
                  <a:pt x="9144" y="16764"/>
                </a:lnTo>
                <a:lnTo>
                  <a:pt x="9144" y="9144"/>
                </a:lnTo>
                <a:lnTo>
                  <a:pt x="4685906" y="9144"/>
                </a:lnTo>
                <a:lnTo>
                  <a:pt x="4685906" y="0"/>
                </a:lnTo>
                <a:lnTo>
                  <a:pt x="0" y="0"/>
                </a:lnTo>
                <a:lnTo>
                  <a:pt x="0" y="16764"/>
                </a:lnTo>
                <a:lnTo>
                  <a:pt x="0" y="1456829"/>
                </a:lnTo>
                <a:lnTo>
                  <a:pt x="4695050" y="1456829"/>
                </a:lnTo>
                <a:lnTo>
                  <a:pt x="4695050" y="1452257"/>
                </a:lnTo>
                <a:lnTo>
                  <a:pt x="4695050" y="1447685"/>
                </a:lnTo>
                <a:lnTo>
                  <a:pt x="4695050" y="16764"/>
                </a:lnTo>
                <a:lnTo>
                  <a:pt x="4695050" y="9144"/>
                </a:lnTo>
                <a:lnTo>
                  <a:pt x="4695050" y="4572"/>
                </a:lnTo>
                <a:lnTo>
                  <a:pt x="469505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2244675" y="4106840"/>
            <a:ext cx="151003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Within</a:t>
            </a:r>
            <a:r>
              <a:rPr sz="1800" spc="-65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entitlement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2161364" y="4713853"/>
            <a:ext cx="2143125" cy="314325"/>
          </a:xfrm>
          <a:custGeom>
            <a:avLst/>
            <a:gdLst/>
            <a:ahLst/>
            <a:cxnLst/>
            <a:rect l="l" t="t" r="r" b="b"/>
            <a:pathLst>
              <a:path w="2143125" h="314325">
                <a:moveTo>
                  <a:pt x="2142564" y="0"/>
                </a:moveTo>
                <a:lnTo>
                  <a:pt x="0" y="0"/>
                </a:lnTo>
                <a:lnTo>
                  <a:pt x="0" y="313916"/>
                </a:lnTo>
                <a:lnTo>
                  <a:pt x="2142564" y="313916"/>
                </a:lnTo>
                <a:lnTo>
                  <a:pt x="2142564" y="309344"/>
                </a:lnTo>
                <a:lnTo>
                  <a:pt x="9144" y="309344"/>
                </a:lnTo>
                <a:lnTo>
                  <a:pt x="4572" y="304772"/>
                </a:lnTo>
                <a:lnTo>
                  <a:pt x="9144" y="304772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2142564" y="4572"/>
                </a:lnTo>
                <a:lnTo>
                  <a:pt x="2142564" y="0"/>
                </a:lnTo>
                <a:close/>
              </a:path>
              <a:path w="2143125" h="314325">
                <a:moveTo>
                  <a:pt x="9144" y="304772"/>
                </a:moveTo>
                <a:lnTo>
                  <a:pt x="4572" y="304772"/>
                </a:lnTo>
                <a:lnTo>
                  <a:pt x="9144" y="309344"/>
                </a:lnTo>
                <a:lnTo>
                  <a:pt x="9144" y="304772"/>
                </a:lnTo>
                <a:close/>
              </a:path>
              <a:path w="2143125" h="314325">
                <a:moveTo>
                  <a:pt x="2133420" y="304772"/>
                </a:moveTo>
                <a:lnTo>
                  <a:pt x="9144" y="304772"/>
                </a:lnTo>
                <a:lnTo>
                  <a:pt x="9144" y="309344"/>
                </a:lnTo>
                <a:lnTo>
                  <a:pt x="2133420" y="309344"/>
                </a:lnTo>
                <a:lnTo>
                  <a:pt x="2133420" y="304772"/>
                </a:lnTo>
                <a:close/>
              </a:path>
              <a:path w="2143125" h="314325">
                <a:moveTo>
                  <a:pt x="2133420" y="4572"/>
                </a:moveTo>
                <a:lnTo>
                  <a:pt x="2133420" y="309344"/>
                </a:lnTo>
                <a:lnTo>
                  <a:pt x="2137992" y="304772"/>
                </a:lnTo>
                <a:lnTo>
                  <a:pt x="2142564" y="304772"/>
                </a:lnTo>
                <a:lnTo>
                  <a:pt x="2142564" y="9144"/>
                </a:lnTo>
                <a:lnTo>
                  <a:pt x="2137992" y="9144"/>
                </a:lnTo>
                <a:lnTo>
                  <a:pt x="2133420" y="4572"/>
                </a:lnTo>
                <a:close/>
              </a:path>
              <a:path w="2143125" h="314325">
                <a:moveTo>
                  <a:pt x="2142564" y="304772"/>
                </a:moveTo>
                <a:lnTo>
                  <a:pt x="2137992" y="304772"/>
                </a:lnTo>
                <a:lnTo>
                  <a:pt x="2133420" y="309344"/>
                </a:lnTo>
                <a:lnTo>
                  <a:pt x="2142564" y="309344"/>
                </a:lnTo>
                <a:lnTo>
                  <a:pt x="2142564" y="304772"/>
                </a:lnTo>
                <a:close/>
              </a:path>
              <a:path w="2143125" h="3143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2143125" h="314325">
                <a:moveTo>
                  <a:pt x="2133420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2133420" y="9144"/>
                </a:lnTo>
                <a:lnTo>
                  <a:pt x="2133420" y="4572"/>
                </a:lnTo>
                <a:close/>
              </a:path>
              <a:path w="2143125" h="314325">
                <a:moveTo>
                  <a:pt x="2142564" y="4572"/>
                </a:moveTo>
                <a:lnTo>
                  <a:pt x="2133420" y="4572"/>
                </a:lnTo>
                <a:lnTo>
                  <a:pt x="2137992" y="9144"/>
                </a:lnTo>
                <a:lnTo>
                  <a:pt x="2142564" y="9144"/>
                </a:lnTo>
                <a:lnTo>
                  <a:pt x="2142564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2244675" y="4716390"/>
            <a:ext cx="139573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Liberation Sans Narrow"/>
                <a:cs typeface="Liberation Sans Narrow"/>
              </a:rPr>
              <a:t>Over</a:t>
            </a:r>
            <a:r>
              <a:rPr sz="1800" spc="-85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entitlement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4675754" y="4104314"/>
            <a:ext cx="771525" cy="314325"/>
          </a:xfrm>
          <a:custGeom>
            <a:avLst/>
            <a:gdLst/>
            <a:ahLst/>
            <a:cxnLst/>
            <a:rect l="l" t="t" r="r" b="b"/>
            <a:pathLst>
              <a:path w="771525" h="314325">
                <a:moveTo>
                  <a:pt x="771083" y="0"/>
                </a:moveTo>
                <a:lnTo>
                  <a:pt x="0" y="0"/>
                </a:lnTo>
                <a:lnTo>
                  <a:pt x="0" y="313913"/>
                </a:lnTo>
                <a:lnTo>
                  <a:pt x="771083" y="313913"/>
                </a:lnTo>
                <a:lnTo>
                  <a:pt x="771083" y="309341"/>
                </a:lnTo>
                <a:lnTo>
                  <a:pt x="9144" y="309341"/>
                </a:lnTo>
                <a:lnTo>
                  <a:pt x="4572" y="304769"/>
                </a:lnTo>
                <a:lnTo>
                  <a:pt x="9144" y="304769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771083" y="4572"/>
                </a:lnTo>
                <a:lnTo>
                  <a:pt x="771083" y="0"/>
                </a:lnTo>
                <a:close/>
              </a:path>
              <a:path w="771525" h="314325">
                <a:moveTo>
                  <a:pt x="9144" y="304769"/>
                </a:moveTo>
                <a:lnTo>
                  <a:pt x="4572" y="304769"/>
                </a:lnTo>
                <a:lnTo>
                  <a:pt x="9144" y="309341"/>
                </a:lnTo>
                <a:lnTo>
                  <a:pt x="9144" y="304769"/>
                </a:lnTo>
                <a:close/>
              </a:path>
              <a:path w="771525" h="314325">
                <a:moveTo>
                  <a:pt x="761939" y="304769"/>
                </a:moveTo>
                <a:lnTo>
                  <a:pt x="9144" y="304769"/>
                </a:lnTo>
                <a:lnTo>
                  <a:pt x="9144" y="309341"/>
                </a:lnTo>
                <a:lnTo>
                  <a:pt x="761939" y="309341"/>
                </a:lnTo>
                <a:lnTo>
                  <a:pt x="761939" y="304769"/>
                </a:lnTo>
                <a:close/>
              </a:path>
              <a:path w="771525" h="314325">
                <a:moveTo>
                  <a:pt x="761939" y="4572"/>
                </a:moveTo>
                <a:lnTo>
                  <a:pt x="761939" y="309341"/>
                </a:lnTo>
                <a:lnTo>
                  <a:pt x="766511" y="304769"/>
                </a:lnTo>
                <a:lnTo>
                  <a:pt x="771083" y="304769"/>
                </a:lnTo>
                <a:lnTo>
                  <a:pt x="771083" y="9144"/>
                </a:lnTo>
                <a:lnTo>
                  <a:pt x="766511" y="9144"/>
                </a:lnTo>
                <a:lnTo>
                  <a:pt x="761939" y="4572"/>
                </a:lnTo>
                <a:close/>
              </a:path>
              <a:path w="771525" h="314325">
                <a:moveTo>
                  <a:pt x="771083" y="304769"/>
                </a:moveTo>
                <a:lnTo>
                  <a:pt x="766511" y="304769"/>
                </a:lnTo>
                <a:lnTo>
                  <a:pt x="761939" y="309341"/>
                </a:lnTo>
                <a:lnTo>
                  <a:pt x="771083" y="309341"/>
                </a:lnTo>
                <a:lnTo>
                  <a:pt x="771083" y="304769"/>
                </a:lnTo>
                <a:close/>
              </a:path>
              <a:path w="771525" h="3143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771525" h="314325">
                <a:moveTo>
                  <a:pt x="761939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761939" y="9144"/>
                </a:lnTo>
                <a:lnTo>
                  <a:pt x="761939" y="4572"/>
                </a:lnTo>
                <a:close/>
              </a:path>
              <a:path w="771525" h="314325">
                <a:moveTo>
                  <a:pt x="771083" y="4572"/>
                </a:moveTo>
                <a:lnTo>
                  <a:pt x="761939" y="4572"/>
                </a:lnTo>
                <a:lnTo>
                  <a:pt x="766511" y="9144"/>
                </a:lnTo>
                <a:lnTo>
                  <a:pt x="771083" y="9144"/>
                </a:lnTo>
                <a:lnTo>
                  <a:pt x="77108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4862681" y="4106840"/>
            <a:ext cx="33718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10</a:t>
            </a:r>
            <a:r>
              <a:rPr sz="1800" dirty="0">
                <a:latin typeface="Liberation Sans Narrow"/>
                <a:cs typeface="Liberation Sans Narrow"/>
              </a:rPr>
              <a:t>0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4675754" y="4713853"/>
            <a:ext cx="771525" cy="314325"/>
          </a:xfrm>
          <a:custGeom>
            <a:avLst/>
            <a:gdLst/>
            <a:ahLst/>
            <a:cxnLst/>
            <a:rect l="l" t="t" r="r" b="b"/>
            <a:pathLst>
              <a:path w="771525" h="314325">
                <a:moveTo>
                  <a:pt x="771083" y="0"/>
                </a:moveTo>
                <a:lnTo>
                  <a:pt x="0" y="0"/>
                </a:lnTo>
                <a:lnTo>
                  <a:pt x="0" y="313916"/>
                </a:lnTo>
                <a:lnTo>
                  <a:pt x="771083" y="313916"/>
                </a:lnTo>
                <a:lnTo>
                  <a:pt x="771083" y="309344"/>
                </a:lnTo>
                <a:lnTo>
                  <a:pt x="9144" y="309344"/>
                </a:lnTo>
                <a:lnTo>
                  <a:pt x="4572" y="304772"/>
                </a:lnTo>
                <a:lnTo>
                  <a:pt x="9144" y="304772"/>
                </a:lnTo>
                <a:lnTo>
                  <a:pt x="9144" y="9144"/>
                </a:lnTo>
                <a:lnTo>
                  <a:pt x="4572" y="9144"/>
                </a:lnTo>
                <a:lnTo>
                  <a:pt x="9144" y="4572"/>
                </a:lnTo>
                <a:lnTo>
                  <a:pt x="771083" y="4572"/>
                </a:lnTo>
                <a:lnTo>
                  <a:pt x="771083" y="0"/>
                </a:lnTo>
                <a:close/>
              </a:path>
              <a:path w="771525" h="314325">
                <a:moveTo>
                  <a:pt x="9144" y="304772"/>
                </a:moveTo>
                <a:lnTo>
                  <a:pt x="4572" y="304772"/>
                </a:lnTo>
                <a:lnTo>
                  <a:pt x="9144" y="309344"/>
                </a:lnTo>
                <a:lnTo>
                  <a:pt x="9144" y="304772"/>
                </a:lnTo>
                <a:close/>
              </a:path>
              <a:path w="771525" h="314325">
                <a:moveTo>
                  <a:pt x="761939" y="304772"/>
                </a:moveTo>
                <a:lnTo>
                  <a:pt x="9144" y="304772"/>
                </a:lnTo>
                <a:lnTo>
                  <a:pt x="9144" y="309344"/>
                </a:lnTo>
                <a:lnTo>
                  <a:pt x="761939" y="309344"/>
                </a:lnTo>
                <a:lnTo>
                  <a:pt x="761939" y="304772"/>
                </a:lnTo>
                <a:close/>
              </a:path>
              <a:path w="771525" h="314325">
                <a:moveTo>
                  <a:pt x="761939" y="4572"/>
                </a:moveTo>
                <a:lnTo>
                  <a:pt x="761939" y="309344"/>
                </a:lnTo>
                <a:lnTo>
                  <a:pt x="766511" y="304772"/>
                </a:lnTo>
                <a:lnTo>
                  <a:pt x="771083" y="304772"/>
                </a:lnTo>
                <a:lnTo>
                  <a:pt x="771083" y="9144"/>
                </a:lnTo>
                <a:lnTo>
                  <a:pt x="766511" y="9144"/>
                </a:lnTo>
                <a:lnTo>
                  <a:pt x="761939" y="4572"/>
                </a:lnTo>
                <a:close/>
              </a:path>
              <a:path w="771525" h="314325">
                <a:moveTo>
                  <a:pt x="771083" y="304772"/>
                </a:moveTo>
                <a:lnTo>
                  <a:pt x="766511" y="304772"/>
                </a:lnTo>
                <a:lnTo>
                  <a:pt x="761939" y="309344"/>
                </a:lnTo>
                <a:lnTo>
                  <a:pt x="771083" y="309344"/>
                </a:lnTo>
                <a:lnTo>
                  <a:pt x="771083" y="304772"/>
                </a:lnTo>
                <a:close/>
              </a:path>
              <a:path w="771525" h="314325">
                <a:moveTo>
                  <a:pt x="9144" y="4572"/>
                </a:moveTo>
                <a:lnTo>
                  <a:pt x="4572" y="9144"/>
                </a:lnTo>
                <a:lnTo>
                  <a:pt x="9144" y="9144"/>
                </a:lnTo>
                <a:lnTo>
                  <a:pt x="9144" y="4572"/>
                </a:lnTo>
                <a:close/>
              </a:path>
              <a:path w="771525" h="314325">
                <a:moveTo>
                  <a:pt x="761939" y="4572"/>
                </a:moveTo>
                <a:lnTo>
                  <a:pt x="9144" y="4572"/>
                </a:lnTo>
                <a:lnTo>
                  <a:pt x="9144" y="9144"/>
                </a:lnTo>
                <a:lnTo>
                  <a:pt x="761939" y="9144"/>
                </a:lnTo>
                <a:lnTo>
                  <a:pt x="761939" y="4572"/>
                </a:lnTo>
                <a:close/>
              </a:path>
              <a:path w="771525" h="314325">
                <a:moveTo>
                  <a:pt x="771083" y="4572"/>
                </a:moveTo>
                <a:lnTo>
                  <a:pt x="761939" y="4572"/>
                </a:lnTo>
                <a:lnTo>
                  <a:pt x="766511" y="9144"/>
                </a:lnTo>
                <a:lnTo>
                  <a:pt x="771083" y="9144"/>
                </a:lnTo>
                <a:lnTo>
                  <a:pt x="771083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279908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Counting</a:t>
            </a:r>
            <a:r>
              <a:rPr spc="-95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Rule</a:t>
            </a:r>
          </a:p>
        </p:txBody>
      </p:sp>
      <p:grpSp>
        <p:nvGrpSpPr>
          <p:cNvPr id="3" name="object 3"/>
          <p:cNvGrpSpPr/>
          <p:nvPr/>
        </p:nvGrpSpPr>
        <p:grpSpPr>
          <a:xfrm>
            <a:off x="788359" y="1469523"/>
            <a:ext cx="8640348" cy="5447851"/>
            <a:chOff x="788359" y="1469523"/>
            <a:chExt cx="8640348" cy="5447851"/>
          </a:xfrm>
        </p:grpSpPr>
        <p:sp>
          <p:nvSpPr>
            <p:cNvPr id="4" name="object 4"/>
            <p:cNvSpPr/>
            <p:nvPr/>
          </p:nvSpPr>
          <p:spPr>
            <a:xfrm>
              <a:off x="788359" y="1469523"/>
              <a:ext cx="8640348" cy="2422955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788359" y="3892478"/>
              <a:ext cx="8640348" cy="3024896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394906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Counting Rule</a:t>
            </a:r>
            <a:r>
              <a:rPr spc="-9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Cont.</a:t>
            </a:r>
          </a:p>
        </p:txBody>
      </p:sp>
      <p:grpSp>
        <p:nvGrpSpPr>
          <p:cNvPr id="3" name="object 3"/>
          <p:cNvGrpSpPr/>
          <p:nvPr/>
        </p:nvGrpSpPr>
        <p:grpSpPr>
          <a:xfrm>
            <a:off x="643591" y="1183032"/>
            <a:ext cx="8280714" cy="5662720"/>
            <a:chOff x="643591" y="1183032"/>
            <a:chExt cx="8280714" cy="5662720"/>
          </a:xfrm>
        </p:grpSpPr>
        <p:sp>
          <p:nvSpPr>
            <p:cNvPr id="4" name="object 4"/>
            <p:cNvSpPr/>
            <p:nvPr/>
          </p:nvSpPr>
          <p:spPr>
            <a:xfrm>
              <a:off x="643591" y="1183032"/>
              <a:ext cx="8280714" cy="2709446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643591" y="3892478"/>
              <a:ext cx="8280714" cy="2953274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406209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Counting Rule</a:t>
            </a:r>
            <a:r>
              <a:rPr spc="-9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Cont..</a:t>
            </a:r>
          </a:p>
        </p:txBody>
      </p:sp>
      <p:sp>
        <p:nvSpPr>
          <p:cNvPr id="4" name="object 4"/>
          <p:cNvSpPr/>
          <p:nvPr/>
        </p:nvSpPr>
        <p:spPr>
          <a:xfrm>
            <a:off x="1004748" y="2309177"/>
            <a:ext cx="6855896" cy="219287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042845" y="1821545"/>
            <a:ext cx="7124118" cy="207093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4580677" y="3062985"/>
            <a:ext cx="1123315" cy="51244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 marR="5080" indent="-40005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Liberation Sans Narrow"/>
                <a:cs typeface="Liberation Sans Narrow"/>
              </a:rPr>
              <a:t>Absence</a:t>
            </a:r>
            <a:r>
              <a:rPr sz="1600" spc="-125" dirty="0">
                <a:latin typeface="Liberation Sans Narrow"/>
                <a:cs typeface="Liberation Sans Narrow"/>
              </a:rPr>
              <a:t> </a:t>
            </a:r>
            <a:r>
              <a:rPr sz="1600" spc="-15" dirty="0">
                <a:latin typeface="Liberation Sans Narrow"/>
                <a:cs typeface="Liberation Sans Narrow"/>
              </a:rPr>
              <a:t>Type:  </a:t>
            </a:r>
            <a:r>
              <a:rPr sz="1600" spc="-5" dirty="0">
                <a:latin typeface="Liberation Sans Narrow"/>
                <a:cs typeface="Liberation Sans Narrow"/>
              </a:rPr>
              <a:t>Casual</a:t>
            </a:r>
            <a:r>
              <a:rPr sz="1600" spc="-65" dirty="0">
                <a:latin typeface="Liberation Sans Narrow"/>
                <a:cs typeface="Liberation Sans Narrow"/>
              </a:rPr>
              <a:t> </a:t>
            </a:r>
            <a:r>
              <a:rPr sz="1600" spc="-5" dirty="0">
                <a:latin typeface="Liberation Sans Narrow"/>
                <a:cs typeface="Liberation Sans Narrow"/>
              </a:rPr>
              <a:t>Leave</a:t>
            </a:r>
            <a:endParaRPr sz="1600">
              <a:latin typeface="Liberation Sans Narrow"/>
              <a:cs typeface="Liberation Sans Narrow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1752968" y="1804781"/>
            <a:ext cx="7380605" cy="2087880"/>
            <a:chOff x="1752968" y="1804781"/>
            <a:chExt cx="7380605" cy="2087880"/>
          </a:xfrm>
        </p:grpSpPr>
        <p:sp>
          <p:nvSpPr>
            <p:cNvPr id="5" name="object 5"/>
            <p:cNvSpPr/>
            <p:nvPr/>
          </p:nvSpPr>
          <p:spPr>
            <a:xfrm>
              <a:off x="7088063" y="3125967"/>
              <a:ext cx="2033270" cy="767080"/>
            </a:xfrm>
            <a:custGeom>
              <a:avLst/>
              <a:gdLst/>
              <a:ahLst/>
              <a:cxnLst/>
              <a:rect l="l" t="t" r="r" b="b"/>
              <a:pathLst>
                <a:path w="2033270" h="767079">
                  <a:moveTo>
                    <a:pt x="1924629" y="0"/>
                  </a:moveTo>
                  <a:lnTo>
                    <a:pt x="108173" y="0"/>
                  </a:lnTo>
                  <a:lnTo>
                    <a:pt x="66196" y="8548"/>
                  </a:lnTo>
                  <a:lnTo>
                    <a:pt x="31798" y="31813"/>
                  </a:lnTo>
                  <a:lnTo>
                    <a:pt x="8543" y="66222"/>
                  </a:lnTo>
                  <a:lnTo>
                    <a:pt x="0" y="108204"/>
                  </a:lnTo>
                  <a:lnTo>
                    <a:pt x="0" y="751271"/>
                  </a:lnTo>
                  <a:lnTo>
                    <a:pt x="3101" y="766511"/>
                  </a:lnTo>
                  <a:lnTo>
                    <a:pt x="2029729" y="766511"/>
                  </a:lnTo>
                  <a:lnTo>
                    <a:pt x="2032833" y="751271"/>
                  </a:lnTo>
                  <a:lnTo>
                    <a:pt x="2032833" y="108204"/>
                  </a:lnTo>
                  <a:lnTo>
                    <a:pt x="2024284" y="66222"/>
                  </a:lnTo>
                  <a:lnTo>
                    <a:pt x="2001019" y="31813"/>
                  </a:lnTo>
                  <a:lnTo>
                    <a:pt x="1966610" y="8548"/>
                  </a:lnTo>
                  <a:lnTo>
                    <a:pt x="1924629" y="0"/>
                  </a:lnTo>
                  <a:close/>
                </a:path>
              </a:pathLst>
            </a:custGeom>
            <a:solidFill>
              <a:srgbClr val="ACF3F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7075871" y="3113806"/>
              <a:ext cx="2057400" cy="779145"/>
            </a:xfrm>
            <a:custGeom>
              <a:avLst/>
              <a:gdLst/>
              <a:ahLst/>
              <a:cxnLst/>
              <a:rect l="l" t="t" r="r" b="b"/>
              <a:pathLst>
                <a:path w="2057400" h="779145">
                  <a:moveTo>
                    <a:pt x="1949013" y="0"/>
                  </a:moveTo>
                  <a:lnTo>
                    <a:pt x="106649" y="0"/>
                  </a:lnTo>
                  <a:lnTo>
                    <a:pt x="95981" y="3048"/>
                  </a:lnTo>
                  <a:lnTo>
                    <a:pt x="83789" y="6096"/>
                  </a:lnTo>
                  <a:lnTo>
                    <a:pt x="42672" y="27401"/>
                  </a:lnTo>
                  <a:lnTo>
                    <a:pt x="13716" y="63977"/>
                  </a:lnTo>
                  <a:lnTo>
                    <a:pt x="3048" y="95981"/>
                  </a:lnTo>
                  <a:lnTo>
                    <a:pt x="0" y="108173"/>
                  </a:lnTo>
                  <a:lnTo>
                    <a:pt x="0" y="777148"/>
                  </a:lnTo>
                  <a:lnTo>
                    <a:pt x="381" y="778672"/>
                  </a:lnTo>
                  <a:lnTo>
                    <a:pt x="26778" y="778672"/>
                  </a:lnTo>
                  <a:lnTo>
                    <a:pt x="25908" y="772576"/>
                  </a:lnTo>
                  <a:lnTo>
                    <a:pt x="25908" y="109697"/>
                  </a:lnTo>
                  <a:lnTo>
                    <a:pt x="27432" y="100553"/>
                  </a:lnTo>
                  <a:lnTo>
                    <a:pt x="33528" y="82265"/>
                  </a:lnTo>
                  <a:lnTo>
                    <a:pt x="36576" y="74645"/>
                  </a:lnTo>
                  <a:lnTo>
                    <a:pt x="42672" y="67025"/>
                  </a:lnTo>
                  <a:lnTo>
                    <a:pt x="47244" y="59405"/>
                  </a:lnTo>
                  <a:lnTo>
                    <a:pt x="53309" y="53309"/>
                  </a:lnTo>
                  <a:lnTo>
                    <a:pt x="60929" y="47213"/>
                  </a:lnTo>
                  <a:lnTo>
                    <a:pt x="67025" y="41117"/>
                  </a:lnTo>
                  <a:lnTo>
                    <a:pt x="76169" y="36545"/>
                  </a:lnTo>
                  <a:lnTo>
                    <a:pt x="83789" y="31973"/>
                  </a:lnTo>
                  <a:lnTo>
                    <a:pt x="92933" y="28925"/>
                  </a:lnTo>
                  <a:lnTo>
                    <a:pt x="111221" y="25877"/>
                  </a:lnTo>
                  <a:lnTo>
                    <a:pt x="2011192" y="25877"/>
                  </a:lnTo>
                  <a:lnTo>
                    <a:pt x="2003877" y="19781"/>
                  </a:lnTo>
                  <a:lnTo>
                    <a:pt x="1993209" y="13685"/>
                  </a:lnTo>
                  <a:lnTo>
                    <a:pt x="1984065" y="9144"/>
                  </a:lnTo>
                  <a:lnTo>
                    <a:pt x="1971873" y="4572"/>
                  </a:lnTo>
                  <a:lnTo>
                    <a:pt x="1961205" y="3048"/>
                  </a:lnTo>
                  <a:lnTo>
                    <a:pt x="1949013" y="0"/>
                  </a:lnTo>
                  <a:close/>
                </a:path>
                <a:path w="2057400" h="779145">
                  <a:moveTo>
                    <a:pt x="2011192" y="25877"/>
                  </a:moveTo>
                  <a:lnTo>
                    <a:pt x="1947489" y="25877"/>
                  </a:lnTo>
                  <a:lnTo>
                    <a:pt x="1956633" y="27401"/>
                  </a:lnTo>
                  <a:lnTo>
                    <a:pt x="1974921" y="33497"/>
                  </a:lnTo>
                  <a:lnTo>
                    <a:pt x="1982541" y="36545"/>
                  </a:lnTo>
                  <a:lnTo>
                    <a:pt x="1990161" y="42641"/>
                  </a:lnTo>
                  <a:lnTo>
                    <a:pt x="1997781" y="47213"/>
                  </a:lnTo>
                  <a:lnTo>
                    <a:pt x="2011497" y="60929"/>
                  </a:lnTo>
                  <a:lnTo>
                    <a:pt x="2016069" y="67025"/>
                  </a:lnTo>
                  <a:lnTo>
                    <a:pt x="2020641" y="76169"/>
                  </a:lnTo>
                  <a:lnTo>
                    <a:pt x="2025213" y="83789"/>
                  </a:lnTo>
                  <a:lnTo>
                    <a:pt x="2028261" y="92933"/>
                  </a:lnTo>
                  <a:lnTo>
                    <a:pt x="2031309" y="111221"/>
                  </a:lnTo>
                  <a:lnTo>
                    <a:pt x="2031309" y="774100"/>
                  </a:lnTo>
                  <a:lnTo>
                    <a:pt x="2030547" y="778672"/>
                  </a:lnTo>
                  <a:lnTo>
                    <a:pt x="2056836" y="778672"/>
                  </a:lnTo>
                  <a:lnTo>
                    <a:pt x="2057217" y="775624"/>
                  </a:lnTo>
                  <a:lnTo>
                    <a:pt x="2057217" y="106649"/>
                  </a:lnTo>
                  <a:lnTo>
                    <a:pt x="2054169" y="95981"/>
                  </a:lnTo>
                  <a:lnTo>
                    <a:pt x="2051121" y="83789"/>
                  </a:lnTo>
                  <a:lnTo>
                    <a:pt x="2048073" y="73121"/>
                  </a:lnTo>
                  <a:lnTo>
                    <a:pt x="2035881" y="51785"/>
                  </a:lnTo>
                  <a:lnTo>
                    <a:pt x="2029785" y="42641"/>
                  </a:lnTo>
                  <a:lnTo>
                    <a:pt x="2022165" y="35021"/>
                  </a:lnTo>
                  <a:lnTo>
                    <a:pt x="2011192" y="25877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766684" y="1816973"/>
              <a:ext cx="2031364" cy="859790"/>
            </a:xfrm>
            <a:custGeom>
              <a:avLst/>
              <a:gdLst/>
              <a:ahLst/>
              <a:cxnLst/>
              <a:rect l="l" t="t" r="r" b="b"/>
              <a:pathLst>
                <a:path w="2031364" h="859789">
                  <a:moveTo>
                    <a:pt x="1924656" y="0"/>
                  </a:moveTo>
                  <a:lnTo>
                    <a:pt x="106667" y="0"/>
                  </a:lnTo>
                  <a:lnTo>
                    <a:pt x="64931" y="8310"/>
                  </a:lnTo>
                  <a:lnTo>
                    <a:pt x="31049" y="31051"/>
                  </a:lnTo>
                  <a:lnTo>
                    <a:pt x="8310" y="64936"/>
                  </a:lnTo>
                  <a:lnTo>
                    <a:pt x="0" y="106680"/>
                  </a:lnTo>
                  <a:lnTo>
                    <a:pt x="0" y="751271"/>
                  </a:lnTo>
                  <a:lnTo>
                    <a:pt x="8310" y="793252"/>
                  </a:lnTo>
                  <a:lnTo>
                    <a:pt x="31049" y="827661"/>
                  </a:lnTo>
                  <a:lnTo>
                    <a:pt x="64931" y="850926"/>
                  </a:lnTo>
                  <a:lnTo>
                    <a:pt x="106667" y="859475"/>
                  </a:lnTo>
                  <a:lnTo>
                    <a:pt x="1924656" y="859475"/>
                  </a:lnTo>
                  <a:lnTo>
                    <a:pt x="1965756" y="850926"/>
                  </a:lnTo>
                  <a:lnTo>
                    <a:pt x="1999713" y="827661"/>
                  </a:lnTo>
                  <a:lnTo>
                    <a:pt x="2022811" y="793252"/>
                  </a:lnTo>
                  <a:lnTo>
                    <a:pt x="2031336" y="751271"/>
                  </a:lnTo>
                  <a:lnTo>
                    <a:pt x="2031336" y="106680"/>
                  </a:lnTo>
                  <a:lnTo>
                    <a:pt x="2022811" y="64936"/>
                  </a:lnTo>
                  <a:lnTo>
                    <a:pt x="1999713" y="31051"/>
                  </a:lnTo>
                  <a:lnTo>
                    <a:pt x="1965756" y="8310"/>
                  </a:lnTo>
                  <a:lnTo>
                    <a:pt x="1924656" y="0"/>
                  </a:lnTo>
                  <a:close/>
                </a:path>
              </a:pathLst>
            </a:custGeom>
            <a:solidFill>
              <a:srgbClr val="ACF3F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752968" y="1804781"/>
              <a:ext cx="2057400" cy="883919"/>
            </a:xfrm>
            <a:custGeom>
              <a:avLst/>
              <a:gdLst/>
              <a:ahLst/>
              <a:cxnLst/>
              <a:rect l="l" t="t" r="r" b="b"/>
              <a:pathLst>
                <a:path w="2057400" h="883919">
                  <a:moveTo>
                    <a:pt x="1949040" y="0"/>
                  </a:moveTo>
                  <a:lnTo>
                    <a:pt x="108191" y="0"/>
                  </a:lnTo>
                  <a:lnTo>
                    <a:pt x="95999" y="1524"/>
                  </a:lnTo>
                  <a:lnTo>
                    <a:pt x="53340" y="19812"/>
                  </a:lnTo>
                  <a:lnTo>
                    <a:pt x="15240" y="62484"/>
                  </a:lnTo>
                  <a:lnTo>
                    <a:pt x="1524" y="108204"/>
                  </a:lnTo>
                  <a:lnTo>
                    <a:pt x="0" y="118872"/>
                  </a:lnTo>
                  <a:lnTo>
                    <a:pt x="0" y="764987"/>
                  </a:lnTo>
                  <a:lnTo>
                    <a:pt x="1524" y="777179"/>
                  </a:lnTo>
                  <a:lnTo>
                    <a:pt x="15240" y="821375"/>
                  </a:lnTo>
                  <a:lnTo>
                    <a:pt x="44196" y="856427"/>
                  </a:lnTo>
                  <a:lnTo>
                    <a:pt x="85344" y="877763"/>
                  </a:lnTo>
                  <a:lnTo>
                    <a:pt x="120383" y="883859"/>
                  </a:lnTo>
                  <a:lnTo>
                    <a:pt x="1938372" y="883859"/>
                  </a:lnTo>
                  <a:lnTo>
                    <a:pt x="1962756" y="880811"/>
                  </a:lnTo>
                  <a:lnTo>
                    <a:pt x="1973424" y="877763"/>
                  </a:lnTo>
                  <a:lnTo>
                    <a:pt x="1985616" y="874715"/>
                  </a:lnTo>
                  <a:lnTo>
                    <a:pt x="1994760" y="868619"/>
                  </a:lnTo>
                  <a:lnTo>
                    <a:pt x="2005428" y="862523"/>
                  </a:lnTo>
                  <a:lnTo>
                    <a:pt x="2012286" y="857951"/>
                  </a:lnTo>
                  <a:lnTo>
                    <a:pt x="109715" y="857951"/>
                  </a:lnTo>
                  <a:lnTo>
                    <a:pt x="100571" y="856427"/>
                  </a:lnTo>
                  <a:lnTo>
                    <a:pt x="91427" y="853379"/>
                  </a:lnTo>
                  <a:lnTo>
                    <a:pt x="83820" y="850331"/>
                  </a:lnTo>
                  <a:lnTo>
                    <a:pt x="74676" y="847283"/>
                  </a:lnTo>
                  <a:lnTo>
                    <a:pt x="67056" y="841187"/>
                  </a:lnTo>
                  <a:lnTo>
                    <a:pt x="59436" y="836615"/>
                  </a:lnTo>
                  <a:lnTo>
                    <a:pt x="53340" y="830519"/>
                  </a:lnTo>
                  <a:lnTo>
                    <a:pt x="47244" y="822899"/>
                  </a:lnTo>
                  <a:lnTo>
                    <a:pt x="41148" y="816803"/>
                  </a:lnTo>
                  <a:lnTo>
                    <a:pt x="36576" y="807659"/>
                  </a:lnTo>
                  <a:lnTo>
                    <a:pt x="33528" y="800039"/>
                  </a:lnTo>
                  <a:lnTo>
                    <a:pt x="27432" y="781751"/>
                  </a:lnTo>
                  <a:lnTo>
                    <a:pt x="25908" y="772607"/>
                  </a:lnTo>
                  <a:lnTo>
                    <a:pt x="25908" y="109728"/>
                  </a:lnTo>
                  <a:lnTo>
                    <a:pt x="27432" y="99060"/>
                  </a:lnTo>
                  <a:lnTo>
                    <a:pt x="30480" y="91440"/>
                  </a:lnTo>
                  <a:lnTo>
                    <a:pt x="33528" y="82296"/>
                  </a:lnTo>
                  <a:lnTo>
                    <a:pt x="60960" y="45720"/>
                  </a:lnTo>
                  <a:lnTo>
                    <a:pt x="102095" y="25908"/>
                  </a:lnTo>
                  <a:lnTo>
                    <a:pt x="111239" y="25908"/>
                  </a:lnTo>
                  <a:lnTo>
                    <a:pt x="121907" y="24384"/>
                  </a:lnTo>
                  <a:lnTo>
                    <a:pt x="2010762" y="24384"/>
                  </a:lnTo>
                  <a:lnTo>
                    <a:pt x="1994760" y="13716"/>
                  </a:lnTo>
                  <a:lnTo>
                    <a:pt x="1973424" y="4572"/>
                  </a:lnTo>
                  <a:lnTo>
                    <a:pt x="1961232" y="1524"/>
                  </a:lnTo>
                  <a:lnTo>
                    <a:pt x="1949040" y="0"/>
                  </a:lnTo>
                  <a:close/>
                </a:path>
                <a:path w="2057400" h="883919">
                  <a:moveTo>
                    <a:pt x="2010762" y="24384"/>
                  </a:moveTo>
                  <a:lnTo>
                    <a:pt x="1938372" y="24384"/>
                  </a:lnTo>
                  <a:lnTo>
                    <a:pt x="1947516" y="25908"/>
                  </a:lnTo>
                  <a:lnTo>
                    <a:pt x="1958184" y="27432"/>
                  </a:lnTo>
                  <a:lnTo>
                    <a:pt x="1965804" y="28956"/>
                  </a:lnTo>
                  <a:lnTo>
                    <a:pt x="1974948" y="32004"/>
                  </a:lnTo>
                  <a:lnTo>
                    <a:pt x="1984092" y="36576"/>
                  </a:lnTo>
                  <a:lnTo>
                    <a:pt x="1991712" y="41148"/>
                  </a:lnTo>
                  <a:lnTo>
                    <a:pt x="1997808" y="47244"/>
                  </a:lnTo>
                  <a:lnTo>
                    <a:pt x="2005428" y="53340"/>
                  </a:lnTo>
                  <a:lnTo>
                    <a:pt x="2028288" y="91440"/>
                  </a:lnTo>
                  <a:lnTo>
                    <a:pt x="2032860" y="120396"/>
                  </a:lnTo>
                  <a:lnTo>
                    <a:pt x="2032860" y="763463"/>
                  </a:lnTo>
                  <a:lnTo>
                    <a:pt x="2025240" y="801563"/>
                  </a:lnTo>
                  <a:lnTo>
                    <a:pt x="1997808" y="836615"/>
                  </a:lnTo>
                  <a:lnTo>
                    <a:pt x="1947516" y="857951"/>
                  </a:lnTo>
                  <a:lnTo>
                    <a:pt x="2012286" y="857951"/>
                  </a:lnTo>
                  <a:lnTo>
                    <a:pt x="2043528" y="819851"/>
                  </a:lnTo>
                  <a:lnTo>
                    <a:pt x="2057244" y="775655"/>
                  </a:lnTo>
                  <a:lnTo>
                    <a:pt x="2057244" y="106680"/>
                  </a:lnTo>
                  <a:lnTo>
                    <a:pt x="2043528" y="62484"/>
                  </a:lnTo>
                  <a:lnTo>
                    <a:pt x="2013048" y="25908"/>
                  </a:lnTo>
                  <a:lnTo>
                    <a:pt x="2010762" y="24384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683721" y="2601772"/>
              <a:ext cx="340360" cy="396240"/>
            </a:xfrm>
            <a:custGeom>
              <a:avLst/>
              <a:gdLst/>
              <a:ahLst/>
              <a:cxnLst/>
              <a:rect l="l" t="t" r="r" b="b"/>
              <a:pathLst>
                <a:path w="340360" h="396239">
                  <a:moveTo>
                    <a:pt x="3047" y="0"/>
                  </a:moveTo>
                  <a:lnTo>
                    <a:pt x="0" y="277337"/>
                  </a:lnTo>
                  <a:lnTo>
                    <a:pt x="68579" y="223997"/>
                  </a:lnTo>
                  <a:lnTo>
                    <a:pt x="202661" y="396209"/>
                  </a:lnTo>
                  <a:lnTo>
                    <a:pt x="339821" y="288005"/>
                  </a:lnTo>
                  <a:lnTo>
                    <a:pt x="205709" y="117317"/>
                  </a:lnTo>
                  <a:lnTo>
                    <a:pt x="274289" y="64007"/>
                  </a:lnTo>
                  <a:lnTo>
                    <a:pt x="3047" y="0"/>
                  </a:lnTo>
                  <a:close/>
                </a:path>
              </a:pathLst>
            </a:custGeom>
            <a:solidFill>
              <a:srgbClr val="FFCC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671529" y="2585008"/>
              <a:ext cx="370840" cy="429895"/>
            </a:xfrm>
            <a:custGeom>
              <a:avLst/>
              <a:gdLst/>
              <a:ahLst/>
              <a:cxnLst/>
              <a:rect l="l" t="t" r="r" b="b"/>
              <a:pathLst>
                <a:path w="370839" h="429894">
                  <a:moveTo>
                    <a:pt x="104063" y="248381"/>
                  </a:moveTo>
                  <a:lnTo>
                    <a:pt x="71628" y="248381"/>
                  </a:lnTo>
                  <a:lnTo>
                    <a:pt x="88392" y="251429"/>
                  </a:lnTo>
                  <a:lnTo>
                    <a:pt x="79512" y="258472"/>
                  </a:lnTo>
                  <a:lnTo>
                    <a:pt x="213329" y="429737"/>
                  </a:lnTo>
                  <a:lnTo>
                    <a:pt x="246686" y="403829"/>
                  </a:lnTo>
                  <a:lnTo>
                    <a:pt x="225521" y="403829"/>
                  </a:lnTo>
                  <a:lnTo>
                    <a:pt x="207233" y="402305"/>
                  </a:lnTo>
                  <a:lnTo>
                    <a:pt x="217868" y="394034"/>
                  </a:lnTo>
                  <a:lnTo>
                    <a:pt x="104063" y="248381"/>
                  </a:lnTo>
                  <a:close/>
                </a:path>
                <a:path w="370839" h="429894">
                  <a:moveTo>
                    <a:pt x="217868" y="394034"/>
                  </a:moveTo>
                  <a:lnTo>
                    <a:pt x="207233" y="402305"/>
                  </a:lnTo>
                  <a:lnTo>
                    <a:pt x="225521" y="403829"/>
                  </a:lnTo>
                  <a:lnTo>
                    <a:pt x="217868" y="394034"/>
                  </a:lnTo>
                  <a:close/>
                </a:path>
                <a:path w="370839" h="429894">
                  <a:moveTo>
                    <a:pt x="333648" y="303982"/>
                  </a:moveTo>
                  <a:lnTo>
                    <a:pt x="217868" y="394034"/>
                  </a:lnTo>
                  <a:lnTo>
                    <a:pt x="225521" y="403829"/>
                  </a:lnTo>
                  <a:lnTo>
                    <a:pt x="246686" y="403829"/>
                  </a:lnTo>
                  <a:lnTo>
                    <a:pt x="362452" y="313913"/>
                  </a:lnTo>
                  <a:lnTo>
                    <a:pt x="341345" y="313913"/>
                  </a:lnTo>
                  <a:lnTo>
                    <a:pt x="333648" y="303982"/>
                  </a:lnTo>
                  <a:close/>
                </a:path>
                <a:path w="370839" h="429894">
                  <a:moveTo>
                    <a:pt x="3048" y="0"/>
                  </a:moveTo>
                  <a:lnTo>
                    <a:pt x="0" y="321533"/>
                  </a:lnTo>
                  <a:lnTo>
                    <a:pt x="34588" y="294101"/>
                  </a:lnTo>
                  <a:lnTo>
                    <a:pt x="25908" y="294101"/>
                  </a:lnTo>
                  <a:lnTo>
                    <a:pt x="4572" y="284957"/>
                  </a:lnTo>
                  <a:lnTo>
                    <a:pt x="26195" y="267907"/>
                  </a:lnTo>
                  <a:lnTo>
                    <a:pt x="28778" y="32870"/>
                  </a:lnTo>
                  <a:lnTo>
                    <a:pt x="12192" y="28956"/>
                  </a:lnTo>
                  <a:lnTo>
                    <a:pt x="28956" y="16764"/>
                  </a:lnTo>
                  <a:lnTo>
                    <a:pt x="73176" y="16764"/>
                  </a:lnTo>
                  <a:lnTo>
                    <a:pt x="3048" y="0"/>
                  </a:lnTo>
                  <a:close/>
                </a:path>
                <a:path w="370839" h="429894">
                  <a:moveTo>
                    <a:pt x="344393" y="295625"/>
                  </a:moveTo>
                  <a:lnTo>
                    <a:pt x="333648" y="303982"/>
                  </a:lnTo>
                  <a:lnTo>
                    <a:pt x="341345" y="313913"/>
                  </a:lnTo>
                  <a:lnTo>
                    <a:pt x="344393" y="295625"/>
                  </a:lnTo>
                  <a:close/>
                </a:path>
                <a:path w="370839" h="429894">
                  <a:moveTo>
                    <a:pt x="360773" y="295625"/>
                  </a:moveTo>
                  <a:lnTo>
                    <a:pt x="344393" y="295625"/>
                  </a:lnTo>
                  <a:lnTo>
                    <a:pt x="341345" y="313913"/>
                  </a:lnTo>
                  <a:lnTo>
                    <a:pt x="362452" y="313913"/>
                  </a:lnTo>
                  <a:lnTo>
                    <a:pt x="370301" y="307817"/>
                  </a:lnTo>
                  <a:lnTo>
                    <a:pt x="360773" y="295625"/>
                  </a:lnTo>
                  <a:close/>
                </a:path>
                <a:path w="370839" h="429894">
                  <a:moveTo>
                    <a:pt x="257185" y="86769"/>
                  </a:moveTo>
                  <a:lnTo>
                    <a:pt x="199613" y="131033"/>
                  </a:lnTo>
                  <a:lnTo>
                    <a:pt x="333648" y="303982"/>
                  </a:lnTo>
                  <a:lnTo>
                    <a:pt x="344393" y="295625"/>
                  </a:lnTo>
                  <a:lnTo>
                    <a:pt x="360773" y="295625"/>
                  </a:lnTo>
                  <a:lnTo>
                    <a:pt x="241670" y="143225"/>
                  </a:lnTo>
                  <a:lnTo>
                    <a:pt x="225521" y="143225"/>
                  </a:lnTo>
                  <a:lnTo>
                    <a:pt x="228569" y="126461"/>
                  </a:lnTo>
                  <a:lnTo>
                    <a:pt x="247510" y="126461"/>
                  </a:lnTo>
                  <a:lnTo>
                    <a:pt x="291449" y="92964"/>
                  </a:lnTo>
                  <a:lnTo>
                    <a:pt x="283433" y="92964"/>
                  </a:lnTo>
                  <a:lnTo>
                    <a:pt x="257185" y="86769"/>
                  </a:lnTo>
                  <a:close/>
                </a:path>
                <a:path w="370839" h="429894">
                  <a:moveTo>
                    <a:pt x="26195" y="267907"/>
                  </a:moveTo>
                  <a:lnTo>
                    <a:pt x="4572" y="284957"/>
                  </a:lnTo>
                  <a:lnTo>
                    <a:pt x="25908" y="294101"/>
                  </a:lnTo>
                  <a:lnTo>
                    <a:pt x="26195" y="267907"/>
                  </a:lnTo>
                  <a:close/>
                </a:path>
                <a:path w="370839" h="429894">
                  <a:moveTo>
                    <a:pt x="83820" y="222473"/>
                  </a:moveTo>
                  <a:lnTo>
                    <a:pt x="26195" y="267907"/>
                  </a:lnTo>
                  <a:lnTo>
                    <a:pt x="25908" y="294101"/>
                  </a:lnTo>
                  <a:lnTo>
                    <a:pt x="34588" y="294101"/>
                  </a:lnTo>
                  <a:lnTo>
                    <a:pt x="79512" y="258472"/>
                  </a:lnTo>
                  <a:lnTo>
                    <a:pt x="71628" y="248381"/>
                  </a:lnTo>
                  <a:lnTo>
                    <a:pt x="104063" y="248381"/>
                  </a:lnTo>
                  <a:lnTo>
                    <a:pt x="83820" y="222473"/>
                  </a:lnTo>
                  <a:close/>
                </a:path>
                <a:path w="370839" h="429894">
                  <a:moveTo>
                    <a:pt x="71628" y="248381"/>
                  </a:moveTo>
                  <a:lnTo>
                    <a:pt x="79512" y="258472"/>
                  </a:lnTo>
                  <a:lnTo>
                    <a:pt x="88392" y="251429"/>
                  </a:lnTo>
                  <a:lnTo>
                    <a:pt x="71628" y="248381"/>
                  </a:lnTo>
                  <a:close/>
                </a:path>
                <a:path w="370839" h="429894">
                  <a:moveTo>
                    <a:pt x="228569" y="126461"/>
                  </a:moveTo>
                  <a:lnTo>
                    <a:pt x="225521" y="143225"/>
                  </a:lnTo>
                  <a:lnTo>
                    <a:pt x="235641" y="135510"/>
                  </a:lnTo>
                  <a:lnTo>
                    <a:pt x="228569" y="126461"/>
                  </a:lnTo>
                  <a:close/>
                </a:path>
                <a:path w="370839" h="429894">
                  <a:moveTo>
                    <a:pt x="235641" y="135510"/>
                  </a:moveTo>
                  <a:lnTo>
                    <a:pt x="225521" y="143225"/>
                  </a:lnTo>
                  <a:lnTo>
                    <a:pt x="241670" y="143225"/>
                  </a:lnTo>
                  <a:lnTo>
                    <a:pt x="235641" y="135510"/>
                  </a:lnTo>
                  <a:close/>
                </a:path>
                <a:path w="370839" h="429894">
                  <a:moveTo>
                    <a:pt x="247510" y="126461"/>
                  </a:moveTo>
                  <a:lnTo>
                    <a:pt x="228569" y="126461"/>
                  </a:lnTo>
                  <a:lnTo>
                    <a:pt x="235641" y="135510"/>
                  </a:lnTo>
                  <a:lnTo>
                    <a:pt x="247510" y="126461"/>
                  </a:lnTo>
                  <a:close/>
                </a:path>
                <a:path w="370839" h="429894">
                  <a:moveTo>
                    <a:pt x="278861" y="70104"/>
                  </a:moveTo>
                  <a:lnTo>
                    <a:pt x="257185" y="86769"/>
                  </a:lnTo>
                  <a:lnTo>
                    <a:pt x="283433" y="92964"/>
                  </a:lnTo>
                  <a:lnTo>
                    <a:pt x="278861" y="70104"/>
                  </a:lnTo>
                  <a:close/>
                </a:path>
                <a:path w="370839" h="429894">
                  <a:moveTo>
                    <a:pt x="296311" y="70104"/>
                  </a:moveTo>
                  <a:lnTo>
                    <a:pt x="278861" y="70104"/>
                  </a:lnTo>
                  <a:lnTo>
                    <a:pt x="283433" y="92964"/>
                  </a:lnTo>
                  <a:lnTo>
                    <a:pt x="291449" y="92964"/>
                  </a:lnTo>
                  <a:lnTo>
                    <a:pt x="315437" y="74676"/>
                  </a:lnTo>
                  <a:lnTo>
                    <a:pt x="296311" y="70104"/>
                  </a:lnTo>
                  <a:close/>
                </a:path>
                <a:path w="370839" h="429894">
                  <a:moveTo>
                    <a:pt x="73176" y="16764"/>
                  </a:moveTo>
                  <a:lnTo>
                    <a:pt x="28956" y="16764"/>
                  </a:lnTo>
                  <a:lnTo>
                    <a:pt x="28778" y="32870"/>
                  </a:lnTo>
                  <a:lnTo>
                    <a:pt x="257185" y="86769"/>
                  </a:lnTo>
                  <a:lnTo>
                    <a:pt x="278861" y="70104"/>
                  </a:lnTo>
                  <a:lnTo>
                    <a:pt x="296311" y="70104"/>
                  </a:lnTo>
                  <a:lnTo>
                    <a:pt x="73176" y="16764"/>
                  </a:lnTo>
                  <a:close/>
                </a:path>
                <a:path w="370839" h="429894">
                  <a:moveTo>
                    <a:pt x="28956" y="16764"/>
                  </a:moveTo>
                  <a:lnTo>
                    <a:pt x="12192" y="28956"/>
                  </a:lnTo>
                  <a:lnTo>
                    <a:pt x="28778" y="32870"/>
                  </a:lnTo>
                  <a:lnTo>
                    <a:pt x="28956" y="16764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2453438" y="1997798"/>
            <a:ext cx="76517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400" spc="-30" dirty="0">
                <a:latin typeface="Liberation Sans Narrow"/>
                <a:cs typeface="Liberation Sans Narrow"/>
              </a:rPr>
              <a:t>W</a:t>
            </a:r>
            <a:r>
              <a:rPr sz="1400" spc="-5" dirty="0">
                <a:latin typeface="Liberation Sans Narrow"/>
                <a:cs typeface="Liberation Sans Narrow"/>
              </a:rPr>
              <a:t>ee</a:t>
            </a:r>
            <a:r>
              <a:rPr sz="1400" dirty="0">
                <a:latin typeface="Liberation Sans Narrow"/>
                <a:cs typeface="Liberation Sans Narrow"/>
              </a:rPr>
              <a:t>k</a:t>
            </a:r>
            <a:r>
              <a:rPr sz="1400" spc="-5" dirty="0">
                <a:latin typeface="Liberation Sans Narrow"/>
                <a:cs typeface="Liberation Sans Narrow"/>
              </a:rPr>
              <a:t>da</a:t>
            </a:r>
            <a:r>
              <a:rPr sz="1400" dirty="0">
                <a:latin typeface="Liberation Sans Narrow"/>
                <a:cs typeface="Liberation Sans Narrow"/>
              </a:rPr>
              <a:t>y</a:t>
            </a:r>
            <a:r>
              <a:rPr sz="1400" spc="-5" dirty="0">
                <a:latin typeface="Liberation Sans Narrow"/>
                <a:cs typeface="Liberation Sans Narrow"/>
              </a:rPr>
              <a:t>:</a:t>
            </a:r>
            <a:endParaRPr sz="1400" dirty="0">
              <a:latin typeface="Liberation Sans Narrow"/>
              <a:cs typeface="Liberation Sans Narrow"/>
            </a:endParaRPr>
          </a:p>
        </p:txBody>
      </p:sp>
      <p:grpSp>
        <p:nvGrpSpPr>
          <p:cNvPr id="12" name="object 12"/>
          <p:cNvGrpSpPr/>
          <p:nvPr/>
        </p:nvGrpSpPr>
        <p:grpSpPr>
          <a:xfrm>
            <a:off x="1149513" y="3651717"/>
            <a:ext cx="1810385" cy="241300"/>
            <a:chOff x="1149513" y="3651717"/>
            <a:chExt cx="1810385" cy="241300"/>
          </a:xfrm>
        </p:grpSpPr>
        <p:sp>
          <p:nvSpPr>
            <p:cNvPr id="13" name="object 13"/>
            <p:cNvSpPr/>
            <p:nvPr/>
          </p:nvSpPr>
          <p:spPr>
            <a:xfrm>
              <a:off x="1163229" y="3663902"/>
              <a:ext cx="1784985" cy="228600"/>
            </a:xfrm>
            <a:custGeom>
              <a:avLst/>
              <a:gdLst/>
              <a:ahLst/>
              <a:cxnLst/>
              <a:rect l="l" t="t" r="r" b="b"/>
              <a:pathLst>
                <a:path w="1784985" h="228600">
                  <a:moveTo>
                    <a:pt x="0" y="228576"/>
                  </a:moveTo>
                  <a:lnTo>
                    <a:pt x="1784460" y="228576"/>
                  </a:lnTo>
                  <a:lnTo>
                    <a:pt x="1784460" y="0"/>
                  </a:lnTo>
                  <a:lnTo>
                    <a:pt x="0" y="0"/>
                  </a:lnTo>
                  <a:lnTo>
                    <a:pt x="0" y="22857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1149513" y="3651717"/>
              <a:ext cx="1810385" cy="241300"/>
            </a:xfrm>
            <a:custGeom>
              <a:avLst/>
              <a:gdLst/>
              <a:ahLst/>
              <a:cxnLst/>
              <a:rect l="l" t="t" r="r" b="b"/>
              <a:pathLst>
                <a:path w="1810385" h="241300">
                  <a:moveTo>
                    <a:pt x="1810368" y="0"/>
                  </a:moveTo>
                  <a:lnTo>
                    <a:pt x="0" y="0"/>
                  </a:lnTo>
                  <a:lnTo>
                    <a:pt x="0" y="240761"/>
                  </a:lnTo>
                  <a:lnTo>
                    <a:pt x="25908" y="240761"/>
                  </a:lnTo>
                  <a:lnTo>
                    <a:pt x="25908" y="25908"/>
                  </a:lnTo>
                  <a:lnTo>
                    <a:pt x="13716" y="25908"/>
                  </a:lnTo>
                  <a:lnTo>
                    <a:pt x="25908" y="12192"/>
                  </a:lnTo>
                  <a:lnTo>
                    <a:pt x="1810368" y="12192"/>
                  </a:lnTo>
                  <a:lnTo>
                    <a:pt x="1810368" y="0"/>
                  </a:lnTo>
                  <a:close/>
                </a:path>
                <a:path w="1810385" h="241300">
                  <a:moveTo>
                    <a:pt x="1784460" y="12192"/>
                  </a:moveTo>
                  <a:lnTo>
                    <a:pt x="1784460" y="240761"/>
                  </a:lnTo>
                  <a:lnTo>
                    <a:pt x="1810368" y="240761"/>
                  </a:lnTo>
                  <a:lnTo>
                    <a:pt x="1810368" y="25908"/>
                  </a:lnTo>
                  <a:lnTo>
                    <a:pt x="1798176" y="25908"/>
                  </a:lnTo>
                  <a:lnTo>
                    <a:pt x="1784460" y="12192"/>
                  </a:lnTo>
                  <a:close/>
                </a:path>
                <a:path w="1810385" h="241300">
                  <a:moveTo>
                    <a:pt x="25908" y="12192"/>
                  </a:moveTo>
                  <a:lnTo>
                    <a:pt x="13716" y="25908"/>
                  </a:lnTo>
                  <a:lnTo>
                    <a:pt x="25908" y="25908"/>
                  </a:lnTo>
                  <a:lnTo>
                    <a:pt x="25908" y="12192"/>
                  </a:lnTo>
                  <a:close/>
                </a:path>
                <a:path w="1810385" h="241300">
                  <a:moveTo>
                    <a:pt x="1784460" y="12192"/>
                  </a:moveTo>
                  <a:lnTo>
                    <a:pt x="25908" y="12192"/>
                  </a:lnTo>
                  <a:lnTo>
                    <a:pt x="25908" y="25908"/>
                  </a:lnTo>
                  <a:lnTo>
                    <a:pt x="1784460" y="25908"/>
                  </a:lnTo>
                  <a:lnTo>
                    <a:pt x="1784460" y="12192"/>
                  </a:lnTo>
                  <a:close/>
                </a:path>
                <a:path w="1810385" h="241300">
                  <a:moveTo>
                    <a:pt x="1810368" y="12192"/>
                  </a:moveTo>
                  <a:lnTo>
                    <a:pt x="1784460" y="12192"/>
                  </a:lnTo>
                  <a:lnTo>
                    <a:pt x="1798176" y="25908"/>
                  </a:lnTo>
                  <a:lnTo>
                    <a:pt x="1810368" y="25908"/>
                  </a:lnTo>
                  <a:lnTo>
                    <a:pt x="1810368" y="1219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/>
          <p:nvPr/>
        </p:nvSpPr>
        <p:spPr>
          <a:xfrm>
            <a:off x="1525410" y="3664915"/>
            <a:ext cx="1056640" cy="2686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latin typeface="Liberation Sans Narrow"/>
                <a:cs typeface="Liberation Sans Narrow"/>
              </a:rPr>
              <a:t>Working</a:t>
            </a:r>
            <a:r>
              <a:rPr sz="1600" spc="-70" dirty="0">
                <a:latin typeface="Liberation Sans Narrow"/>
                <a:cs typeface="Liberation Sans Narrow"/>
              </a:rPr>
              <a:t> </a:t>
            </a:r>
            <a:r>
              <a:rPr sz="1600" spc="-5" dirty="0">
                <a:latin typeface="Liberation Sans Narrow"/>
                <a:cs typeface="Liberation Sans Narrow"/>
              </a:rPr>
              <a:t>Days</a:t>
            </a:r>
            <a:endParaRPr sz="1600">
              <a:latin typeface="Liberation Sans Narrow"/>
              <a:cs typeface="Liberation Sans Narrow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695902" y="1997798"/>
            <a:ext cx="1077595" cy="51244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06705" marR="5080" indent="-29464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Liberation Sans Narrow"/>
                <a:cs typeface="Liberation Sans Narrow"/>
              </a:rPr>
              <a:t>Public</a:t>
            </a:r>
            <a:r>
              <a:rPr sz="1600" spc="-95" dirty="0">
                <a:latin typeface="Liberation Sans Narrow"/>
                <a:cs typeface="Liberation Sans Narrow"/>
              </a:rPr>
              <a:t> </a:t>
            </a:r>
            <a:r>
              <a:rPr sz="1600" spc="-5" dirty="0">
                <a:latin typeface="Liberation Sans Narrow"/>
                <a:cs typeface="Liberation Sans Narrow"/>
              </a:rPr>
              <a:t>Holiday  Class:</a:t>
            </a:r>
            <a:endParaRPr sz="1600">
              <a:latin typeface="Liberation Sans Narrow"/>
              <a:cs typeface="Liberation Sans Narrow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7573654" y="3134607"/>
            <a:ext cx="1558509" cy="50462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indent="121285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Liberation Sans Narrow"/>
                <a:cs typeface="Liberation Sans Narrow"/>
              </a:rPr>
              <a:t>Period </a:t>
            </a:r>
            <a:r>
              <a:rPr sz="1600" spc="-10" dirty="0">
                <a:latin typeface="Liberation Sans Narrow"/>
                <a:cs typeface="Liberation Sans Narrow"/>
              </a:rPr>
              <a:t>Work  </a:t>
            </a:r>
            <a:r>
              <a:rPr sz="1600" spc="-5" dirty="0">
                <a:latin typeface="Liberation Sans Narrow"/>
                <a:cs typeface="Liberation Sans Narrow"/>
              </a:rPr>
              <a:t>Schedule</a:t>
            </a:r>
            <a:r>
              <a:rPr sz="1600" spc="-95" dirty="0">
                <a:latin typeface="Liberation Sans Narrow"/>
                <a:cs typeface="Liberation Sans Narrow"/>
              </a:rPr>
              <a:t> </a:t>
            </a:r>
            <a:r>
              <a:rPr sz="1600" spc="-5" dirty="0">
                <a:latin typeface="Liberation Sans Narrow"/>
                <a:cs typeface="Liberation Sans Narrow"/>
              </a:rPr>
              <a:t>Class:</a:t>
            </a:r>
            <a:endParaRPr sz="1600" dirty="0">
              <a:latin typeface="Liberation Sans Narrow"/>
              <a:cs typeface="Liberation Sans Narrow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330343" y="3134607"/>
            <a:ext cx="1888270" cy="51244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55575" marR="5080" indent="-14351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Liberation Sans Narrow"/>
                <a:cs typeface="Liberation Sans Narrow"/>
              </a:rPr>
              <a:t>Daily </a:t>
            </a:r>
            <a:r>
              <a:rPr sz="1600" spc="-10" dirty="0">
                <a:latin typeface="Liberation Sans Narrow"/>
                <a:cs typeface="Liberation Sans Narrow"/>
              </a:rPr>
              <a:t>Work</a:t>
            </a:r>
            <a:r>
              <a:rPr sz="1600" spc="-70" dirty="0">
                <a:latin typeface="Liberation Sans Narrow"/>
                <a:cs typeface="Liberation Sans Narrow"/>
              </a:rPr>
              <a:t> </a:t>
            </a:r>
            <a:r>
              <a:rPr sz="1600" spc="-5" dirty="0">
                <a:latin typeface="Liberation Sans Narrow"/>
                <a:cs typeface="Liberation Sans Narrow"/>
              </a:rPr>
              <a:t>Schedule  Class, Day</a:t>
            </a:r>
            <a:r>
              <a:rPr sz="1600" spc="-70" dirty="0">
                <a:latin typeface="Liberation Sans Narrow"/>
                <a:cs typeface="Liberation Sans Narrow"/>
              </a:rPr>
              <a:t> </a:t>
            </a:r>
            <a:r>
              <a:rPr sz="1600" spc="-15" dirty="0">
                <a:latin typeface="Liberation Sans Narrow"/>
                <a:cs typeface="Liberation Sans Narrow"/>
              </a:rPr>
              <a:t>Type:</a:t>
            </a:r>
            <a:endParaRPr sz="1600" dirty="0">
              <a:latin typeface="Liberation Sans Narrow"/>
              <a:cs typeface="Liberation Sans Narrow"/>
            </a:endParaRPr>
          </a:p>
        </p:txBody>
      </p:sp>
      <p:grpSp>
        <p:nvGrpSpPr>
          <p:cNvPr id="19" name="object 19"/>
          <p:cNvGrpSpPr/>
          <p:nvPr/>
        </p:nvGrpSpPr>
        <p:grpSpPr>
          <a:xfrm>
            <a:off x="6248400" y="2546908"/>
            <a:ext cx="2825750" cy="1345565"/>
            <a:chOff x="6248400" y="2546908"/>
            <a:chExt cx="2825750" cy="1345565"/>
          </a:xfrm>
        </p:grpSpPr>
        <p:sp>
          <p:nvSpPr>
            <p:cNvPr id="20" name="object 20"/>
            <p:cNvSpPr/>
            <p:nvPr/>
          </p:nvSpPr>
          <p:spPr>
            <a:xfrm>
              <a:off x="7277009" y="3778202"/>
              <a:ext cx="1784985" cy="114300"/>
            </a:xfrm>
            <a:custGeom>
              <a:avLst/>
              <a:gdLst/>
              <a:ahLst/>
              <a:cxnLst/>
              <a:rect l="l" t="t" r="r" b="b"/>
              <a:pathLst>
                <a:path w="1784984" h="114300">
                  <a:moveTo>
                    <a:pt x="0" y="114276"/>
                  </a:moveTo>
                  <a:lnTo>
                    <a:pt x="1784460" y="114276"/>
                  </a:lnTo>
                  <a:lnTo>
                    <a:pt x="1784460" y="0"/>
                  </a:lnTo>
                  <a:lnTo>
                    <a:pt x="0" y="0"/>
                  </a:lnTo>
                  <a:lnTo>
                    <a:pt x="0" y="11427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7264816" y="3766017"/>
              <a:ext cx="1809114" cy="127000"/>
            </a:xfrm>
            <a:custGeom>
              <a:avLst/>
              <a:gdLst/>
              <a:ahLst/>
              <a:cxnLst/>
              <a:rect l="l" t="t" r="r" b="b"/>
              <a:pathLst>
                <a:path w="1809115" h="127000">
                  <a:moveTo>
                    <a:pt x="1808835" y="0"/>
                  </a:moveTo>
                  <a:lnTo>
                    <a:pt x="0" y="0"/>
                  </a:lnTo>
                  <a:lnTo>
                    <a:pt x="0" y="126461"/>
                  </a:lnTo>
                  <a:lnTo>
                    <a:pt x="25908" y="126461"/>
                  </a:lnTo>
                  <a:lnTo>
                    <a:pt x="25908" y="25908"/>
                  </a:lnTo>
                  <a:lnTo>
                    <a:pt x="12192" y="25908"/>
                  </a:lnTo>
                  <a:lnTo>
                    <a:pt x="25908" y="12192"/>
                  </a:lnTo>
                  <a:lnTo>
                    <a:pt x="1808835" y="12192"/>
                  </a:lnTo>
                  <a:lnTo>
                    <a:pt x="1808835" y="0"/>
                  </a:lnTo>
                  <a:close/>
                </a:path>
                <a:path w="1809115" h="127000">
                  <a:moveTo>
                    <a:pt x="1784451" y="12192"/>
                  </a:moveTo>
                  <a:lnTo>
                    <a:pt x="1784451" y="126461"/>
                  </a:lnTo>
                  <a:lnTo>
                    <a:pt x="1808835" y="126461"/>
                  </a:lnTo>
                  <a:lnTo>
                    <a:pt x="1808835" y="25908"/>
                  </a:lnTo>
                  <a:lnTo>
                    <a:pt x="1796643" y="25908"/>
                  </a:lnTo>
                  <a:lnTo>
                    <a:pt x="1784451" y="12192"/>
                  </a:lnTo>
                  <a:close/>
                </a:path>
                <a:path w="1809115" h="127000">
                  <a:moveTo>
                    <a:pt x="25908" y="12192"/>
                  </a:moveTo>
                  <a:lnTo>
                    <a:pt x="12192" y="25908"/>
                  </a:lnTo>
                  <a:lnTo>
                    <a:pt x="25908" y="25908"/>
                  </a:lnTo>
                  <a:lnTo>
                    <a:pt x="25908" y="12192"/>
                  </a:lnTo>
                  <a:close/>
                </a:path>
                <a:path w="1809115" h="127000">
                  <a:moveTo>
                    <a:pt x="1784451" y="12192"/>
                  </a:moveTo>
                  <a:lnTo>
                    <a:pt x="25908" y="12192"/>
                  </a:lnTo>
                  <a:lnTo>
                    <a:pt x="25908" y="25908"/>
                  </a:lnTo>
                  <a:lnTo>
                    <a:pt x="1784451" y="25908"/>
                  </a:lnTo>
                  <a:lnTo>
                    <a:pt x="1784451" y="12192"/>
                  </a:lnTo>
                  <a:close/>
                </a:path>
                <a:path w="1809115" h="127000">
                  <a:moveTo>
                    <a:pt x="1808835" y="12192"/>
                  </a:moveTo>
                  <a:lnTo>
                    <a:pt x="1784451" y="12192"/>
                  </a:lnTo>
                  <a:lnTo>
                    <a:pt x="1796643" y="25908"/>
                  </a:lnTo>
                  <a:lnTo>
                    <a:pt x="1808835" y="25908"/>
                  </a:lnTo>
                  <a:lnTo>
                    <a:pt x="1808835" y="1219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6262116" y="2559082"/>
              <a:ext cx="1783080" cy="280670"/>
            </a:xfrm>
            <a:custGeom>
              <a:avLst/>
              <a:gdLst/>
              <a:ahLst/>
              <a:cxnLst/>
              <a:rect l="l" t="t" r="r" b="b"/>
              <a:pathLst>
                <a:path w="1783079" h="280669">
                  <a:moveTo>
                    <a:pt x="1782924" y="0"/>
                  </a:moveTo>
                  <a:lnTo>
                    <a:pt x="0" y="0"/>
                  </a:lnTo>
                  <a:lnTo>
                    <a:pt x="0" y="280404"/>
                  </a:lnTo>
                  <a:lnTo>
                    <a:pt x="1782924" y="280404"/>
                  </a:lnTo>
                  <a:lnTo>
                    <a:pt x="178292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6248400" y="2546908"/>
              <a:ext cx="1810385" cy="304800"/>
            </a:xfrm>
            <a:custGeom>
              <a:avLst/>
              <a:gdLst/>
              <a:ahLst/>
              <a:cxnLst/>
              <a:rect l="l" t="t" r="r" b="b"/>
              <a:pathLst>
                <a:path w="1810384" h="304800">
                  <a:moveTo>
                    <a:pt x="1810359" y="0"/>
                  </a:moveTo>
                  <a:lnTo>
                    <a:pt x="0" y="0"/>
                  </a:lnTo>
                  <a:lnTo>
                    <a:pt x="0" y="304769"/>
                  </a:lnTo>
                  <a:lnTo>
                    <a:pt x="1810359" y="304769"/>
                  </a:lnTo>
                  <a:lnTo>
                    <a:pt x="1810359" y="292577"/>
                  </a:lnTo>
                  <a:lnTo>
                    <a:pt x="25908" y="292577"/>
                  </a:lnTo>
                  <a:lnTo>
                    <a:pt x="13716" y="278861"/>
                  </a:lnTo>
                  <a:lnTo>
                    <a:pt x="25908" y="278861"/>
                  </a:lnTo>
                  <a:lnTo>
                    <a:pt x="25908" y="25908"/>
                  </a:lnTo>
                  <a:lnTo>
                    <a:pt x="13716" y="25908"/>
                  </a:lnTo>
                  <a:lnTo>
                    <a:pt x="25908" y="12192"/>
                  </a:lnTo>
                  <a:lnTo>
                    <a:pt x="1810359" y="12192"/>
                  </a:lnTo>
                  <a:lnTo>
                    <a:pt x="1810359" y="0"/>
                  </a:lnTo>
                  <a:close/>
                </a:path>
                <a:path w="1810384" h="304800">
                  <a:moveTo>
                    <a:pt x="25908" y="278861"/>
                  </a:moveTo>
                  <a:lnTo>
                    <a:pt x="13716" y="278861"/>
                  </a:lnTo>
                  <a:lnTo>
                    <a:pt x="25908" y="292577"/>
                  </a:lnTo>
                  <a:lnTo>
                    <a:pt x="25908" y="278861"/>
                  </a:lnTo>
                  <a:close/>
                </a:path>
                <a:path w="1810384" h="304800">
                  <a:moveTo>
                    <a:pt x="1784451" y="278861"/>
                  </a:moveTo>
                  <a:lnTo>
                    <a:pt x="25908" y="278861"/>
                  </a:lnTo>
                  <a:lnTo>
                    <a:pt x="25908" y="292577"/>
                  </a:lnTo>
                  <a:lnTo>
                    <a:pt x="1784451" y="292577"/>
                  </a:lnTo>
                  <a:lnTo>
                    <a:pt x="1784451" y="278861"/>
                  </a:lnTo>
                  <a:close/>
                </a:path>
                <a:path w="1810384" h="304800">
                  <a:moveTo>
                    <a:pt x="1784451" y="12192"/>
                  </a:moveTo>
                  <a:lnTo>
                    <a:pt x="1784451" y="292577"/>
                  </a:lnTo>
                  <a:lnTo>
                    <a:pt x="1796643" y="278861"/>
                  </a:lnTo>
                  <a:lnTo>
                    <a:pt x="1810359" y="278861"/>
                  </a:lnTo>
                  <a:lnTo>
                    <a:pt x="1810359" y="25908"/>
                  </a:lnTo>
                  <a:lnTo>
                    <a:pt x="1796643" y="25908"/>
                  </a:lnTo>
                  <a:lnTo>
                    <a:pt x="1784451" y="12192"/>
                  </a:lnTo>
                  <a:close/>
                </a:path>
                <a:path w="1810384" h="304800">
                  <a:moveTo>
                    <a:pt x="1810359" y="278861"/>
                  </a:moveTo>
                  <a:lnTo>
                    <a:pt x="1796643" y="278861"/>
                  </a:lnTo>
                  <a:lnTo>
                    <a:pt x="1784451" y="292577"/>
                  </a:lnTo>
                  <a:lnTo>
                    <a:pt x="1810359" y="292577"/>
                  </a:lnTo>
                  <a:lnTo>
                    <a:pt x="1810359" y="278861"/>
                  </a:lnTo>
                  <a:close/>
                </a:path>
                <a:path w="1810384" h="304800">
                  <a:moveTo>
                    <a:pt x="25908" y="12192"/>
                  </a:moveTo>
                  <a:lnTo>
                    <a:pt x="13716" y="25908"/>
                  </a:lnTo>
                  <a:lnTo>
                    <a:pt x="25908" y="25908"/>
                  </a:lnTo>
                  <a:lnTo>
                    <a:pt x="25908" y="12192"/>
                  </a:lnTo>
                  <a:close/>
                </a:path>
                <a:path w="1810384" h="304800">
                  <a:moveTo>
                    <a:pt x="1784451" y="12192"/>
                  </a:moveTo>
                  <a:lnTo>
                    <a:pt x="25908" y="12192"/>
                  </a:lnTo>
                  <a:lnTo>
                    <a:pt x="25908" y="25908"/>
                  </a:lnTo>
                  <a:lnTo>
                    <a:pt x="1784451" y="25908"/>
                  </a:lnTo>
                  <a:lnTo>
                    <a:pt x="1784451" y="12192"/>
                  </a:lnTo>
                  <a:close/>
                </a:path>
                <a:path w="1810384" h="304800">
                  <a:moveTo>
                    <a:pt x="1810359" y="12192"/>
                  </a:moveTo>
                  <a:lnTo>
                    <a:pt x="1784451" y="12192"/>
                  </a:lnTo>
                  <a:lnTo>
                    <a:pt x="1796643" y="25908"/>
                  </a:lnTo>
                  <a:lnTo>
                    <a:pt x="1810359" y="25908"/>
                  </a:lnTo>
                  <a:lnTo>
                    <a:pt x="1810359" y="1219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4" name="object 24"/>
          <p:cNvSpPr txBox="1"/>
          <p:nvPr/>
        </p:nvSpPr>
        <p:spPr>
          <a:xfrm>
            <a:off x="6262115" y="2559082"/>
            <a:ext cx="1783080" cy="2806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5"/>
              </a:spcBef>
            </a:pPr>
            <a:r>
              <a:rPr sz="1600" spc="-5" dirty="0">
                <a:latin typeface="Liberation Sans Narrow"/>
                <a:cs typeface="Liberation Sans Narrow"/>
              </a:rPr>
              <a:t>Blank</a:t>
            </a:r>
            <a:endParaRPr sz="1600">
              <a:latin typeface="Liberation Sans Narrow"/>
              <a:cs typeface="Liberation Sans Narrow"/>
            </a:endParaRPr>
          </a:p>
        </p:txBody>
      </p:sp>
      <p:grpSp>
        <p:nvGrpSpPr>
          <p:cNvPr id="25" name="object 25"/>
          <p:cNvGrpSpPr/>
          <p:nvPr/>
        </p:nvGrpSpPr>
        <p:grpSpPr>
          <a:xfrm>
            <a:off x="1873352" y="2470708"/>
            <a:ext cx="1810385" cy="304800"/>
            <a:chOff x="1873352" y="2470708"/>
            <a:chExt cx="1810385" cy="304800"/>
          </a:xfrm>
        </p:grpSpPr>
        <p:sp>
          <p:nvSpPr>
            <p:cNvPr id="26" name="object 26"/>
            <p:cNvSpPr/>
            <p:nvPr/>
          </p:nvSpPr>
          <p:spPr>
            <a:xfrm>
              <a:off x="1887068" y="2482894"/>
              <a:ext cx="1784985" cy="280670"/>
            </a:xfrm>
            <a:custGeom>
              <a:avLst/>
              <a:gdLst/>
              <a:ahLst/>
              <a:cxnLst/>
              <a:rect l="l" t="t" r="r" b="b"/>
              <a:pathLst>
                <a:path w="1784985" h="280669">
                  <a:moveTo>
                    <a:pt x="1784460" y="0"/>
                  </a:moveTo>
                  <a:lnTo>
                    <a:pt x="0" y="0"/>
                  </a:lnTo>
                  <a:lnTo>
                    <a:pt x="0" y="280392"/>
                  </a:lnTo>
                  <a:lnTo>
                    <a:pt x="1784460" y="280392"/>
                  </a:lnTo>
                  <a:lnTo>
                    <a:pt x="178446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1873352" y="2470708"/>
              <a:ext cx="1810385" cy="304800"/>
            </a:xfrm>
            <a:custGeom>
              <a:avLst/>
              <a:gdLst/>
              <a:ahLst/>
              <a:cxnLst/>
              <a:rect l="l" t="t" r="r" b="b"/>
              <a:pathLst>
                <a:path w="1810385" h="304800">
                  <a:moveTo>
                    <a:pt x="1810368" y="0"/>
                  </a:moveTo>
                  <a:lnTo>
                    <a:pt x="0" y="0"/>
                  </a:lnTo>
                  <a:lnTo>
                    <a:pt x="0" y="304769"/>
                  </a:lnTo>
                  <a:lnTo>
                    <a:pt x="1810368" y="304769"/>
                  </a:lnTo>
                  <a:lnTo>
                    <a:pt x="1810368" y="292577"/>
                  </a:lnTo>
                  <a:lnTo>
                    <a:pt x="25908" y="292577"/>
                  </a:lnTo>
                  <a:lnTo>
                    <a:pt x="13716" y="278861"/>
                  </a:lnTo>
                  <a:lnTo>
                    <a:pt x="25908" y="278861"/>
                  </a:lnTo>
                  <a:lnTo>
                    <a:pt x="25908" y="25908"/>
                  </a:lnTo>
                  <a:lnTo>
                    <a:pt x="13716" y="25908"/>
                  </a:lnTo>
                  <a:lnTo>
                    <a:pt x="25908" y="12192"/>
                  </a:lnTo>
                  <a:lnTo>
                    <a:pt x="1810368" y="12192"/>
                  </a:lnTo>
                  <a:lnTo>
                    <a:pt x="1810368" y="0"/>
                  </a:lnTo>
                  <a:close/>
                </a:path>
                <a:path w="1810385" h="304800">
                  <a:moveTo>
                    <a:pt x="25908" y="278861"/>
                  </a:moveTo>
                  <a:lnTo>
                    <a:pt x="13716" y="278861"/>
                  </a:lnTo>
                  <a:lnTo>
                    <a:pt x="25908" y="292577"/>
                  </a:lnTo>
                  <a:lnTo>
                    <a:pt x="25908" y="278861"/>
                  </a:lnTo>
                  <a:close/>
                </a:path>
                <a:path w="1810385" h="304800">
                  <a:moveTo>
                    <a:pt x="1784460" y="278861"/>
                  </a:moveTo>
                  <a:lnTo>
                    <a:pt x="25908" y="278861"/>
                  </a:lnTo>
                  <a:lnTo>
                    <a:pt x="25908" y="292577"/>
                  </a:lnTo>
                  <a:lnTo>
                    <a:pt x="1784460" y="292577"/>
                  </a:lnTo>
                  <a:lnTo>
                    <a:pt x="1784460" y="278861"/>
                  </a:lnTo>
                  <a:close/>
                </a:path>
                <a:path w="1810385" h="304800">
                  <a:moveTo>
                    <a:pt x="1784460" y="12192"/>
                  </a:moveTo>
                  <a:lnTo>
                    <a:pt x="1784460" y="292577"/>
                  </a:lnTo>
                  <a:lnTo>
                    <a:pt x="1798176" y="278861"/>
                  </a:lnTo>
                  <a:lnTo>
                    <a:pt x="1810368" y="278861"/>
                  </a:lnTo>
                  <a:lnTo>
                    <a:pt x="1810368" y="25908"/>
                  </a:lnTo>
                  <a:lnTo>
                    <a:pt x="1798176" y="25908"/>
                  </a:lnTo>
                  <a:lnTo>
                    <a:pt x="1784460" y="12192"/>
                  </a:lnTo>
                  <a:close/>
                </a:path>
                <a:path w="1810385" h="304800">
                  <a:moveTo>
                    <a:pt x="1810368" y="278861"/>
                  </a:moveTo>
                  <a:lnTo>
                    <a:pt x="1798176" y="278861"/>
                  </a:lnTo>
                  <a:lnTo>
                    <a:pt x="1784460" y="292577"/>
                  </a:lnTo>
                  <a:lnTo>
                    <a:pt x="1810368" y="292577"/>
                  </a:lnTo>
                  <a:lnTo>
                    <a:pt x="1810368" y="278861"/>
                  </a:lnTo>
                  <a:close/>
                </a:path>
                <a:path w="1810385" h="304800">
                  <a:moveTo>
                    <a:pt x="25908" y="12192"/>
                  </a:moveTo>
                  <a:lnTo>
                    <a:pt x="13716" y="25908"/>
                  </a:lnTo>
                  <a:lnTo>
                    <a:pt x="25908" y="25908"/>
                  </a:lnTo>
                  <a:lnTo>
                    <a:pt x="25908" y="12192"/>
                  </a:lnTo>
                  <a:close/>
                </a:path>
                <a:path w="1810385" h="304800">
                  <a:moveTo>
                    <a:pt x="1784460" y="12192"/>
                  </a:moveTo>
                  <a:lnTo>
                    <a:pt x="25908" y="12192"/>
                  </a:lnTo>
                  <a:lnTo>
                    <a:pt x="25908" y="25908"/>
                  </a:lnTo>
                  <a:lnTo>
                    <a:pt x="1784460" y="25908"/>
                  </a:lnTo>
                  <a:lnTo>
                    <a:pt x="1784460" y="12192"/>
                  </a:lnTo>
                  <a:close/>
                </a:path>
                <a:path w="1810385" h="304800">
                  <a:moveTo>
                    <a:pt x="1810368" y="12192"/>
                  </a:moveTo>
                  <a:lnTo>
                    <a:pt x="1784460" y="12192"/>
                  </a:lnTo>
                  <a:lnTo>
                    <a:pt x="1798176" y="25908"/>
                  </a:lnTo>
                  <a:lnTo>
                    <a:pt x="1810368" y="25908"/>
                  </a:lnTo>
                  <a:lnTo>
                    <a:pt x="1810368" y="1219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8" name="object 28"/>
          <p:cNvSpPr txBox="1"/>
          <p:nvPr/>
        </p:nvSpPr>
        <p:spPr>
          <a:xfrm>
            <a:off x="1842077" y="2425652"/>
            <a:ext cx="2031364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10185">
              <a:lnSpc>
                <a:spcPct val="100000"/>
              </a:lnSpc>
              <a:spcBef>
                <a:spcPts val="100"/>
              </a:spcBef>
            </a:pPr>
            <a:r>
              <a:rPr sz="1600" spc="-5" dirty="0">
                <a:latin typeface="Liberation Sans Narrow"/>
                <a:cs typeface="Liberation Sans Narrow"/>
              </a:rPr>
              <a:t>Monday -</a:t>
            </a:r>
            <a:r>
              <a:rPr sz="1600" spc="-45" dirty="0">
                <a:latin typeface="Liberation Sans Narrow"/>
                <a:cs typeface="Liberation Sans Narrow"/>
              </a:rPr>
              <a:t> </a:t>
            </a:r>
            <a:r>
              <a:rPr sz="1600" spc="-5" dirty="0">
                <a:latin typeface="Liberation Sans Narrow"/>
                <a:cs typeface="Liberation Sans Narrow"/>
              </a:rPr>
              <a:t>Saturday</a:t>
            </a:r>
            <a:endParaRPr sz="1600">
              <a:latin typeface="Liberation Sans Narrow"/>
              <a:cs typeface="Liberation Sans Narrow"/>
            </a:endParaRPr>
          </a:p>
        </p:txBody>
      </p:sp>
      <p:sp>
        <p:nvSpPr>
          <p:cNvPr id="29" name="object 29"/>
          <p:cNvSpPr txBox="1">
            <a:spLocks noGrp="1"/>
          </p:cNvSpPr>
          <p:nvPr>
            <p:ph type="title"/>
          </p:nvPr>
        </p:nvSpPr>
        <p:spPr>
          <a:xfrm>
            <a:off x="932621" y="568404"/>
            <a:ext cx="437578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Define Counting</a:t>
            </a:r>
            <a:r>
              <a:rPr spc="-11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Rules</a:t>
            </a:r>
          </a:p>
        </p:txBody>
      </p:sp>
      <p:grpSp>
        <p:nvGrpSpPr>
          <p:cNvPr id="30" name="object 30"/>
          <p:cNvGrpSpPr/>
          <p:nvPr/>
        </p:nvGrpSpPr>
        <p:grpSpPr>
          <a:xfrm>
            <a:off x="463772" y="3892479"/>
            <a:ext cx="8857064" cy="3117921"/>
            <a:chOff x="463771" y="3892479"/>
            <a:chExt cx="9143365" cy="3429000"/>
          </a:xfrm>
        </p:grpSpPr>
        <p:sp>
          <p:nvSpPr>
            <p:cNvPr id="31" name="object 31"/>
            <p:cNvSpPr/>
            <p:nvPr/>
          </p:nvSpPr>
          <p:spPr>
            <a:xfrm>
              <a:off x="463771" y="3892479"/>
              <a:ext cx="9143365" cy="3429000"/>
            </a:xfrm>
            <a:custGeom>
              <a:avLst/>
              <a:gdLst/>
              <a:ahLst/>
              <a:cxnLst/>
              <a:rect l="l" t="t" r="r" b="b"/>
              <a:pathLst>
                <a:path w="9143365" h="3429000">
                  <a:moveTo>
                    <a:pt x="0" y="3428722"/>
                  </a:moveTo>
                  <a:lnTo>
                    <a:pt x="9143238" y="3428722"/>
                  </a:lnTo>
                  <a:lnTo>
                    <a:pt x="9143238" y="0"/>
                  </a:lnTo>
                  <a:lnTo>
                    <a:pt x="0" y="0"/>
                  </a:lnTo>
                  <a:lnTo>
                    <a:pt x="0" y="342872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4499510" y="3892479"/>
              <a:ext cx="1089660" cy="30480"/>
            </a:xfrm>
            <a:custGeom>
              <a:avLst/>
              <a:gdLst/>
              <a:ahLst/>
              <a:cxnLst/>
              <a:rect l="l" t="t" r="r" b="b"/>
              <a:pathLst>
                <a:path w="1089660" h="30479">
                  <a:moveTo>
                    <a:pt x="1089461" y="0"/>
                  </a:moveTo>
                  <a:lnTo>
                    <a:pt x="0" y="0"/>
                  </a:lnTo>
                  <a:lnTo>
                    <a:pt x="14012" y="1673"/>
                  </a:lnTo>
                  <a:lnTo>
                    <a:pt x="77126" y="8276"/>
                  </a:lnTo>
                  <a:lnTo>
                    <a:pt x="141279" y="14058"/>
                  </a:lnTo>
                  <a:lnTo>
                    <a:pt x="206419" y="19000"/>
                  </a:lnTo>
                  <a:lnTo>
                    <a:pt x="272490" y="23084"/>
                  </a:lnTo>
                  <a:lnTo>
                    <a:pt x="339440" y="26292"/>
                  </a:lnTo>
                  <a:lnTo>
                    <a:pt x="407214" y="28606"/>
                  </a:lnTo>
                  <a:lnTo>
                    <a:pt x="475759" y="30008"/>
                  </a:lnTo>
                  <a:lnTo>
                    <a:pt x="545020" y="30479"/>
                  </a:lnTo>
                  <a:lnTo>
                    <a:pt x="614175" y="30008"/>
                  </a:lnTo>
                  <a:lnTo>
                    <a:pt x="682624" y="28606"/>
                  </a:lnTo>
                  <a:lnTo>
                    <a:pt x="750313" y="26292"/>
                  </a:lnTo>
                  <a:lnTo>
                    <a:pt x="817188" y="23084"/>
                  </a:lnTo>
                  <a:lnTo>
                    <a:pt x="883193" y="19000"/>
                  </a:lnTo>
                  <a:lnTo>
                    <a:pt x="948276" y="14058"/>
                  </a:lnTo>
                  <a:lnTo>
                    <a:pt x="1012381" y="8276"/>
                  </a:lnTo>
                  <a:lnTo>
                    <a:pt x="1075455" y="1673"/>
                  </a:lnTo>
                  <a:lnTo>
                    <a:pt x="1089461" y="0"/>
                  </a:lnTo>
                  <a:close/>
                </a:path>
              </a:pathLst>
            </a:custGeom>
            <a:solidFill>
              <a:srgbClr val="FDDDD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4400159" y="3892479"/>
              <a:ext cx="1289050" cy="44450"/>
            </a:xfrm>
            <a:custGeom>
              <a:avLst/>
              <a:gdLst/>
              <a:ahLst/>
              <a:cxnLst/>
              <a:rect l="l" t="t" r="r" b="b"/>
              <a:pathLst>
                <a:path w="1289050" h="44450">
                  <a:moveTo>
                    <a:pt x="225305" y="0"/>
                  </a:moveTo>
                  <a:lnTo>
                    <a:pt x="0" y="0"/>
                  </a:lnTo>
                  <a:lnTo>
                    <a:pt x="65312" y="9143"/>
                  </a:lnTo>
                  <a:lnTo>
                    <a:pt x="143036" y="18287"/>
                  </a:lnTo>
                  <a:lnTo>
                    <a:pt x="223778" y="25907"/>
                  </a:lnTo>
                  <a:lnTo>
                    <a:pt x="304550" y="32003"/>
                  </a:lnTo>
                  <a:lnTo>
                    <a:pt x="472190" y="41147"/>
                  </a:lnTo>
                  <a:lnTo>
                    <a:pt x="644371" y="44195"/>
                  </a:lnTo>
                  <a:lnTo>
                    <a:pt x="816583" y="41147"/>
                  </a:lnTo>
                  <a:lnTo>
                    <a:pt x="982669" y="32003"/>
                  </a:lnTo>
                  <a:lnTo>
                    <a:pt x="1064965" y="25907"/>
                  </a:lnTo>
                  <a:lnTo>
                    <a:pt x="1144213" y="18287"/>
                  </a:lnTo>
                  <a:lnTo>
                    <a:pt x="644371" y="18287"/>
                  </a:lnTo>
                  <a:lnTo>
                    <a:pt x="472190" y="15239"/>
                  </a:lnTo>
                  <a:lnTo>
                    <a:pt x="306074" y="6095"/>
                  </a:lnTo>
                  <a:lnTo>
                    <a:pt x="225305" y="0"/>
                  </a:lnTo>
                  <a:close/>
                </a:path>
                <a:path w="1289050" h="44450">
                  <a:moveTo>
                    <a:pt x="1288747" y="0"/>
                  </a:moveTo>
                  <a:lnTo>
                    <a:pt x="1061914" y="0"/>
                  </a:lnTo>
                  <a:lnTo>
                    <a:pt x="981145" y="6095"/>
                  </a:lnTo>
                  <a:lnTo>
                    <a:pt x="815059" y="15239"/>
                  </a:lnTo>
                  <a:lnTo>
                    <a:pt x="644371" y="18287"/>
                  </a:lnTo>
                  <a:lnTo>
                    <a:pt x="1144213" y="18287"/>
                  </a:lnTo>
                  <a:lnTo>
                    <a:pt x="1223461" y="9143"/>
                  </a:lnTo>
                  <a:lnTo>
                    <a:pt x="1288747" y="0"/>
                  </a:lnTo>
                  <a:close/>
                </a:path>
              </a:pathLst>
            </a:custGeom>
            <a:solidFill>
              <a:srgbClr val="BAE0E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7091164" y="3892479"/>
              <a:ext cx="2026920" cy="93345"/>
            </a:xfrm>
            <a:custGeom>
              <a:avLst/>
              <a:gdLst/>
              <a:ahLst/>
              <a:cxnLst/>
              <a:rect l="l" t="t" r="r" b="b"/>
              <a:pathLst>
                <a:path w="2026920" h="93345">
                  <a:moveTo>
                    <a:pt x="2026628" y="0"/>
                  </a:moveTo>
                  <a:lnTo>
                    <a:pt x="0" y="0"/>
                  </a:lnTo>
                  <a:lnTo>
                    <a:pt x="5442" y="26741"/>
                  </a:lnTo>
                  <a:lnTo>
                    <a:pt x="28696" y="61150"/>
                  </a:lnTo>
                  <a:lnTo>
                    <a:pt x="63095" y="84415"/>
                  </a:lnTo>
                  <a:lnTo>
                    <a:pt x="105071" y="92963"/>
                  </a:lnTo>
                  <a:lnTo>
                    <a:pt x="1921527" y="92963"/>
                  </a:lnTo>
                  <a:lnTo>
                    <a:pt x="1963508" y="84415"/>
                  </a:lnTo>
                  <a:lnTo>
                    <a:pt x="1997917" y="61150"/>
                  </a:lnTo>
                  <a:lnTo>
                    <a:pt x="2021182" y="26741"/>
                  </a:lnTo>
                  <a:lnTo>
                    <a:pt x="2026628" y="0"/>
                  </a:lnTo>
                  <a:close/>
                </a:path>
              </a:pathLst>
            </a:custGeom>
            <a:solidFill>
              <a:srgbClr val="ACF3F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7076252" y="3892479"/>
              <a:ext cx="2056764" cy="105410"/>
            </a:xfrm>
            <a:custGeom>
              <a:avLst/>
              <a:gdLst/>
              <a:ahLst/>
              <a:cxnLst/>
              <a:rect l="l" t="t" r="r" b="b"/>
              <a:pathLst>
                <a:path w="2056765" h="105410">
                  <a:moveTo>
                    <a:pt x="26397" y="0"/>
                  </a:moveTo>
                  <a:lnTo>
                    <a:pt x="0" y="0"/>
                  </a:lnTo>
                  <a:lnTo>
                    <a:pt x="2666" y="10667"/>
                  </a:lnTo>
                  <a:lnTo>
                    <a:pt x="20954" y="53339"/>
                  </a:lnTo>
                  <a:lnTo>
                    <a:pt x="52928" y="85343"/>
                  </a:lnTo>
                  <a:lnTo>
                    <a:pt x="95600" y="103631"/>
                  </a:lnTo>
                  <a:lnTo>
                    <a:pt x="107792" y="105155"/>
                  </a:lnTo>
                  <a:lnTo>
                    <a:pt x="1950156" y="105155"/>
                  </a:lnTo>
                  <a:lnTo>
                    <a:pt x="1994352" y="91439"/>
                  </a:lnTo>
                  <a:lnTo>
                    <a:pt x="2010506" y="80771"/>
                  </a:lnTo>
                  <a:lnTo>
                    <a:pt x="119984" y="80771"/>
                  </a:lnTo>
                  <a:lnTo>
                    <a:pt x="109316" y="79247"/>
                  </a:lnTo>
                  <a:lnTo>
                    <a:pt x="66644" y="64007"/>
                  </a:lnTo>
                  <a:lnTo>
                    <a:pt x="36194" y="30479"/>
                  </a:lnTo>
                  <a:lnTo>
                    <a:pt x="27050" y="4571"/>
                  </a:lnTo>
                  <a:lnTo>
                    <a:pt x="26397" y="0"/>
                  </a:lnTo>
                  <a:close/>
                </a:path>
                <a:path w="2056765" h="105410">
                  <a:moveTo>
                    <a:pt x="2056455" y="0"/>
                  </a:moveTo>
                  <a:lnTo>
                    <a:pt x="2030166" y="0"/>
                  </a:lnTo>
                  <a:lnTo>
                    <a:pt x="2029404" y="4571"/>
                  </a:lnTo>
                  <a:lnTo>
                    <a:pt x="2020260" y="32003"/>
                  </a:lnTo>
                  <a:lnTo>
                    <a:pt x="2015688" y="39623"/>
                  </a:lnTo>
                  <a:lnTo>
                    <a:pt x="2009592" y="45719"/>
                  </a:lnTo>
                  <a:lnTo>
                    <a:pt x="2003496" y="53339"/>
                  </a:lnTo>
                  <a:lnTo>
                    <a:pt x="1963872" y="76199"/>
                  </a:lnTo>
                  <a:lnTo>
                    <a:pt x="1936440" y="80771"/>
                  </a:lnTo>
                  <a:lnTo>
                    <a:pt x="2010506" y="80771"/>
                  </a:lnTo>
                  <a:lnTo>
                    <a:pt x="2037024" y="51815"/>
                  </a:lnTo>
                  <a:lnTo>
                    <a:pt x="2055312" y="9143"/>
                  </a:lnTo>
                  <a:lnTo>
                    <a:pt x="2056455" y="0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7"/>
            <p:cNvSpPr/>
            <p:nvPr/>
          </p:nvSpPr>
          <p:spPr>
            <a:xfrm>
              <a:off x="978839" y="4172864"/>
              <a:ext cx="3581400" cy="24765"/>
            </a:xfrm>
            <a:custGeom>
              <a:avLst/>
              <a:gdLst/>
              <a:ahLst/>
              <a:cxnLst/>
              <a:rect l="l" t="t" r="r" b="b"/>
              <a:pathLst>
                <a:path w="3581400" h="24764">
                  <a:moveTo>
                    <a:pt x="25895" y="0"/>
                  </a:moveTo>
                  <a:lnTo>
                    <a:pt x="0" y="0"/>
                  </a:lnTo>
                  <a:lnTo>
                    <a:pt x="0" y="24384"/>
                  </a:lnTo>
                  <a:lnTo>
                    <a:pt x="25895" y="24384"/>
                  </a:lnTo>
                  <a:lnTo>
                    <a:pt x="25895" y="0"/>
                  </a:lnTo>
                  <a:close/>
                </a:path>
                <a:path w="3581400" h="24764">
                  <a:moveTo>
                    <a:pt x="76187" y="0"/>
                  </a:moveTo>
                  <a:lnTo>
                    <a:pt x="50279" y="0"/>
                  </a:lnTo>
                  <a:lnTo>
                    <a:pt x="50279" y="24384"/>
                  </a:lnTo>
                  <a:lnTo>
                    <a:pt x="76187" y="24384"/>
                  </a:lnTo>
                  <a:lnTo>
                    <a:pt x="76187" y="0"/>
                  </a:lnTo>
                  <a:close/>
                </a:path>
                <a:path w="3581400" h="24764">
                  <a:moveTo>
                    <a:pt x="126479" y="0"/>
                  </a:moveTo>
                  <a:lnTo>
                    <a:pt x="102095" y="0"/>
                  </a:lnTo>
                  <a:lnTo>
                    <a:pt x="102095" y="24384"/>
                  </a:lnTo>
                  <a:lnTo>
                    <a:pt x="126479" y="24384"/>
                  </a:lnTo>
                  <a:lnTo>
                    <a:pt x="126479" y="0"/>
                  </a:lnTo>
                  <a:close/>
                </a:path>
                <a:path w="3581400" h="24764">
                  <a:moveTo>
                    <a:pt x="178282" y="0"/>
                  </a:moveTo>
                  <a:lnTo>
                    <a:pt x="152374" y="0"/>
                  </a:lnTo>
                  <a:lnTo>
                    <a:pt x="152374" y="24384"/>
                  </a:lnTo>
                  <a:lnTo>
                    <a:pt x="178282" y="24384"/>
                  </a:lnTo>
                  <a:lnTo>
                    <a:pt x="178282" y="0"/>
                  </a:lnTo>
                  <a:close/>
                </a:path>
                <a:path w="3581400" h="24764">
                  <a:moveTo>
                    <a:pt x="228574" y="0"/>
                  </a:moveTo>
                  <a:lnTo>
                    <a:pt x="202666" y="0"/>
                  </a:lnTo>
                  <a:lnTo>
                    <a:pt x="202666" y="24384"/>
                  </a:lnTo>
                  <a:lnTo>
                    <a:pt x="228574" y="24384"/>
                  </a:lnTo>
                  <a:lnTo>
                    <a:pt x="228574" y="0"/>
                  </a:lnTo>
                  <a:close/>
                </a:path>
                <a:path w="3581400" h="24764">
                  <a:moveTo>
                    <a:pt x="278866" y="0"/>
                  </a:moveTo>
                  <a:lnTo>
                    <a:pt x="254482" y="0"/>
                  </a:lnTo>
                  <a:lnTo>
                    <a:pt x="254482" y="24384"/>
                  </a:lnTo>
                  <a:lnTo>
                    <a:pt x="278866" y="24384"/>
                  </a:lnTo>
                  <a:lnTo>
                    <a:pt x="278866" y="0"/>
                  </a:lnTo>
                  <a:close/>
                </a:path>
                <a:path w="3581400" h="24764">
                  <a:moveTo>
                    <a:pt x="330669" y="0"/>
                  </a:moveTo>
                  <a:lnTo>
                    <a:pt x="304761" y="0"/>
                  </a:lnTo>
                  <a:lnTo>
                    <a:pt x="304761" y="24384"/>
                  </a:lnTo>
                  <a:lnTo>
                    <a:pt x="330669" y="24384"/>
                  </a:lnTo>
                  <a:lnTo>
                    <a:pt x="330669" y="0"/>
                  </a:lnTo>
                  <a:close/>
                </a:path>
                <a:path w="3581400" h="24764">
                  <a:moveTo>
                    <a:pt x="380961" y="0"/>
                  </a:moveTo>
                  <a:lnTo>
                    <a:pt x="355053" y="0"/>
                  </a:lnTo>
                  <a:lnTo>
                    <a:pt x="355053" y="24384"/>
                  </a:lnTo>
                  <a:lnTo>
                    <a:pt x="380961" y="24384"/>
                  </a:lnTo>
                  <a:lnTo>
                    <a:pt x="380961" y="0"/>
                  </a:lnTo>
                  <a:close/>
                </a:path>
                <a:path w="3581400" h="24764">
                  <a:moveTo>
                    <a:pt x="431253" y="0"/>
                  </a:moveTo>
                  <a:lnTo>
                    <a:pt x="406869" y="0"/>
                  </a:lnTo>
                  <a:lnTo>
                    <a:pt x="406869" y="24384"/>
                  </a:lnTo>
                  <a:lnTo>
                    <a:pt x="431253" y="24384"/>
                  </a:lnTo>
                  <a:lnTo>
                    <a:pt x="431253" y="0"/>
                  </a:lnTo>
                  <a:close/>
                </a:path>
                <a:path w="3581400" h="24764">
                  <a:moveTo>
                    <a:pt x="483057" y="0"/>
                  </a:moveTo>
                  <a:lnTo>
                    <a:pt x="457149" y="0"/>
                  </a:lnTo>
                  <a:lnTo>
                    <a:pt x="457149" y="24384"/>
                  </a:lnTo>
                  <a:lnTo>
                    <a:pt x="483057" y="24384"/>
                  </a:lnTo>
                  <a:lnTo>
                    <a:pt x="483057" y="0"/>
                  </a:lnTo>
                  <a:close/>
                </a:path>
                <a:path w="3581400" h="24764">
                  <a:moveTo>
                    <a:pt x="533349" y="0"/>
                  </a:moveTo>
                  <a:lnTo>
                    <a:pt x="507441" y="0"/>
                  </a:lnTo>
                  <a:lnTo>
                    <a:pt x="507441" y="24384"/>
                  </a:lnTo>
                  <a:lnTo>
                    <a:pt x="533349" y="24384"/>
                  </a:lnTo>
                  <a:lnTo>
                    <a:pt x="533349" y="0"/>
                  </a:lnTo>
                  <a:close/>
                </a:path>
                <a:path w="3581400" h="24764">
                  <a:moveTo>
                    <a:pt x="583641" y="0"/>
                  </a:moveTo>
                  <a:lnTo>
                    <a:pt x="559257" y="0"/>
                  </a:lnTo>
                  <a:lnTo>
                    <a:pt x="559257" y="24384"/>
                  </a:lnTo>
                  <a:lnTo>
                    <a:pt x="583641" y="24384"/>
                  </a:lnTo>
                  <a:lnTo>
                    <a:pt x="583641" y="0"/>
                  </a:lnTo>
                  <a:close/>
                </a:path>
                <a:path w="3581400" h="24764">
                  <a:moveTo>
                    <a:pt x="635457" y="0"/>
                  </a:moveTo>
                  <a:lnTo>
                    <a:pt x="609549" y="0"/>
                  </a:lnTo>
                  <a:lnTo>
                    <a:pt x="609549" y="24384"/>
                  </a:lnTo>
                  <a:lnTo>
                    <a:pt x="635457" y="24384"/>
                  </a:lnTo>
                  <a:lnTo>
                    <a:pt x="635457" y="0"/>
                  </a:lnTo>
                  <a:close/>
                </a:path>
                <a:path w="3581400" h="24764">
                  <a:moveTo>
                    <a:pt x="685749" y="0"/>
                  </a:moveTo>
                  <a:lnTo>
                    <a:pt x="659841" y="0"/>
                  </a:lnTo>
                  <a:lnTo>
                    <a:pt x="659841" y="24384"/>
                  </a:lnTo>
                  <a:lnTo>
                    <a:pt x="685749" y="24384"/>
                  </a:lnTo>
                  <a:lnTo>
                    <a:pt x="685749" y="0"/>
                  </a:lnTo>
                  <a:close/>
                </a:path>
                <a:path w="3581400" h="24764">
                  <a:moveTo>
                    <a:pt x="736028" y="0"/>
                  </a:moveTo>
                  <a:lnTo>
                    <a:pt x="711657" y="0"/>
                  </a:lnTo>
                  <a:lnTo>
                    <a:pt x="711657" y="24384"/>
                  </a:lnTo>
                  <a:lnTo>
                    <a:pt x="736028" y="24384"/>
                  </a:lnTo>
                  <a:lnTo>
                    <a:pt x="736028" y="0"/>
                  </a:lnTo>
                  <a:close/>
                </a:path>
                <a:path w="3581400" h="24764">
                  <a:moveTo>
                    <a:pt x="787844" y="0"/>
                  </a:moveTo>
                  <a:lnTo>
                    <a:pt x="761936" y="0"/>
                  </a:lnTo>
                  <a:lnTo>
                    <a:pt x="761936" y="24384"/>
                  </a:lnTo>
                  <a:lnTo>
                    <a:pt x="787844" y="24384"/>
                  </a:lnTo>
                  <a:lnTo>
                    <a:pt x="787844" y="0"/>
                  </a:lnTo>
                  <a:close/>
                </a:path>
                <a:path w="3581400" h="24764">
                  <a:moveTo>
                    <a:pt x="838136" y="0"/>
                  </a:moveTo>
                  <a:lnTo>
                    <a:pt x="812228" y="0"/>
                  </a:lnTo>
                  <a:lnTo>
                    <a:pt x="812228" y="24384"/>
                  </a:lnTo>
                  <a:lnTo>
                    <a:pt x="838136" y="24384"/>
                  </a:lnTo>
                  <a:lnTo>
                    <a:pt x="838136" y="0"/>
                  </a:lnTo>
                  <a:close/>
                </a:path>
                <a:path w="3581400" h="24764">
                  <a:moveTo>
                    <a:pt x="888415" y="0"/>
                  </a:moveTo>
                  <a:lnTo>
                    <a:pt x="864044" y="0"/>
                  </a:lnTo>
                  <a:lnTo>
                    <a:pt x="864044" y="24384"/>
                  </a:lnTo>
                  <a:lnTo>
                    <a:pt x="888415" y="24384"/>
                  </a:lnTo>
                  <a:lnTo>
                    <a:pt x="888415" y="0"/>
                  </a:lnTo>
                  <a:close/>
                </a:path>
                <a:path w="3581400" h="24764">
                  <a:moveTo>
                    <a:pt x="940231" y="0"/>
                  </a:moveTo>
                  <a:lnTo>
                    <a:pt x="914323" y="0"/>
                  </a:lnTo>
                  <a:lnTo>
                    <a:pt x="914323" y="24384"/>
                  </a:lnTo>
                  <a:lnTo>
                    <a:pt x="940231" y="24384"/>
                  </a:lnTo>
                  <a:lnTo>
                    <a:pt x="940231" y="0"/>
                  </a:lnTo>
                  <a:close/>
                </a:path>
                <a:path w="3581400" h="24764">
                  <a:moveTo>
                    <a:pt x="990523" y="0"/>
                  </a:moveTo>
                  <a:lnTo>
                    <a:pt x="964615" y="0"/>
                  </a:lnTo>
                  <a:lnTo>
                    <a:pt x="964615" y="24384"/>
                  </a:lnTo>
                  <a:lnTo>
                    <a:pt x="990523" y="24384"/>
                  </a:lnTo>
                  <a:lnTo>
                    <a:pt x="990523" y="0"/>
                  </a:lnTo>
                  <a:close/>
                </a:path>
                <a:path w="3581400" h="24764">
                  <a:moveTo>
                    <a:pt x="1040803" y="0"/>
                  </a:moveTo>
                  <a:lnTo>
                    <a:pt x="1016419" y="0"/>
                  </a:lnTo>
                  <a:lnTo>
                    <a:pt x="1016419" y="24384"/>
                  </a:lnTo>
                  <a:lnTo>
                    <a:pt x="1040803" y="24384"/>
                  </a:lnTo>
                  <a:lnTo>
                    <a:pt x="1040803" y="0"/>
                  </a:lnTo>
                  <a:close/>
                </a:path>
                <a:path w="3581400" h="24764">
                  <a:moveTo>
                    <a:pt x="1092619" y="0"/>
                  </a:moveTo>
                  <a:lnTo>
                    <a:pt x="1066711" y="0"/>
                  </a:lnTo>
                  <a:lnTo>
                    <a:pt x="1066711" y="24384"/>
                  </a:lnTo>
                  <a:lnTo>
                    <a:pt x="1092619" y="24384"/>
                  </a:lnTo>
                  <a:lnTo>
                    <a:pt x="1092619" y="0"/>
                  </a:lnTo>
                  <a:close/>
                </a:path>
                <a:path w="3581400" h="24764">
                  <a:moveTo>
                    <a:pt x="1142911" y="0"/>
                  </a:moveTo>
                  <a:lnTo>
                    <a:pt x="1117003" y="0"/>
                  </a:lnTo>
                  <a:lnTo>
                    <a:pt x="1117003" y="24384"/>
                  </a:lnTo>
                  <a:lnTo>
                    <a:pt x="1142911" y="24384"/>
                  </a:lnTo>
                  <a:lnTo>
                    <a:pt x="1142911" y="0"/>
                  </a:lnTo>
                  <a:close/>
                </a:path>
                <a:path w="3581400" h="24764">
                  <a:moveTo>
                    <a:pt x="1193190" y="0"/>
                  </a:moveTo>
                  <a:lnTo>
                    <a:pt x="1168806" y="0"/>
                  </a:lnTo>
                  <a:lnTo>
                    <a:pt x="1168806" y="24384"/>
                  </a:lnTo>
                  <a:lnTo>
                    <a:pt x="1193190" y="24384"/>
                  </a:lnTo>
                  <a:lnTo>
                    <a:pt x="1193190" y="0"/>
                  </a:lnTo>
                  <a:close/>
                </a:path>
                <a:path w="3581400" h="24764">
                  <a:moveTo>
                    <a:pt x="1245006" y="0"/>
                  </a:moveTo>
                  <a:lnTo>
                    <a:pt x="1219098" y="0"/>
                  </a:lnTo>
                  <a:lnTo>
                    <a:pt x="1219098" y="24384"/>
                  </a:lnTo>
                  <a:lnTo>
                    <a:pt x="1245006" y="24384"/>
                  </a:lnTo>
                  <a:lnTo>
                    <a:pt x="1245006" y="0"/>
                  </a:lnTo>
                  <a:close/>
                </a:path>
                <a:path w="3581400" h="24764">
                  <a:moveTo>
                    <a:pt x="1295285" y="0"/>
                  </a:moveTo>
                  <a:lnTo>
                    <a:pt x="1269390" y="0"/>
                  </a:lnTo>
                  <a:lnTo>
                    <a:pt x="1269390" y="24384"/>
                  </a:lnTo>
                  <a:lnTo>
                    <a:pt x="1295285" y="24384"/>
                  </a:lnTo>
                  <a:lnTo>
                    <a:pt x="1295285" y="0"/>
                  </a:lnTo>
                  <a:close/>
                </a:path>
                <a:path w="3581400" h="24764">
                  <a:moveTo>
                    <a:pt x="1345577" y="0"/>
                  </a:moveTo>
                  <a:lnTo>
                    <a:pt x="1321193" y="0"/>
                  </a:lnTo>
                  <a:lnTo>
                    <a:pt x="1321193" y="24384"/>
                  </a:lnTo>
                  <a:lnTo>
                    <a:pt x="1345577" y="24384"/>
                  </a:lnTo>
                  <a:lnTo>
                    <a:pt x="1345577" y="0"/>
                  </a:lnTo>
                  <a:close/>
                </a:path>
                <a:path w="3581400" h="24764">
                  <a:moveTo>
                    <a:pt x="1397393" y="0"/>
                  </a:moveTo>
                  <a:lnTo>
                    <a:pt x="1371485" y="0"/>
                  </a:lnTo>
                  <a:lnTo>
                    <a:pt x="1371485" y="24384"/>
                  </a:lnTo>
                  <a:lnTo>
                    <a:pt x="1397393" y="24384"/>
                  </a:lnTo>
                  <a:lnTo>
                    <a:pt x="1397393" y="0"/>
                  </a:lnTo>
                  <a:close/>
                </a:path>
                <a:path w="3581400" h="24764">
                  <a:moveTo>
                    <a:pt x="1447673" y="0"/>
                  </a:moveTo>
                  <a:lnTo>
                    <a:pt x="1421777" y="0"/>
                  </a:lnTo>
                  <a:lnTo>
                    <a:pt x="1421777" y="24384"/>
                  </a:lnTo>
                  <a:lnTo>
                    <a:pt x="1447673" y="24384"/>
                  </a:lnTo>
                  <a:lnTo>
                    <a:pt x="1447673" y="0"/>
                  </a:lnTo>
                  <a:close/>
                </a:path>
                <a:path w="3581400" h="24764">
                  <a:moveTo>
                    <a:pt x="1497965" y="0"/>
                  </a:moveTo>
                  <a:lnTo>
                    <a:pt x="1473581" y="0"/>
                  </a:lnTo>
                  <a:lnTo>
                    <a:pt x="1473581" y="24384"/>
                  </a:lnTo>
                  <a:lnTo>
                    <a:pt x="1497965" y="24384"/>
                  </a:lnTo>
                  <a:lnTo>
                    <a:pt x="1497965" y="0"/>
                  </a:lnTo>
                  <a:close/>
                </a:path>
                <a:path w="3581400" h="24764">
                  <a:moveTo>
                    <a:pt x="1549781" y="0"/>
                  </a:moveTo>
                  <a:lnTo>
                    <a:pt x="1523873" y="0"/>
                  </a:lnTo>
                  <a:lnTo>
                    <a:pt x="1523873" y="24384"/>
                  </a:lnTo>
                  <a:lnTo>
                    <a:pt x="1549781" y="24384"/>
                  </a:lnTo>
                  <a:lnTo>
                    <a:pt x="1549781" y="0"/>
                  </a:lnTo>
                  <a:close/>
                </a:path>
                <a:path w="3581400" h="24764">
                  <a:moveTo>
                    <a:pt x="1600060" y="0"/>
                  </a:moveTo>
                  <a:lnTo>
                    <a:pt x="1574165" y="0"/>
                  </a:lnTo>
                  <a:lnTo>
                    <a:pt x="1574165" y="24384"/>
                  </a:lnTo>
                  <a:lnTo>
                    <a:pt x="1600060" y="24384"/>
                  </a:lnTo>
                  <a:lnTo>
                    <a:pt x="1600060" y="0"/>
                  </a:lnTo>
                  <a:close/>
                </a:path>
                <a:path w="3581400" h="24764">
                  <a:moveTo>
                    <a:pt x="1650352" y="0"/>
                  </a:moveTo>
                  <a:lnTo>
                    <a:pt x="1625968" y="0"/>
                  </a:lnTo>
                  <a:lnTo>
                    <a:pt x="1625968" y="24384"/>
                  </a:lnTo>
                  <a:lnTo>
                    <a:pt x="1650352" y="24384"/>
                  </a:lnTo>
                  <a:lnTo>
                    <a:pt x="1650352" y="0"/>
                  </a:lnTo>
                  <a:close/>
                </a:path>
                <a:path w="3581400" h="24764">
                  <a:moveTo>
                    <a:pt x="1702168" y="0"/>
                  </a:moveTo>
                  <a:lnTo>
                    <a:pt x="1676260" y="0"/>
                  </a:lnTo>
                  <a:lnTo>
                    <a:pt x="1676260" y="24384"/>
                  </a:lnTo>
                  <a:lnTo>
                    <a:pt x="1702168" y="24384"/>
                  </a:lnTo>
                  <a:lnTo>
                    <a:pt x="1702168" y="0"/>
                  </a:lnTo>
                  <a:close/>
                </a:path>
                <a:path w="3581400" h="24764">
                  <a:moveTo>
                    <a:pt x="1752447" y="0"/>
                  </a:moveTo>
                  <a:lnTo>
                    <a:pt x="1726539" y="0"/>
                  </a:lnTo>
                  <a:lnTo>
                    <a:pt x="1726539" y="24384"/>
                  </a:lnTo>
                  <a:lnTo>
                    <a:pt x="1752447" y="24384"/>
                  </a:lnTo>
                  <a:lnTo>
                    <a:pt x="1752447" y="0"/>
                  </a:lnTo>
                  <a:close/>
                </a:path>
                <a:path w="3581400" h="24764">
                  <a:moveTo>
                    <a:pt x="1802739" y="0"/>
                  </a:moveTo>
                  <a:lnTo>
                    <a:pt x="1778355" y="0"/>
                  </a:lnTo>
                  <a:lnTo>
                    <a:pt x="1778355" y="24384"/>
                  </a:lnTo>
                  <a:lnTo>
                    <a:pt x="1802739" y="24384"/>
                  </a:lnTo>
                  <a:lnTo>
                    <a:pt x="1802739" y="0"/>
                  </a:lnTo>
                  <a:close/>
                </a:path>
                <a:path w="3581400" h="24764">
                  <a:moveTo>
                    <a:pt x="1854555" y="0"/>
                  </a:moveTo>
                  <a:lnTo>
                    <a:pt x="1828647" y="0"/>
                  </a:lnTo>
                  <a:lnTo>
                    <a:pt x="1828647" y="24384"/>
                  </a:lnTo>
                  <a:lnTo>
                    <a:pt x="1854555" y="24384"/>
                  </a:lnTo>
                  <a:lnTo>
                    <a:pt x="1854555" y="0"/>
                  </a:lnTo>
                  <a:close/>
                </a:path>
                <a:path w="3581400" h="24764">
                  <a:moveTo>
                    <a:pt x="1904834" y="0"/>
                  </a:moveTo>
                  <a:lnTo>
                    <a:pt x="1878926" y="0"/>
                  </a:lnTo>
                  <a:lnTo>
                    <a:pt x="1878926" y="24384"/>
                  </a:lnTo>
                  <a:lnTo>
                    <a:pt x="1904834" y="24384"/>
                  </a:lnTo>
                  <a:lnTo>
                    <a:pt x="1904834" y="0"/>
                  </a:lnTo>
                  <a:close/>
                </a:path>
                <a:path w="3581400" h="24764">
                  <a:moveTo>
                    <a:pt x="1955126" y="0"/>
                  </a:moveTo>
                  <a:lnTo>
                    <a:pt x="1930742" y="0"/>
                  </a:lnTo>
                  <a:lnTo>
                    <a:pt x="1930742" y="24384"/>
                  </a:lnTo>
                  <a:lnTo>
                    <a:pt x="1955126" y="24384"/>
                  </a:lnTo>
                  <a:lnTo>
                    <a:pt x="1955126" y="0"/>
                  </a:lnTo>
                  <a:close/>
                </a:path>
                <a:path w="3581400" h="24764">
                  <a:moveTo>
                    <a:pt x="2006930" y="0"/>
                  </a:moveTo>
                  <a:lnTo>
                    <a:pt x="1981034" y="0"/>
                  </a:lnTo>
                  <a:lnTo>
                    <a:pt x="1981034" y="24384"/>
                  </a:lnTo>
                  <a:lnTo>
                    <a:pt x="2006930" y="24384"/>
                  </a:lnTo>
                  <a:lnTo>
                    <a:pt x="2006930" y="0"/>
                  </a:lnTo>
                  <a:close/>
                </a:path>
                <a:path w="3581400" h="24764">
                  <a:moveTo>
                    <a:pt x="2057222" y="0"/>
                  </a:moveTo>
                  <a:lnTo>
                    <a:pt x="2031314" y="0"/>
                  </a:lnTo>
                  <a:lnTo>
                    <a:pt x="2031314" y="24384"/>
                  </a:lnTo>
                  <a:lnTo>
                    <a:pt x="2057222" y="24384"/>
                  </a:lnTo>
                  <a:lnTo>
                    <a:pt x="2057222" y="0"/>
                  </a:lnTo>
                  <a:close/>
                </a:path>
                <a:path w="3581400" h="24764">
                  <a:moveTo>
                    <a:pt x="2107527" y="0"/>
                  </a:moveTo>
                  <a:lnTo>
                    <a:pt x="2083142" y="0"/>
                  </a:lnTo>
                  <a:lnTo>
                    <a:pt x="2083142" y="24384"/>
                  </a:lnTo>
                  <a:lnTo>
                    <a:pt x="2107527" y="24384"/>
                  </a:lnTo>
                  <a:lnTo>
                    <a:pt x="2107527" y="0"/>
                  </a:lnTo>
                  <a:close/>
                </a:path>
                <a:path w="3581400" h="24764">
                  <a:moveTo>
                    <a:pt x="2159317" y="0"/>
                  </a:moveTo>
                  <a:lnTo>
                    <a:pt x="2133435" y="0"/>
                  </a:lnTo>
                  <a:lnTo>
                    <a:pt x="2133435" y="24384"/>
                  </a:lnTo>
                  <a:lnTo>
                    <a:pt x="2159317" y="24384"/>
                  </a:lnTo>
                  <a:lnTo>
                    <a:pt x="2159317" y="0"/>
                  </a:lnTo>
                  <a:close/>
                </a:path>
                <a:path w="3581400" h="24764">
                  <a:moveTo>
                    <a:pt x="2209609" y="0"/>
                  </a:moveTo>
                  <a:lnTo>
                    <a:pt x="2183701" y="0"/>
                  </a:lnTo>
                  <a:lnTo>
                    <a:pt x="2183701" y="24384"/>
                  </a:lnTo>
                  <a:lnTo>
                    <a:pt x="2209609" y="24384"/>
                  </a:lnTo>
                  <a:lnTo>
                    <a:pt x="2209609" y="0"/>
                  </a:lnTo>
                  <a:close/>
                </a:path>
                <a:path w="3581400" h="24764">
                  <a:moveTo>
                    <a:pt x="2259901" y="0"/>
                  </a:moveTo>
                  <a:lnTo>
                    <a:pt x="2235517" y="0"/>
                  </a:lnTo>
                  <a:lnTo>
                    <a:pt x="2235517" y="24384"/>
                  </a:lnTo>
                  <a:lnTo>
                    <a:pt x="2259901" y="24384"/>
                  </a:lnTo>
                  <a:lnTo>
                    <a:pt x="2259901" y="0"/>
                  </a:lnTo>
                  <a:close/>
                </a:path>
                <a:path w="3581400" h="24764">
                  <a:moveTo>
                    <a:pt x="2311717" y="0"/>
                  </a:moveTo>
                  <a:lnTo>
                    <a:pt x="2285809" y="0"/>
                  </a:lnTo>
                  <a:lnTo>
                    <a:pt x="2285809" y="24384"/>
                  </a:lnTo>
                  <a:lnTo>
                    <a:pt x="2311717" y="24384"/>
                  </a:lnTo>
                  <a:lnTo>
                    <a:pt x="2311717" y="0"/>
                  </a:lnTo>
                  <a:close/>
                </a:path>
                <a:path w="3581400" h="24764">
                  <a:moveTo>
                    <a:pt x="2362009" y="0"/>
                  </a:moveTo>
                  <a:lnTo>
                    <a:pt x="2336101" y="0"/>
                  </a:lnTo>
                  <a:lnTo>
                    <a:pt x="2336101" y="24384"/>
                  </a:lnTo>
                  <a:lnTo>
                    <a:pt x="2362009" y="24384"/>
                  </a:lnTo>
                  <a:lnTo>
                    <a:pt x="2362009" y="0"/>
                  </a:lnTo>
                  <a:close/>
                </a:path>
                <a:path w="3581400" h="24764">
                  <a:moveTo>
                    <a:pt x="2412301" y="0"/>
                  </a:moveTo>
                  <a:lnTo>
                    <a:pt x="2387917" y="0"/>
                  </a:lnTo>
                  <a:lnTo>
                    <a:pt x="2387917" y="24384"/>
                  </a:lnTo>
                  <a:lnTo>
                    <a:pt x="2412301" y="24384"/>
                  </a:lnTo>
                  <a:lnTo>
                    <a:pt x="2412301" y="0"/>
                  </a:lnTo>
                  <a:close/>
                </a:path>
                <a:path w="3581400" h="24764">
                  <a:moveTo>
                    <a:pt x="2464079" y="0"/>
                  </a:moveTo>
                  <a:lnTo>
                    <a:pt x="2438171" y="0"/>
                  </a:lnTo>
                  <a:lnTo>
                    <a:pt x="2438171" y="24384"/>
                  </a:lnTo>
                  <a:lnTo>
                    <a:pt x="2464079" y="24384"/>
                  </a:lnTo>
                  <a:lnTo>
                    <a:pt x="2464079" y="0"/>
                  </a:lnTo>
                  <a:close/>
                </a:path>
                <a:path w="3581400" h="24764">
                  <a:moveTo>
                    <a:pt x="2514371" y="0"/>
                  </a:moveTo>
                  <a:lnTo>
                    <a:pt x="2488463" y="0"/>
                  </a:lnTo>
                  <a:lnTo>
                    <a:pt x="2488463" y="24384"/>
                  </a:lnTo>
                  <a:lnTo>
                    <a:pt x="2514371" y="24384"/>
                  </a:lnTo>
                  <a:lnTo>
                    <a:pt x="2514371" y="0"/>
                  </a:lnTo>
                  <a:close/>
                </a:path>
                <a:path w="3581400" h="24764">
                  <a:moveTo>
                    <a:pt x="2564663" y="0"/>
                  </a:moveTo>
                  <a:lnTo>
                    <a:pt x="2540279" y="0"/>
                  </a:lnTo>
                  <a:lnTo>
                    <a:pt x="2540279" y="24384"/>
                  </a:lnTo>
                  <a:lnTo>
                    <a:pt x="2564663" y="24384"/>
                  </a:lnTo>
                  <a:lnTo>
                    <a:pt x="2564663" y="0"/>
                  </a:lnTo>
                  <a:close/>
                </a:path>
                <a:path w="3581400" h="24764">
                  <a:moveTo>
                    <a:pt x="2616479" y="0"/>
                  </a:moveTo>
                  <a:lnTo>
                    <a:pt x="2590571" y="0"/>
                  </a:lnTo>
                  <a:lnTo>
                    <a:pt x="2590571" y="24384"/>
                  </a:lnTo>
                  <a:lnTo>
                    <a:pt x="2616479" y="24384"/>
                  </a:lnTo>
                  <a:lnTo>
                    <a:pt x="2616479" y="0"/>
                  </a:lnTo>
                  <a:close/>
                </a:path>
                <a:path w="3581400" h="24764">
                  <a:moveTo>
                    <a:pt x="2666771" y="0"/>
                  </a:moveTo>
                  <a:lnTo>
                    <a:pt x="2640863" y="0"/>
                  </a:lnTo>
                  <a:lnTo>
                    <a:pt x="2640863" y="24384"/>
                  </a:lnTo>
                  <a:lnTo>
                    <a:pt x="2666771" y="24384"/>
                  </a:lnTo>
                  <a:lnTo>
                    <a:pt x="2666771" y="0"/>
                  </a:lnTo>
                  <a:close/>
                </a:path>
                <a:path w="3581400" h="24764">
                  <a:moveTo>
                    <a:pt x="2717063" y="0"/>
                  </a:moveTo>
                  <a:lnTo>
                    <a:pt x="2692679" y="0"/>
                  </a:lnTo>
                  <a:lnTo>
                    <a:pt x="2692679" y="24384"/>
                  </a:lnTo>
                  <a:lnTo>
                    <a:pt x="2717063" y="24384"/>
                  </a:lnTo>
                  <a:lnTo>
                    <a:pt x="2717063" y="0"/>
                  </a:lnTo>
                  <a:close/>
                </a:path>
                <a:path w="3581400" h="24764">
                  <a:moveTo>
                    <a:pt x="2768879" y="0"/>
                  </a:moveTo>
                  <a:lnTo>
                    <a:pt x="2742971" y="0"/>
                  </a:lnTo>
                  <a:lnTo>
                    <a:pt x="2742971" y="24384"/>
                  </a:lnTo>
                  <a:lnTo>
                    <a:pt x="2768879" y="24384"/>
                  </a:lnTo>
                  <a:lnTo>
                    <a:pt x="2768879" y="0"/>
                  </a:lnTo>
                  <a:close/>
                </a:path>
                <a:path w="3581400" h="24764">
                  <a:moveTo>
                    <a:pt x="2819171" y="0"/>
                  </a:moveTo>
                  <a:lnTo>
                    <a:pt x="2793263" y="0"/>
                  </a:lnTo>
                  <a:lnTo>
                    <a:pt x="2793263" y="24384"/>
                  </a:lnTo>
                  <a:lnTo>
                    <a:pt x="2819171" y="24384"/>
                  </a:lnTo>
                  <a:lnTo>
                    <a:pt x="2819171" y="0"/>
                  </a:lnTo>
                  <a:close/>
                </a:path>
                <a:path w="3581400" h="24764">
                  <a:moveTo>
                    <a:pt x="2869438" y="0"/>
                  </a:moveTo>
                  <a:lnTo>
                    <a:pt x="2845079" y="0"/>
                  </a:lnTo>
                  <a:lnTo>
                    <a:pt x="2845079" y="24384"/>
                  </a:lnTo>
                  <a:lnTo>
                    <a:pt x="2869438" y="24384"/>
                  </a:lnTo>
                  <a:lnTo>
                    <a:pt x="2869438" y="0"/>
                  </a:lnTo>
                  <a:close/>
                </a:path>
                <a:path w="3581400" h="24764">
                  <a:moveTo>
                    <a:pt x="2921254" y="0"/>
                  </a:moveTo>
                  <a:lnTo>
                    <a:pt x="2895346" y="0"/>
                  </a:lnTo>
                  <a:lnTo>
                    <a:pt x="2895346" y="24384"/>
                  </a:lnTo>
                  <a:lnTo>
                    <a:pt x="2921254" y="24384"/>
                  </a:lnTo>
                  <a:lnTo>
                    <a:pt x="2921254" y="0"/>
                  </a:lnTo>
                  <a:close/>
                </a:path>
                <a:path w="3581400" h="24764">
                  <a:moveTo>
                    <a:pt x="2971546" y="0"/>
                  </a:moveTo>
                  <a:lnTo>
                    <a:pt x="2945638" y="0"/>
                  </a:lnTo>
                  <a:lnTo>
                    <a:pt x="2945638" y="24384"/>
                  </a:lnTo>
                  <a:lnTo>
                    <a:pt x="2971546" y="24384"/>
                  </a:lnTo>
                  <a:lnTo>
                    <a:pt x="2971546" y="0"/>
                  </a:lnTo>
                  <a:close/>
                </a:path>
                <a:path w="3581400" h="24764">
                  <a:moveTo>
                    <a:pt x="3021838" y="0"/>
                  </a:moveTo>
                  <a:lnTo>
                    <a:pt x="2997454" y="0"/>
                  </a:lnTo>
                  <a:lnTo>
                    <a:pt x="2997454" y="24384"/>
                  </a:lnTo>
                  <a:lnTo>
                    <a:pt x="3021838" y="24384"/>
                  </a:lnTo>
                  <a:lnTo>
                    <a:pt x="3021838" y="0"/>
                  </a:lnTo>
                  <a:close/>
                </a:path>
                <a:path w="3581400" h="24764">
                  <a:moveTo>
                    <a:pt x="3073654" y="0"/>
                  </a:moveTo>
                  <a:lnTo>
                    <a:pt x="3047746" y="0"/>
                  </a:lnTo>
                  <a:lnTo>
                    <a:pt x="3047746" y="24384"/>
                  </a:lnTo>
                  <a:lnTo>
                    <a:pt x="3073654" y="24384"/>
                  </a:lnTo>
                  <a:lnTo>
                    <a:pt x="3073654" y="0"/>
                  </a:lnTo>
                  <a:close/>
                </a:path>
                <a:path w="3581400" h="24764">
                  <a:moveTo>
                    <a:pt x="3123946" y="0"/>
                  </a:moveTo>
                  <a:lnTo>
                    <a:pt x="3098038" y="0"/>
                  </a:lnTo>
                  <a:lnTo>
                    <a:pt x="3098038" y="24384"/>
                  </a:lnTo>
                  <a:lnTo>
                    <a:pt x="3123946" y="24384"/>
                  </a:lnTo>
                  <a:lnTo>
                    <a:pt x="3123946" y="0"/>
                  </a:lnTo>
                  <a:close/>
                </a:path>
                <a:path w="3581400" h="24764">
                  <a:moveTo>
                    <a:pt x="3174212" y="0"/>
                  </a:moveTo>
                  <a:lnTo>
                    <a:pt x="3149828" y="0"/>
                  </a:lnTo>
                  <a:lnTo>
                    <a:pt x="3149828" y="24384"/>
                  </a:lnTo>
                  <a:lnTo>
                    <a:pt x="3174212" y="24384"/>
                  </a:lnTo>
                  <a:lnTo>
                    <a:pt x="3174212" y="0"/>
                  </a:lnTo>
                  <a:close/>
                </a:path>
                <a:path w="3581400" h="24764">
                  <a:moveTo>
                    <a:pt x="3226028" y="0"/>
                  </a:moveTo>
                  <a:lnTo>
                    <a:pt x="3200120" y="0"/>
                  </a:lnTo>
                  <a:lnTo>
                    <a:pt x="3200120" y="24384"/>
                  </a:lnTo>
                  <a:lnTo>
                    <a:pt x="3226028" y="24384"/>
                  </a:lnTo>
                  <a:lnTo>
                    <a:pt x="3226028" y="0"/>
                  </a:lnTo>
                  <a:close/>
                </a:path>
                <a:path w="3581400" h="24764">
                  <a:moveTo>
                    <a:pt x="3276320" y="0"/>
                  </a:moveTo>
                  <a:lnTo>
                    <a:pt x="3250412" y="0"/>
                  </a:lnTo>
                  <a:lnTo>
                    <a:pt x="3250412" y="24384"/>
                  </a:lnTo>
                  <a:lnTo>
                    <a:pt x="3276320" y="24384"/>
                  </a:lnTo>
                  <a:lnTo>
                    <a:pt x="3276320" y="0"/>
                  </a:lnTo>
                  <a:close/>
                </a:path>
                <a:path w="3581400" h="24764">
                  <a:moveTo>
                    <a:pt x="3326612" y="0"/>
                  </a:moveTo>
                  <a:lnTo>
                    <a:pt x="3302228" y="0"/>
                  </a:lnTo>
                  <a:lnTo>
                    <a:pt x="3302228" y="24384"/>
                  </a:lnTo>
                  <a:lnTo>
                    <a:pt x="3326612" y="24384"/>
                  </a:lnTo>
                  <a:lnTo>
                    <a:pt x="3326612" y="0"/>
                  </a:lnTo>
                  <a:close/>
                </a:path>
                <a:path w="3581400" h="24764">
                  <a:moveTo>
                    <a:pt x="3378428" y="0"/>
                  </a:moveTo>
                  <a:lnTo>
                    <a:pt x="3352520" y="0"/>
                  </a:lnTo>
                  <a:lnTo>
                    <a:pt x="3352520" y="24384"/>
                  </a:lnTo>
                  <a:lnTo>
                    <a:pt x="3378428" y="24384"/>
                  </a:lnTo>
                  <a:lnTo>
                    <a:pt x="3378428" y="0"/>
                  </a:lnTo>
                  <a:close/>
                </a:path>
                <a:path w="3581400" h="24764">
                  <a:moveTo>
                    <a:pt x="3428720" y="0"/>
                  </a:moveTo>
                  <a:lnTo>
                    <a:pt x="3402812" y="0"/>
                  </a:lnTo>
                  <a:lnTo>
                    <a:pt x="3402812" y="24384"/>
                  </a:lnTo>
                  <a:lnTo>
                    <a:pt x="3428720" y="24384"/>
                  </a:lnTo>
                  <a:lnTo>
                    <a:pt x="3428720" y="0"/>
                  </a:lnTo>
                  <a:close/>
                </a:path>
                <a:path w="3581400" h="24764">
                  <a:moveTo>
                    <a:pt x="3479012" y="0"/>
                  </a:moveTo>
                  <a:lnTo>
                    <a:pt x="3454628" y="0"/>
                  </a:lnTo>
                  <a:lnTo>
                    <a:pt x="3454628" y="24384"/>
                  </a:lnTo>
                  <a:lnTo>
                    <a:pt x="3479012" y="24384"/>
                  </a:lnTo>
                  <a:lnTo>
                    <a:pt x="3479012" y="0"/>
                  </a:lnTo>
                  <a:close/>
                </a:path>
                <a:path w="3581400" h="24764">
                  <a:moveTo>
                    <a:pt x="3530828" y="0"/>
                  </a:moveTo>
                  <a:lnTo>
                    <a:pt x="3504920" y="0"/>
                  </a:lnTo>
                  <a:lnTo>
                    <a:pt x="3504920" y="24384"/>
                  </a:lnTo>
                  <a:lnTo>
                    <a:pt x="3530828" y="24384"/>
                  </a:lnTo>
                  <a:lnTo>
                    <a:pt x="3530828" y="0"/>
                  </a:lnTo>
                  <a:close/>
                </a:path>
                <a:path w="3581400" h="24764">
                  <a:moveTo>
                    <a:pt x="3581082" y="0"/>
                  </a:moveTo>
                  <a:lnTo>
                    <a:pt x="3555212" y="0"/>
                  </a:lnTo>
                  <a:lnTo>
                    <a:pt x="3555212" y="24384"/>
                  </a:lnTo>
                  <a:lnTo>
                    <a:pt x="3581082" y="24384"/>
                  </a:lnTo>
                  <a:lnTo>
                    <a:pt x="3581082" y="0"/>
                  </a:lnTo>
                  <a:close/>
                </a:path>
              </a:pathLst>
            </a:custGeom>
            <a:solidFill>
              <a:srgbClr val="0098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4534052" y="4172864"/>
              <a:ext cx="3581400" cy="24765"/>
            </a:xfrm>
            <a:custGeom>
              <a:avLst/>
              <a:gdLst/>
              <a:ahLst/>
              <a:cxnLst/>
              <a:rect l="l" t="t" r="r" b="b"/>
              <a:pathLst>
                <a:path w="3581400" h="24764">
                  <a:moveTo>
                    <a:pt x="25869" y="0"/>
                  </a:moveTo>
                  <a:lnTo>
                    <a:pt x="0" y="0"/>
                  </a:lnTo>
                  <a:lnTo>
                    <a:pt x="0" y="24384"/>
                  </a:lnTo>
                  <a:lnTo>
                    <a:pt x="25869" y="24384"/>
                  </a:lnTo>
                  <a:lnTo>
                    <a:pt x="25869" y="0"/>
                  </a:lnTo>
                  <a:close/>
                </a:path>
                <a:path w="3581400" h="24764">
                  <a:moveTo>
                    <a:pt x="76161" y="0"/>
                  </a:moveTo>
                  <a:lnTo>
                    <a:pt x="51777" y="0"/>
                  </a:lnTo>
                  <a:lnTo>
                    <a:pt x="51777" y="24384"/>
                  </a:lnTo>
                  <a:lnTo>
                    <a:pt x="76161" y="24384"/>
                  </a:lnTo>
                  <a:lnTo>
                    <a:pt x="76161" y="0"/>
                  </a:lnTo>
                  <a:close/>
                </a:path>
                <a:path w="3581400" h="24764">
                  <a:moveTo>
                    <a:pt x="127977" y="0"/>
                  </a:moveTo>
                  <a:lnTo>
                    <a:pt x="102069" y="0"/>
                  </a:lnTo>
                  <a:lnTo>
                    <a:pt x="102069" y="24384"/>
                  </a:lnTo>
                  <a:lnTo>
                    <a:pt x="127977" y="24384"/>
                  </a:lnTo>
                  <a:lnTo>
                    <a:pt x="127977" y="0"/>
                  </a:lnTo>
                  <a:close/>
                </a:path>
                <a:path w="3581400" h="24764">
                  <a:moveTo>
                    <a:pt x="178269" y="0"/>
                  </a:moveTo>
                  <a:lnTo>
                    <a:pt x="152361" y="0"/>
                  </a:lnTo>
                  <a:lnTo>
                    <a:pt x="152361" y="24384"/>
                  </a:lnTo>
                  <a:lnTo>
                    <a:pt x="178269" y="24384"/>
                  </a:lnTo>
                  <a:lnTo>
                    <a:pt x="178269" y="0"/>
                  </a:lnTo>
                  <a:close/>
                </a:path>
                <a:path w="3581400" h="24764">
                  <a:moveTo>
                    <a:pt x="228561" y="0"/>
                  </a:moveTo>
                  <a:lnTo>
                    <a:pt x="204177" y="0"/>
                  </a:lnTo>
                  <a:lnTo>
                    <a:pt x="204177" y="24384"/>
                  </a:lnTo>
                  <a:lnTo>
                    <a:pt x="228561" y="24384"/>
                  </a:lnTo>
                  <a:lnTo>
                    <a:pt x="228561" y="0"/>
                  </a:lnTo>
                  <a:close/>
                </a:path>
                <a:path w="3581400" h="24764">
                  <a:moveTo>
                    <a:pt x="280377" y="0"/>
                  </a:moveTo>
                  <a:lnTo>
                    <a:pt x="254469" y="0"/>
                  </a:lnTo>
                  <a:lnTo>
                    <a:pt x="254469" y="24384"/>
                  </a:lnTo>
                  <a:lnTo>
                    <a:pt x="280377" y="24384"/>
                  </a:lnTo>
                  <a:lnTo>
                    <a:pt x="280377" y="0"/>
                  </a:lnTo>
                  <a:close/>
                </a:path>
                <a:path w="3581400" h="24764">
                  <a:moveTo>
                    <a:pt x="330669" y="0"/>
                  </a:moveTo>
                  <a:lnTo>
                    <a:pt x="304761" y="0"/>
                  </a:lnTo>
                  <a:lnTo>
                    <a:pt x="304761" y="24384"/>
                  </a:lnTo>
                  <a:lnTo>
                    <a:pt x="330669" y="24384"/>
                  </a:lnTo>
                  <a:lnTo>
                    <a:pt x="330669" y="0"/>
                  </a:lnTo>
                  <a:close/>
                </a:path>
                <a:path w="3581400" h="24764">
                  <a:moveTo>
                    <a:pt x="380961" y="0"/>
                  </a:moveTo>
                  <a:lnTo>
                    <a:pt x="356577" y="0"/>
                  </a:lnTo>
                  <a:lnTo>
                    <a:pt x="356577" y="24384"/>
                  </a:lnTo>
                  <a:lnTo>
                    <a:pt x="380961" y="24384"/>
                  </a:lnTo>
                  <a:lnTo>
                    <a:pt x="380961" y="0"/>
                  </a:lnTo>
                  <a:close/>
                </a:path>
                <a:path w="3581400" h="24764">
                  <a:moveTo>
                    <a:pt x="432777" y="0"/>
                  </a:moveTo>
                  <a:lnTo>
                    <a:pt x="406869" y="0"/>
                  </a:lnTo>
                  <a:lnTo>
                    <a:pt x="406869" y="24384"/>
                  </a:lnTo>
                  <a:lnTo>
                    <a:pt x="432777" y="24384"/>
                  </a:lnTo>
                  <a:lnTo>
                    <a:pt x="432777" y="0"/>
                  </a:lnTo>
                  <a:close/>
                </a:path>
                <a:path w="3581400" h="24764">
                  <a:moveTo>
                    <a:pt x="483044" y="0"/>
                  </a:moveTo>
                  <a:lnTo>
                    <a:pt x="457136" y="0"/>
                  </a:lnTo>
                  <a:lnTo>
                    <a:pt x="457136" y="24384"/>
                  </a:lnTo>
                  <a:lnTo>
                    <a:pt x="483044" y="24384"/>
                  </a:lnTo>
                  <a:lnTo>
                    <a:pt x="483044" y="0"/>
                  </a:lnTo>
                  <a:close/>
                </a:path>
                <a:path w="3581400" h="24764">
                  <a:moveTo>
                    <a:pt x="533336" y="0"/>
                  </a:moveTo>
                  <a:lnTo>
                    <a:pt x="508952" y="0"/>
                  </a:lnTo>
                  <a:lnTo>
                    <a:pt x="508952" y="24384"/>
                  </a:lnTo>
                  <a:lnTo>
                    <a:pt x="533336" y="24384"/>
                  </a:lnTo>
                  <a:lnTo>
                    <a:pt x="533336" y="0"/>
                  </a:lnTo>
                  <a:close/>
                </a:path>
                <a:path w="3581400" h="24764">
                  <a:moveTo>
                    <a:pt x="585152" y="0"/>
                  </a:moveTo>
                  <a:lnTo>
                    <a:pt x="559244" y="0"/>
                  </a:lnTo>
                  <a:lnTo>
                    <a:pt x="559244" y="24384"/>
                  </a:lnTo>
                  <a:lnTo>
                    <a:pt x="585152" y="24384"/>
                  </a:lnTo>
                  <a:lnTo>
                    <a:pt x="585152" y="0"/>
                  </a:lnTo>
                  <a:close/>
                </a:path>
                <a:path w="3581400" h="24764">
                  <a:moveTo>
                    <a:pt x="635444" y="0"/>
                  </a:moveTo>
                  <a:lnTo>
                    <a:pt x="609536" y="0"/>
                  </a:lnTo>
                  <a:lnTo>
                    <a:pt x="609536" y="24384"/>
                  </a:lnTo>
                  <a:lnTo>
                    <a:pt x="635444" y="24384"/>
                  </a:lnTo>
                  <a:lnTo>
                    <a:pt x="635444" y="0"/>
                  </a:lnTo>
                  <a:close/>
                </a:path>
                <a:path w="3581400" h="24764">
                  <a:moveTo>
                    <a:pt x="685736" y="0"/>
                  </a:moveTo>
                  <a:lnTo>
                    <a:pt x="661352" y="0"/>
                  </a:lnTo>
                  <a:lnTo>
                    <a:pt x="661352" y="24384"/>
                  </a:lnTo>
                  <a:lnTo>
                    <a:pt x="685736" y="24384"/>
                  </a:lnTo>
                  <a:lnTo>
                    <a:pt x="685736" y="0"/>
                  </a:lnTo>
                  <a:close/>
                </a:path>
                <a:path w="3581400" h="24764">
                  <a:moveTo>
                    <a:pt x="737514" y="0"/>
                  </a:moveTo>
                  <a:lnTo>
                    <a:pt x="711644" y="0"/>
                  </a:lnTo>
                  <a:lnTo>
                    <a:pt x="711644" y="24384"/>
                  </a:lnTo>
                  <a:lnTo>
                    <a:pt x="737514" y="24384"/>
                  </a:lnTo>
                  <a:lnTo>
                    <a:pt x="737514" y="0"/>
                  </a:lnTo>
                  <a:close/>
                </a:path>
                <a:path w="3581400" h="24764">
                  <a:moveTo>
                    <a:pt x="787806" y="0"/>
                  </a:moveTo>
                  <a:lnTo>
                    <a:pt x="761898" y="0"/>
                  </a:lnTo>
                  <a:lnTo>
                    <a:pt x="761898" y="24384"/>
                  </a:lnTo>
                  <a:lnTo>
                    <a:pt x="787806" y="24384"/>
                  </a:lnTo>
                  <a:lnTo>
                    <a:pt x="787806" y="0"/>
                  </a:lnTo>
                  <a:close/>
                </a:path>
                <a:path w="3581400" h="24764">
                  <a:moveTo>
                    <a:pt x="838098" y="0"/>
                  </a:moveTo>
                  <a:lnTo>
                    <a:pt x="813714" y="0"/>
                  </a:lnTo>
                  <a:lnTo>
                    <a:pt x="813714" y="24384"/>
                  </a:lnTo>
                  <a:lnTo>
                    <a:pt x="838098" y="24384"/>
                  </a:lnTo>
                  <a:lnTo>
                    <a:pt x="838098" y="0"/>
                  </a:lnTo>
                  <a:close/>
                </a:path>
                <a:path w="3581400" h="24764">
                  <a:moveTo>
                    <a:pt x="889914" y="0"/>
                  </a:moveTo>
                  <a:lnTo>
                    <a:pt x="864006" y="0"/>
                  </a:lnTo>
                  <a:lnTo>
                    <a:pt x="864006" y="24384"/>
                  </a:lnTo>
                  <a:lnTo>
                    <a:pt x="889914" y="24384"/>
                  </a:lnTo>
                  <a:lnTo>
                    <a:pt x="889914" y="0"/>
                  </a:lnTo>
                  <a:close/>
                </a:path>
                <a:path w="3581400" h="24764">
                  <a:moveTo>
                    <a:pt x="940206" y="0"/>
                  </a:moveTo>
                  <a:lnTo>
                    <a:pt x="914298" y="0"/>
                  </a:lnTo>
                  <a:lnTo>
                    <a:pt x="914298" y="24384"/>
                  </a:lnTo>
                  <a:lnTo>
                    <a:pt x="940206" y="24384"/>
                  </a:lnTo>
                  <a:lnTo>
                    <a:pt x="940206" y="0"/>
                  </a:lnTo>
                  <a:close/>
                </a:path>
                <a:path w="3581400" h="24764">
                  <a:moveTo>
                    <a:pt x="990498" y="0"/>
                  </a:moveTo>
                  <a:lnTo>
                    <a:pt x="966114" y="0"/>
                  </a:lnTo>
                  <a:lnTo>
                    <a:pt x="966114" y="24384"/>
                  </a:lnTo>
                  <a:lnTo>
                    <a:pt x="990498" y="24384"/>
                  </a:lnTo>
                  <a:lnTo>
                    <a:pt x="990498" y="0"/>
                  </a:lnTo>
                  <a:close/>
                </a:path>
                <a:path w="3581400" h="24764">
                  <a:moveTo>
                    <a:pt x="1042314" y="0"/>
                  </a:moveTo>
                  <a:lnTo>
                    <a:pt x="1016406" y="0"/>
                  </a:lnTo>
                  <a:lnTo>
                    <a:pt x="1016406" y="24384"/>
                  </a:lnTo>
                  <a:lnTo>
                    <a:pt x="1042314" y="24384"/>
                  </a:lnTo>
                  <a:lnTo>
                    <a:pt x="1042314" y="0"/>
                  </a:lnTo>
                  <a:close/>
                </a:path>
                <a:path w="3581400" h="24764">
                  <a:moveTo>
                    <a:pt x="1092606" y="0"/>
                  </a:moveTo>
                  <a:lnTo>
                    <a:pt x="1066698" y="0"/>
                  </a:lnTo>
                  <a:lnTo>
                    <a:pt x="1066698" y="24384"/>
                  </a:lnTo>
                  <a:lnTo>
                    <a:pt x="1092606" y="24384"/>
                  </a:lnTo>
                  <a:lnTo>
                    <a:pt x="1092606" y="0"/>
                  </a:lnTo>
                  <a:close/>
                </a:path>
                <a:path w="3581400" h="24764">
                  <a:moveTo>
                    <a:pt x="1142898" y="0"/>
                  </a:moveTo>
                  <a:lnTo>
                    <a:pt x="1118514" y="0"/>
                  </a:lnTo>
                  <a:lnTo>
                    <a:pt x="1118514" y="24384"/>
                  </a:lnTo>
                  <a:lnTo>
                    <a:pt x="1142898" y="24384"/>
                  </a:lnTo>
                  <a:lnTo>
                    <a:pt x="1142898" y="0"/>
                  </a:lnTo>
                  <a:close/>
                </a:path>
                <a:path w="3581400" h="24764">
                  <a:moveTo>
                    <a:pt x="1194689" y="0"/>
                  </a:moveTo>
                  <a:lnTo>
                    <a:pt x="1168781" y="0"/>
                  </a:lnTo>
                  <a:lnTo>
                    <a:pt x="1168781" y="24384"/>
                  </a:lnTo>
                  <a:lnTo>
                    <a:pt x="1194689" y="24384"/>
                  </a:lnTo>
                  <a:lnTo>
                    <a:pt x="1194689" y="0"/>
                  </a:lnTo>
                  <a:close/>
                </a:path>
                <a:path w="3581400" h="24764">
                  <a:moveTo>
                    <a:pt x="1244981" y="0"/>
                  </a:moveTo>
                  <a:lnTo>
                    <a:pt x="1219073" y="0"/>
                  </a:lnTo>
                  <a:lnTo>
                    <a:pt x="1219073" y="24384"/>
                  </a:lnTo>
                  <a:lnTo>
                    <a:pt x="1244981" y="24384"/>
                  </a:lnTo>
                  <a:lnTo>
                    <a:pt x="1244981" y="0"/>
                  </a:lnTo>
                  <a:close/>
                </a:path>
                <a:path w="3581400" h="24764">
                  <a:moveTo>
                    <a:pt x="1295273" y="0"/>
                  </a:moveTo>
                  <a:lnTo>
                    <a:pt x="1270889" y="0"/>
                  </a:lnTo>
                  <a:lnTo>
                    <a:pt x="1270889" y="24384"/>
                  </a:lnTo>
                  <a:lnTo>
                    <a:pt x="1295273" y="24384"/>
                  </a:lnTo>
                  <a:lnTo>
                    <a:pt x="1295273" y="0"/>
                  </a:lnTo>
                  <a:close/>
                </a:path>
                <a:path w="3581400" h="24764">
                  <a:moveTo>
                    <a:pt x="1347089" y="0"/>
                  </a:moveTo>
                  <a:lnTo>
                    <a:pt x="1321181" y="0"/>
                  </a:lnTo>
                  <a:lnTo>
                    <a:pt x="1321181" y="24384"/>
                  </a:lnTo>
                  <a:lnTo>
                    <a:pt x="1347089" y="24384"/>
                  </a:lnTo>
                  <a:lnTo>
                    <a:pt x="1347089" y="0"/>
                  </a:lnTo>
                  <a:close/>
                </a:path>
                <a:path w="3581400" h="24764">
                  <a:moveTo>
                    <a:pt x="1397381" y="0"/>
                  </a:moveTo>
                  <a:lnTo>
                    <a:pt x="1371473" y="0"/>
                  </a:lnTo>
                  <a:lnTo>
                    <a:pt x="1371473" y="24384"/>
                  </a:lnTo>
                  <a:lnTo>
                    <a:pt x="1397381" y="24384"/>
                  </a:lnTo>
                  <a:lnTo>
                    <a:pt x="1397381" y="0"/>
                  </a:lnTo>
                  <a:close/>
                </a:path>
                <a:path w="3581400" h="24764">
                  <a:moveTo>
                    <a:pt x="1447673" y="0"/>
                  </a:moveTo>
                  <a:lnTo>
                    <a:pt x="1423289" y="0"/>
                  </a:lnTo>
                  <a:lnTo>
                    <a:pt x="1423289" y="24384"/>
                  </a:lnTo>
                  <a:lnTo>
                    <a:pt x="1447673" y="24384"/>
                  </a:lnTo>
                  <a:lnTo>
                    <a:pt x="1447673" y="0"/>
                  </a:lnTo>
                  <a:close/>
                </a:path>
                <a:path w="3581400" h="24764">
                  <a:moveTo>
                    <a:pt x="1499463" y="0"/>
                  </a:moveTo>
                  <a:lnTo>
                    <a:pt x="1473555" y="0"/>
                  </a:lnTo>
                  <a:lnTo>
                    <a:pt x="1473555" y="24384"/>
                  </a:lnTo>
                  <a:lnTo>
                    <a:pt x="1499463" y="24384"/>
                  </a:lnTo>
                  <a:lnTo>
                    <a:pt x="1499463" y="0"/>
                  </a:lnTo>
                  <a:close/>
                </a:path>
                <a:path w="3581400" h="24764">
                  <a:moveTo>
                    <a:pt x="1549755" y="0"/>
                  </a:moveTo>
                  <a:lnTo>
                    <a:pt x="1523847" y="0"/>
                  </a:lnTo>
                  <a:lnTo>
                    <a:pt x="1523847" y="24384"/>
                  </a:lnTo>
                  <a:lnTo>
                    <a:pt x="1549755" y="24384"/>
                  </a:lnTo>
                  <a:lnTo>
                    <a:pt x="1549755" y="0"/>
                  </a:lnTo>
                  <a:close/>
                </a:path>
                <a:path w="3581400" h="24764">
                  <a:moveTo>
                    <a:pt x="1600047" y="0"/>
                  </a:moveTo>
                  <a:lnTo>
                    <a:pt x="1575663" y="0"/>
                  </a:lnTo>
                  <a:lnTo>
                    <a:pt x="1575663" y="24384"/>
                  </a:lnTo>
                  <a:lnTo>
                    <a:pt x="1600047" y="24384"/>
                  </a:lnTo>
                  <a:lnTo>
                    <a:pt x="1600047" y="0"/>
                  </a:lnTo>
                  <a:close/>
                </a:path>
                <a:path w="3581400" h="24764">
                  <a:moveTo>
                    <a:pt x="1651863" y="0"/>
                  </a:moveTo>
                  <a:lnTo>
                    <a:pt x="1625955" y="0"/>
                  </a:lnTo>
                  <a:lnTo>
                    <a:pt x="1625955" y="24384"/>
                  </a:lnTo>
                  <a:lnTo>
                    <a:pt x="1651863" y="24384"/>
                  </a:lnTo>
                  <a:lnTo>
                    <a:pt x="1651863" y="0"/>
                  </a:lnTo>
                  <a:close/>
                </a:path>
                <a:path w="3581400" h="24764">
                  <a:moveTo>
                    <a:pt x="1702155" y="0"/>
                  </a:moveTo>
                  <a:lnTo>
                    <a:pt x="1676247" y="0"/>
                  </a:lnTo>
                  <a:lnTo>
                    <a:pt x="1676247" y="24384"/>
                  </a:lnTo>
                  <a:lnTo>
                    <a:pt x="1702155" y="24384"/>
                  </a:lnTo>
                  <a:lnTo>
                    <a:pt x="1702155" y="0"/>
                  </a:lnTo>
                  <a:close/>
                </a:path>
                <a:path w="3581400" h="24764">
                  <a:moveTo>
                    <a:pt x="1752447" y="0"/>
                  </a:moveTo>
                  <a:lnTo>
                    <a:pt x="1728063" y="0"/>
                  </a:lnTo>
                  <a:lnTo>
                    <a:pt x="1728063" y="24384"/>
                  </a:lnTo>
                  <a:lnTo>
                    <a:pt x="1752447" y="24384"/>
                  </a:lnTo>
                  <a:lnTo>
                    <a:pt x="1752447" y="0"/>
                  </a:lnTo>
                  <a:close/>
                </a:path>
                <a:path w="3581400" h="24764">
                  <a:moveTo>
                    <a:pt x="1804263" y="0"/>
                  </a:moveTo>
                  <a:lnTo>
                    <a:pt x="1778355" y="0"/>
                  </a:lnTo>
                  <a:lnTo>
                    <a:pt x="1778355" y="24384"/>
                  </a:lnTo>
                  <a:lnTo>
                    <a:pt x="1804263" y="24384"/>
                  </a:lnTo>
                  <a:lnTo>
                    <a:pt x="1804263" y="0"/>
                  </a:lnTo>
                  <a:close/>
                </a:path>
                <a:path w="3581400" h="24764">
                  <a:moveTo>
                    <a:pt x="1854555" y="0"/>
                  </a:moveTo>
                  <a:lnTo>
                    <a:pt x="1828647" y="0"/>
                  </a:lnTo>
                  <a:lnTo>
                    <a:pt x="1828647" y="24384"/>
                  </a:lnTo>
                  <a:lnTo>
                    <a:pt x="1854555" y="24384"/>
                  </a:lnTo>
                  <a:lnTo>
                    <a:pt x="1854555" y="0"/>
                  </a:lnTo>
                  <a:close/>
                </a:path>
                <a:path w="3581400" h="24764">
                  <a:moveTo>
                    <a:pt x="1904809" y="0"/>
                  </a:moveTo>
                  <a:lnTo>
                    <a:pt x="1880463" y="0"/>
                  </a:lnTo>
                  <a:lnTo>
                    <a:pt x="1880463" y="24384"/>
                  </a:lnTo>
                  <a:lnTo>
                    <a:pt x="1904809" y="24384"/>
                  </a:lnTo>
                  <a:lnTo>
                    <a:pt x="1904809" y="0"/>
                  </a:lnTo>
                  <a:close/>
                </a:path>
                <a:path w="3581400" h="24764">
                  <a:moveTo>
                    <a:pt x="1956625" y="0"/>
                  </a:moveTo>
                  <a:lnTo>
                    <a:pt x="1930717" y="0"/>
                  </a:lnTo>
                  <a:lnTo>
                    <a:pt x="1930717" y="24384"/>
                  </a:lnTo>
                  <a:lnTo>
                    <a:pt x="1956625" y="24384"/>
                  </a:lnTo>
                  <a:lnTo>
                    <a:pt x="1956625" y="0"/>
                  </a:lnTo>
                  <a:close/>
                </a:path>
                <a:path w="3581400" h="24764">
                  <a:moveTo>
                    <a:pt x="2006917" y="0"/>
                  </a:moveTo>
                  <a:lnTo>
                    <a:pt x="1981009" y="0"/>
                  </a:lnTo>
                  <a:lnTo>
                    <a:pt x="1981009" y="24384"/>
                  </a:lnTo>
                  <a:lnTo>
                    <a:pt x="2006917" y="24384"/>
                  </a:lnTo>
                  <a:lnTo>
                    <a:pt x="2006917" y="0"/>
                  </a:lnTo>
                  <a:close/>
                </a:path>
                <a:path w="3581400" h="24764">
                  <a:moveTo>
                    <a:pt x="2057209" y="0"/>
                  </a:moveTo>
                  <a:lnTo>
                    <a:pt x="2032825" y="0"/>
                  </a:lnTo>
                  <a:lnTo>
                    <a:pt x="2032825" y="24384"/>
                  </a:lnTo>
                  <a:lnTo>
                    <a:pt x="2057209" y="24384"/>
                  </a:lnTo>
                  <a:lnTo>
                    <a:pt x="2057209" y="0"/>
                  </a:lnTo>
                  <a:close/>
                </a:path>
                <a:path w="3581400" h="24764">
                  <a:moveTo>
                    <a:pt x="2109025" y="0"/>
                  </a:moveTo>
                  <a:lnTo>
                    <a:pt x="2083117" y="0"/>
                  </a:lnTo>
                  <a:lnTo>
                    <a:pt x="2083117" y="24384"/>
                  </a:lnTo>
                  <a:lnTo>
                    <a:pt x="2109025" y="24384"/>
                  </a:lnTo>
                  <a:lnTo>
                    <a:pt x="2109025" y="0"/>
                  </a:lnTo>
                  <a:close/>
                </a:path>
                <a:path w="3581400" h="24764">
                  <a:moveTo>
                    <a:pt x="2159317" y="0"/>
                  </a:moveTo>
                  <a:lnTo>
                    <a:pt x="2133409" y="0"/>
                  </a:lnTo>
                  <a:lnTo>
                    <a:pt x="2133409" y="24384"/>
                  </a:lnTo>
                  <a:lnTo>
                    <a:pt x="2159317" y="24384"/>
                  </a:lnTo>
                  <a:lnTo>
                    <a:pt x="2159317" y="0"/>
                  </a:lnTo>
                  <a:close/>
                </a:path>
                <a:path w="3581400" h="24764">
                  <a:moveTo>
                    <a:pt x="2209584" y="0"/>
                  </a:moveTo>
                  <a:lnTo>
                    <a:pt x="2185200" y="0"/>
                  </a:lnTo>
                  <a:lnTo>
                    <a:pt x="2185200" y="24384"/>
                  </a:lnTo>
                  <a:lnTo>
                    <a:pt x="2209584" y="24384"/>
                  </a:lnTo>
                  <a:lnTo>
                    <a:pt x="2209584" y="0"/>
                  </a:lnTo>
                  <a:close/>
                </a:path>
                <a:path w="3581400" h="24764">
                  <a:moveTo>
                    <a:pt x="2261400" y="0"/>
                  </a:moveTo>
                  <a:lnTo>
                    <a:pt x="2235492" y="0"/>
                  </a:lnTo>
                  <a:lnTo>
                    <a:pt x="2235492" y="24384"/>
                  </a:lnTo>
                  <a:lnTo>
                    <a:pt x="2261400" y="24384"/>
                  </a:lnTo>
                  <a:lnTo>
                    <a:pt x="2261400" y="0"/>
                  </a:lnTo>
                  <a:close/>
                </a:path>
                <a:path w="3581400" h="24764">
                  <a:moveTo>
                    <a:pt x="2311692" y="0"/>
                  </a:moveTo>
                  <a:lnTo>
                    <a:pt x="2285784" y="0"/>
                  </a:lnTo>
                  <a:lnTo>
                    <a:pt x="2285784" y="24384"/>
                  </a:lnTo>
                  <a:lnTo>
                    <a:pt x="2311692" y="24384"/>
                  </a:lnTo>
                  <a:lnTo>
                    <a:pt x="2311692" y="0"/>
                  </a:lnTo>
                  <a:close/>
                </a:path>
                <a:path w="3581400" h="24764">
                  <a:moveTo>
                    <a:pt x="2361984" y="0"/>
                  </a:moveTo>
                  <a:lnTo>
                    <a:pt x="2337600" y="0"/>
                  </a:lnTo>
                  <a:lnTo>
                    <a:pt x="2337600" y="24384"/>
                  </a:lnTo>
                  <a:lnTo>
                    <a:pt x="2361984" y="24384"/>
                  </a:lnTo>
                  <a:lnTo>
                    <a:pt x="2361984" y="0"/>
                  </a:lnTo>
                  <a:close/>
                </a:path>
                <a:path w="3581400" h="24764">
                  <a:moveTo>
                    <a:pt x="2413800" y="0"/>
                  </a:moveTo>
                  <a:lnTo>
                    <a:pt x="2387892" y="0"/>
                  </a:lnTo>
                  <a:lnTo>
                    <a:pt x="2387892" y="24384"/>
                  </a:lnTo>
                  <a:lnTo>
                    <a:pt x="2413800" y="24384"/>
                  </a:lnTo>
                  <a:lnTo>
                    <a:pt x="2413800" y="0"/>
                  </a:lnTo>
                  <a:close/>
                </a:path>
                <a:path w="3581400" h="24764">
                  <a:moveTo>
                    <a:pt x="2464092" y="0"/>
                  </a:moveTo>
                  <a:lnTo>
                    <a:pt x="2438184" y="0"/>
                  </a:lnTo>
                  <a:lnTo>
                    <a:pt x="2438184" y="24384"/>
                  </a:lnTo>
                  <a:lnTo>
                    <a:pt x="2464092" y="24384"/>
                  </a:lnTo>
                  <a:lnTo>
                    <a:pt x="2464092" y="0"/>
                  </a:lnTo>
                  <a:close/>
                </a:path>
                <a:path w="3581400" h="24764">
                  <a:moveTo>
                    <a:pt x="2514384" y="0"/>
                  </a:moveTo>
                  <a:lnTo>
                    <a:pt x="2490000" y="0"/>
                  </a:lnTo>
                  <a:lnTo>
                    <a:pt x="2490000" y="24384"/>
                  </a:lnTo>
                  <a:lnTo>
                    <a:pt x="2514384" y="24384"/>
                  </a:lnTo>
                  <a:lnTo>
                    <a:pt x="2514384" y="0"/>
                  </a:lnTo>
                  <a:close/>
                </a:path>
                <a:path w="3581400" h="24764">
                  <a:moveTo>
                    <a:pt x="2566200" y="0"/>
                  </a:moveTo>
                  <a:lnTo>
                    <a:pt x="2540292" y="0"/>
                  </a:lnTo>
                  <a:lnTo>
                    <a:pt x="2540292" y="24384"/>
                  </a:lnTo>
                  <a:lnTo>
                    <a:pt x="2566200" y="24384"/>
                  </a:lnTo>
                  <a:lnTo>
                    <a:pt x="2566200" y="0"/>
                  </a:lnTo>
                  <a:close/>
                </a:path>
                <a:path w="3581400" h="24764">
                  <a:moveTo>
                    <a:pt x="2616454" y="0"/>
                  </a:moveTo>
                  <a:lnTo>
                    <a:pt x="2590584" y="0"/>
                  </a:lnTo>
                  <a:lnTo>
                    <a:pt x="2590584" y="24384"/>
                  </a:lnTo>
                  <a:lnTo>
                    <a:pt x="2616454" y="24384"/>
                  </a:lnTo>
                  <a:lnTo>
                    <a:pt x="2616454" y="0"/>
                  </a:lnTo>
                  <a:close/>
                </a:path>
                <a:path w="3581400" h="24764">
                  <a:moveTo>
                    <a:pt x="2666746" y="0"/>
                  </a:moveTo>
                  <a:lnTo>
                    <a:pt x="2642362" y="0"/>
                  </a:lnTo>
                  <a:lnTo>
                    <a:pt x="2642362" y="24384"/>
                  </a:lnTo>
                  <a:lnTo>
                    <a:pt x="2666746" y="24384"/>
                  </a:lnTo>
                  <a:lnTo>
                    <a:pt x="2666746" y="0"/>
                  </a:lnTo>
                  <a:close/>
                </a:path>
                <a:path w="3581400" h="24764">
                  <a:moveTo>
                    <a:pt x="2718562" y="0"/>
                  </a:moveTo>
                  <a:lnTo>
                    <a:pt x="2692654" y="0"/>
                  </a:lnTo>
                  <a:lnTo>
                    <a:pt x="2692654" y="24384"/>
                  </a:lnTo>
                  <a:lnTo>
                    <a:pt x="2718562" y="24384"/>
                  </a:lnTo>
                  <a:lnTo>
                    <a:pt x="2718562" y="0"/>
                  </a:lnTo>
                  <a:close/>
                </a:path>
                <a:path w="3581400" h="24764">
                  <a:moveTo>
                    <a:pt x="2768854" y="0"/>
                  </a:moveTo>
                  <a:lnTo>
                    <a:pt x="2742946" y="0"/>
                  </a:lnTo>
                  <a:lnTo>
                    <a:pt x="2742946" y="24384"/>
                  </a:lnTo>
                  <a:lnTo>
                    <a:pt x="2768854" y="24384"/>
                  </a:lnTo>
                  <a:lnTo>
                    <a:pt x="2768854" y="0"/>
                  </a:lnTo>
                  <a:close/>
                </a:path>
                <a:path w="3581400" h="24764">
                  <a:moveTo>
                    <a:pt x="2819146" y="0"/>
                  </a:moveTo>
                  <a:lnTo>
                    <a:pt x="2794762" y="0"/>
                  </a:lnTo>
                  <a:lnTo>
                    <a:pt x="2794762" y="24384"/>
                  </a:lnTo>
                  <a:lnTo>
                    <a:pt x="2819146" y="24384"/>
                  </a:lnTo>
                  <a:lnTo>
                    <a:pt x="2819146" y="0"/>
                  </a:lnTo>
                  <a:close/>
                </a:path>
                <a:path w="3581400" h="24764">
                  <a:moveTo>
                    <a:pt x="2870962" y="0"/>
                  </a:moveTo>
                  <a:lnTo>
                    <a:pt x="2845054" y="0"/>
                  </a:lnTo>
                  <a:lnTo>
                    <a:pt x="2845054" y="24384"/>
                  </a:lnTo>
                  <a:lnTo>
                    <a:pt x="2870962" y="24384"/>
                  </a:lnTo>
                  <a:lnTo>
                    <a:pt x="2870962" y="0"/>
                  </a:lnTo>
                  <a:close/>
                </a:path>
                <a:path w="3581400" h="24764">
                  <a:moveTo>
                    <a:pt x="2921228" y="0"/>
                  </a:moveTo>
                  <a:lnTo>
                    <a:pt x="2895320" y="0"/>
                  </a:lnTo>
                  <a:lnTo>
                    <a:pt x="2895320" y="24384"/>
                  </a:lnTo>
                  <a:lnTo>
                    <a:pt x="2921228" y="24384"/>
                  </a:lnTo>
                  <a:lnTo>
                    <a:pt x="2921228" y="0"/>
                  </a:lnTo>
                  <a:close/>
                </a:path>
                <a:path w="3581400" h="24764">
                  <a:moveTo>
                    <a:pt x="2971520" y="0"/>
                  </a:moveTo>
                  <a:lnTo>
                    <a:pt x="2947136" y="0"/>
                  </a:lnTo>
                  <a:lnTo>
                    <a:pt x="2947136" y="24384"/>
                  </a:lnTo>
                  <a:lnTo>
                    <a:pt x="2971520" y="24384"/>
                  </a:lnTo>
                  <a:lnTo>
                    <a:pt x="2971520" y="0"/>
                  </a:lnTo>
                  <a:close/>
                </a:path>
                <a:path w="3581400" h="24764">
                  <a:moveTo>
                    <a:pt x="3023336" y="0"/>
                  </a:moveTo>
                  <a:lnTo>
                    <a:pt x="2997428" y="0"/>
                  </a:lnTo>
                  <a:lnTo>
                    <a:pt x="2997428" y="24384"/>
                  </a:lnTo>
                  <a:lnTo>
                    <a:pt x="3023336" y="24384"/>
                  </a:lnTo>
                  <a:lnTo>
                    <a:pt x="3023336" y="0"/>
                  </a:lnTo>
                  <a:close/>
                </a:path>
                <a:path w="3581400" h="24764">
                  <a:moveTo>
                    <a:pt x="3073628" y="0"/>
                  </a:moveTo>
                  <a:lnTo>
                    <a:pt x="3047720" y="0"/>
                  </a:lnTo>
                  <a:lnTo>
                    <a:pt x="3047720" y="24384"/>
                  </a:lnTo>
                  <a:lnTo>
                    <a:pt x="3073628" y="24384"/>
                  </a:lnTo>
                  <a:lnTo>
                    <a:pt x="3073628" y="0"/>
                  </a:lnTo>
                  <a:close/>
                </a:path>
                <a:path w="3581400" h="24764">
                  <a:moveTo>
                    <a:pt x="3123920" y="0"/>
                  </a:moveTo>
                  <a:lnTo>
                    <a:pt x="3099536" y="0"/>
                  </a:lnTo>
                  <a:lnTo>
                    <a:pt x="3099536" y="24384"/>
                  </a:lnTo>
                  <a:lnTo>
                    <a:pt x="3123920" y="24384"/>
                  </a:lnTo>
                  <a:lnTo>
                    <a:pt x="3123920" y="0"/>
                  </a:lnTo>
                  <a:close/>
                </a:path>
                <a:path w="3581400" h="24764">
                  <a:moveTo>
                    <a:pt x="3175736" y="0"/>
                  </a:moveTo>
                  <a:lnTo>
                    <a:pt x="3149828" y="0"/>
                  </a:lnTo>
                  <a:lnTo>
                    <a:pt x="3149828" y="24384"/>
                  </a:lnTo>
                  <a:lnTo>
                    <a:pt x="3175736" y="24384"/>
                  </a:lnTo>
                  <a:lnTo>
                    <a:pt x="3175736" y="0"/>
                  </a:lnTo>
                  <a:close/>
                </a:path>
                <a:path w="3581400" h="24764">
                  <a:moveTo>
                    <a:pt x="3226028" y="0"/>
                  </a:moveTo>
                  <a:lnTo>
                    <a:pt x="3200120" y="0"/>
                  </a:lnTo>
                  <a:lnTo>
                    <a:pt x="3200120" y="24384"/>
                  </a:lnTo>
                  <a:lnTo>
                    <a:pt x="3226028" y="24384"/>
                  </a:lnTo>
                  <a:lnTo>
                    <a:pt x="3226028" y="0"/>
                  </a:lnTo>
                  <a:close/>
                </a:path>
                <a:path w="3581400" h="24764">
                  <a:moveTo>
                    <a:pt x="3276320" y="0"/>
                  </a:moveTo>
                  <a:lnTo>
                    <a:pt x="3251936" y="0"/>
                  </a:lnTo>
                  <a:lnTo>
                    <a:pt x="3251936" y="24384"/>
                  </a:lnTo>
                  <a:lnTo>
                    <a:pt x="3276320" y="24384"/>
                  </a:lnTo>
                  <a:lnTo>
                    <a:pt x="3276320" y="0"/>
                  </a:lnTo>
                  <a:close/>
                </a:path>
                <a:path w="3581400" h="24764">
                  <a:moveTo>
                    <a:pt x="3328111" y="0"/>
                  </a:moveTo>
                  <a:lnTo>
                    <a:pt x="3302228" y="0"/>
                  </a:lnTo>
                  <a:lnTo>
                    <a:pt x="3302228" y="24384"/>
                  </a:lnTo>
                  <a:lnTo>
                    <a:pt x="3328111" y="24384"/>
                  </a:lnTo>
                  <a:lnTo>
                    <a:pt x="3328111" y="0"/>
                  </a:lnTo>
                  <a:close/>
                </a:path>
                <a:path w="3581400" h="24764">
                  <a:moveTo>
                    <a:pt x="3378403" y="0"/>
                  </a:moveTo>
                  <a:lnTo>
                    <a:pt x="3352495" y="0"/>
                  </a:lnTo>
                  <a:lnTo>
                    <a:pt x="3352495" y="24384"/>
                  </a:lnTo>
                  <a:lnTo>
                    <a:pt x="3378403" y="24384"/>
                  </a:lnTo>
                  <a:lnTo>
                    <a:pt x="3378403" y="0"/>
                  </a:lnTo>
                  <a:close/>
                </a:path>
                <a:path w="3581400" h="24764">
                  <a:moveTo>
                    <a:pt x="3428695" y="0"/>
                  </a:moveTo>
                  <a:lnTo>
                    <a:pt x="3404311" y="0"/>
                  </a:lnTo>
                  <a:lnTo>
                    <a:pt x="3404311" y="24384"/>
                  </a:lnTo>
                  <a:lnTo>
                    <a:pt x="3428695" y="24384"/>
                  </a:lnTo>
                  <a:lnTo>
                    <a:pt x="3428695" y="0"/>
                  </a:lnTo>
                  <a:close/>
                </a:path>
                <a:path w="3581400" h="24764">
                  <a:moveTo>
                    <a:pt x="3480511" y="0"/>
                  </a:moveTo>
                  <a:lnTo>
                    <a:pt x="3454603" y="0"/>
                  </a:lnTo>
                  <a:lnTo>
                    <a:pt x="3454603" y="24384"/>
                  </a:lnTo>
                  <a:lnTo>
                    <a:pt x="3480511" y="24384"/>
                  </a:lnTo>
                  <a:lnTo>
                    <a:pt x="3480511" y="0"/>
                  </a:lnTo>
                  <a:close/>
                </a:path>
                <a:path w="3581400" h="24764">
                  <a:moveTo>
                    <a:pt x="3530803" y="0"/>
                  </a:moveTo>
                  <a:lnTo>
                    <a:pt x="3504895" y="0"/>
                  </a:lnTo>
                  <a:lnTo>
                    <a:pt x="3504895" y="24384"/>
                  </a:lnTo>
                  <a:lnTo>
                    <a:pt x="3530803" y="24384"/>
                  </a:lnTo>
                  <a:lnTo>
                    <a:pt x="3530803" y="0"/>
                  </a:lnTo>
                  <a:close/>
                </a:path>
                <a:path w="3581400" h="24764">
                  <a:moveTo>
                    <a:pt x="3581095" y="0"/>
                  </a:moveTo>
                  <a:lnTo>
                    <a:pt x="3556711" y="0"/>
                  </a:lnTo>
                  <a:lnTo>
                    <a:pt x="3556711" y="24384"/>
                  </a:lnTo>
                  <a:lnTo>
                    <a:pt x="3581095" y="24384"/>
                  </a:lnTo>
                  <a:lnTo>
                    <a:pt x="3581095" y="0"/>
                  </a:lnTo>
                  <a:close/>
                </a:path>
              </a:pathLst>
            </a:custGeom>
            <a:solidFill>
              <a:srgbClr val="0098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/>
            <p:cNvSpPr/>
            <p:nvPr/>
          </p:nvSpPr>
          <p:spPr>
            <a:xfrm>
              <a:off x="8090764" y="4172864"/>
              <a:ext cx="1041400" cy="24765"/>
            </a:xfrm>
            <a:custGeom>
              <a:avLst/>
              <a:gdLst/>
              <a:ahLst/>
              <a:cxnLst/>
              <a:rect l="l" t="t" r="r" b="b"/>
              <a:pathLst>
                <a:path w="1041400" h="24764">
                  <a:moveTo>
                    <a:pt x="24384" y="0"/>
                  </a:moveTo>
                  <a:lnTo>
                    <a:pt x="0" y="0"/>
                  </a:lnTo>
                  <a:lnTo>
                    <a:pt x="0" y="24384"/>
                  </a:lnTo>
                  <a:lnTo>
                    <a:pt x="24384" y="24384"/>
                  </a:lnTo>
                  <a:lnTo>
                    <a:pt x="24384" y="0"/>
                  </a:lnTo>
                  <a:close/>
                </a:path>
                <a:path w="1041400" h="24764">
                  <a:moveTo>
                    <a:pt x="76200" y="0"/>
                  </a:moveTo>
                  <a:lnTo>
                    <a:pt x="50292" y="0"/>
                  </a:lnTo>
                  <a:lnTo>
                    <a:pt x="50292" y="24384"/>
                  </a:lnTo>
                  <a:lnTo>
                    <a:pt x="76200" y="24384"/>
                  </a:lnTo>
                  <a:lnTo>
                    <a:pt x="76200" y="0"/>
                  </a:lnTo>
                  <a:close/>
                </a:path>
                <a:path w="1041400" h="24764">
                  <a:moveTo>
                    <a:pt x="126492" y="0"/>
                  </a:moveTo>
                  <a:lnTo>
                    <a:pt x="100584" y="0"/>
                  </a:lnTo>
                  <a:lnTo>
                    <a:pt x="100584" y="24384"/>
                  </a:lnTo>
                  <a:lnTo>
                    <a:pt x="126492" y="24384"/>
                  </a:lnTo>
                  <a:lnTo>
                    <a:pt x="126492" y="0"/>
                  </a:lnTo>
                  <a:close/>
                </a:path>
                <a:path w="1041400" h="24764">
                  <a:moveTo>
                    <a:pt x="176784" y="0"/>
                  </a:moveTo>
                  <a:lnTo>
                    <a:pt x="152400" y="0"/>
                  </a:lnTo>
                  <a:lnTo>
                    <a:pt x="152400" y="24384"/>
                  </a:lnTo>
                  <a:lnTo>
                    <a:pt x="176784" y="24384"/>
                  </a:lnTo>
                  <a:lnTo>
                    <a:pt x="176784" y="0"/>
                  </a:lnTo>
                  <a:close/>
                </a:path>
                <a:path w="1041400" h="24764">
                  <a:moveTo>
                    <a:pt x="228561" y="0"/>
                  </a:moveTo>
                  <a:lnTo>
                    <a:pt x="202653" y="0"/>
                  </a:lnTo>
                  <a:lnTo>
                    <a:pt x="202653" y="24384"/>
                  </a:lnTo>
                  <a:lnTo>
                    <a:pt x="228561" y="24384"/>
                  </a:lnTo>
                  <a:lnTo>
                    <a:pt x="228561" y="0"/>
                  </a:lnTo>
                  <a:close/>
                </a:path>
                <a:path w="1041400" h="24764">
                  <a:moveTo>
                    <a:pt x="278853" y="0"/>
                  </a:moveTo>
                  <a:lnTo>
                    <a:pt x="252945" y="0"/>
                  </a:lnTo>
                  <a:lnTo>
                    <a:pt x="252945" y="24384"/>
                  </a:lnTo>
                  <a:lnTo>
                    <a:pt x="278853" y="24384"/>
                  </a:lnTo>
                  <a:lnTo>
                    <a:pt x="278853" y="0"/>
                  </a:lnTo>
                  <a:close/>
                </a:path>
                <a:path w="1041400" h="24764">
                  <a:moveTo>
                    <a:pt x="329145" y="0"/>
                  </a:moveTo>
                  <a:lnTo>
                    <a:pt x="304761" y="0"/>
                  </a:lnTo>
                  <a:lnTo>
                    <a:pt x="304761" y="24384"/>
                  </a:lnTo>
                  <a:lnTo>
                    <a:pt x="329145" y="24384"/>
                  </a:lnTo>
                  <a:lnTo>
                    <a:pt x="329145" y="0"/>
                  </a:lnTo>
                  <a:close/>
                </a:path>
                <a:path w="1041400" h="24764">
                  <a:moveTo>
                    <a:pt x="380961" y="0"/>
                  </a:moveTo>
                  <a:lnTo>
                    <a:pt x="355053" y="0"/>
                  </a:lnTo>
                  <a:lnTo>
                    <a:pt x="355053" y="24384"/>
                  </a:lnTo>
                  <a:lnTo>
                    <a:pt x="380961" y="24384"/>
                  </a:lnTo>
                  <a:lnTo>
                    <a:pt x="380961" y="0"/>
                  </a:lnTo>
                  <a:close/>
                </a:path>
                <a:path w="1041400" h="24764">
                  <a:moveTo>
                    <a:pt x="431253" y="0"/>
                  </a:moveTo>
                  <a:lnTo>
                    <a:pt x="405345" y="0"/>
                  </a:lnTo>
                  <a:lnTo>
                    <a:pt x="405345" y="24384"/>
                  </a:lnTo>
                  <a:lnTo>
                    <a:pt x="431253" y="24384"/>
                  </a:lnTo>
                  <a:lnTo>
                    <a:pt x="431253" y="0"/>
                  </a:lnTo>
                  <a:close/>
                </a:path>
                <a:path w="1041400" h="24764">
                  <a:moveTo>
                    <a:pt x="481520" y="0"/>
                  </a:moveTo>
                  <a:lnTo>
                    <a:pt x="457161" y="0"/>
                  </a:lnTo>
                  <a:lnTo>
                    <a:pt x="457161" y="24384"/>
                  </a:lnTo>
                  <a:lnTo>
                    <a:pt x="481520" y="24384"/>
                  </a:lnTo>
                  <a:lnTo>
                    <a:pt x="481520" y="0"/>
                  </a:lnTo>
                  <a:close/>
                </a:path>
                <a:path w="1041400" h="24764">
                  <a:moveTo>
                    <a:pt x="533336" y="0"/>
                  </a:moveTo>
                  <a:lnTo>
                    <a:pt x="507428" y="0"/>
                  </a:lnTo>
                  <a:lnTo>
                    <a:pt x="507428" y="24384"/>
                  </a:lnTo>
                  <a:lnTo>
                    <a:pt x="533336" y="24384"/>
                  </a:lnTo>
                  <a:lnTo>
                    <a:pt x="533336" y="0"/>
                  </a:lnTo>
                  <a:close/>
                </a:path>
                <a:path w="1041400" h="24764">
                  <a:moveTo>
                    <a:pt x="583628" y="0"/>
                  </a:moveTo>
                  <a:lnTo>
                    <a:pt x="557720" y="0"/>
                  </a:lnTo>
                  <a:lnTo>
                    <a:pt x="557720" y="24384"/>
                  </a:lnTo>
                  <a:lnTo>
                    <a:pt x="583628" y="24384"/>
                  </a:lnTo>
                  <a:lnTo>
                    <a:pt x="583628" y="0"/>
                  </a:lnTo>
                  <a:close/>
                </a:path>
                <a:path w="1041400" h="24764">
                  <a:moveTo>
                    <a:pt x="633920" y="0"/>
                  </a:moveTo>
                  <a:lnTo>
                    <a:pt x="609536" y="0"/>
                  </a:lnTo>
                  <a:lnTo>
                    <a:pt x="609536" y="24384"/>
                  </a:lnTo>
                  <a:lnTo>
                    <a:pt x="633920" y="24384"/>
                  </a:lnTo>
                  <a:lnTo>
                    <a:pt x="633920" y="0"/>
                  </a:lnTo>
                  <a:close/>
                </a:path>
                <a:path w="1041400" h="24764">
                  <a:moveTo>
                    <a:pt x="685736" y="0"/>
                  </a:moveTo>
                  <a:lnTo>
                    <a:pt x="659828" y="0"/>
                  </a:lnTo>
                  <a:lnTo>
                    <a:pt x="659828" y="24384"/>
                  </a:lnTo>
                  <a:lnTo>
                    <a:pt x="685736" y="24384"/>
                  </a:lnTo>
                  <a:lnTo>
                    <a:pt x="685736" y="0"/>
                  </a:lnTo>
                  <a:close/>
                </a:path>
                <a:path w="1041400" h="24764">
                  <a:moveTo>
                    <a:pt x="736028" y="0"/>
                  </a:moveTo>
                  <a:lnTo>
                    <a:pt x="710120" y="0"/>
                  </a:lnTo>
                  <a:lnTo>
                    <a:pt x="710120" y="24384"/>
                  </a:lnTo>
                  <a:lnTo>
                    <a:pt x="736028" y="24384"/>
                  </a:lnTo>
                  <a:lnTo>
                    <a:pt x="736028" y="0"/>
                  </a:lnTo>
                  <a:close/>
                </a:path>
                <a:path w="1041400" h="24764">
                  <a:moveTo>
                    <a:pt x="786320" y="0"/>
                  </a:moveTo>
                  <a:lnTo>
                    <a:pt x="761936" y="0"/>
                  </a:lnTo>
                  <a:lnTo>
                    <a:pt x="761936" y="24384"/>
                  </a:lnTo>
                  <a:lnTo>
                    <a:pt x="786320" y="24384"/>
                  </a:lnTo>
                  <a:lnTo>
                    <a:pt x="786320" y="0"/>
                  </a:lnTo>
                  <a:close/>
                </a:path>
                <a:path w="1041400" h="24764">
                  <a:moveTo>
                    <a:pt x="838136" y="0"/>
                  </a:moveTo>
                  <a:lnTo>
                    <a:pt x="812228" y="0"/>
                  </a:lnTo>
                  <a:lnTo>
                    <a:pt x="812228" y="24384"/>
                  </a:lnTo>
                  <a:lnTo>
                    <a:pt x="838136" y="24384"/>
                  </a:lnTo>
                  <a:lnTo>
                    <a:pt x="838136" y="0"/>
                  </a:lnTo>
                  <a:close/>
                </a:path>
                <a:path w="1041400" h="24764">
                  <a:moveTo>
                    <a:pt x="888428" y="0"/>
                  </a:moveTo>
                  <a:lnTo>
                    <a:pt x="862520" y="0"/>
                  </a:lnTo>
                  <a:lnTo>
                    <a:pt x="862520" y="24384"/>
                  </a:lnTo>
                  <a:lnTo>
                    <a:pt x="888428" y="24384"/>
                  </a:lnTo>
                  <a:lnTo>
                    <a:pt x="888428" y="0"/>
                  </a:lnTo>
                  <a:close/>
                </a:path>
                <a:path w="1041400" h="24764">
                  <a:moveTo>
                    <a:pt x="938682" y="0"/>
                  </a:moveTo>
                  <a:lnTo>
                    <a:pt x="914298" y="0"/>
                  </a:lnTo>
                  <a:lnTo>
                    <a:pt x="914298" y="24384"/>
                  </a:lnTo>
                  <a:lnTo>
                    <a:pt x="938682" y="24384"/>
                  </a:lnTo>
                  <a:lnTo>
                    <a:pt x="938682" y="0"/>
                  </a:lnTo>
                  <a:close/>
                </a:path>
                <a:path w="1041400" h="24764">
                  <a:moveTo>
                    <a:pt x="990498" y="0"/>
                  </a:moveTo>
                  <a:lnTo>
                    <a:pt x="964590" y="0"/>
                  </a:lnTo>
                  <a:lnTo>
                    <a:pt x="964590" y="24384"/>
                  </a:lnTo>
                  <a:lnTo>
                    <a:pt x="990498" y="24384"/>
                  </a:lnTo>
                  <a:lnTo>
                    <a:pt x="990498" y="0"/>
                  </a:lnTo>
                  <a:close/>
                </a:path>
                <a:path w="1041400" h="24764">
                  <a:moveTo>
                    <a:pt x="1040790" y="0"/>
                  </a:moveTo>
                  <a:lnTo>
                    <a:pt x="1014882" y="0"/>
                  </a:lnTo>
                  <a:lnTo>
                    <a:pt x="1014882" y="24384"/>
                  </a:lnTo>
                  <a:lnTo>
                    <a:pt x="1040790" y="24384"/>
                  </a:lnTo>
                  <a:lnTo>
                    <a:pt x="1040790" y="0"/>
                  </a:lnTo>
                  <a:close/>
                </a:path>
              </a:pathLst>
            </a:custGeom>
            <a:solidFill>
              <a:srgbClr val="0098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0"/>
            <p:cNvSpPr/>
            <p:nvPr/>
          </p:nvSpPr>
          <p:spPr>
            <a:xfrm>
              <a:off x="3282939" y="5513893"/>
              <a:ext cx="193675" cy="772795"/>
            </a:xfrm>
            <a:custGeom>
              <a:avLst/>
              <a:gdLst/>
              <a:ahLst/>
              <a:cxnLst/>
              <a:rect l="l" t="t" r="r" b="b"/>
              <a:pathLst>
                <a:path w="193675" h="772795">
                  <a:moveTo>
                    <a:pt x="193517" y="0"/>
                  </a:moveTo>
                  <a:lnTo>
                    <a:pt x="0" y="193523"/>
                  </a:lnTo>
                  <a:lnTo>
                    <a:pt x="0" y="772594"/>
                  </a:lnTo>
                  <a:lnTo>
                    <a:pt x="193517" y="580595"/>
                  </a:lnTo>
                  <a:lnTo>
                    <a:pt x="193517" y="0"/>
                  </a:lnTo>
                  <a:close/>
                </a:path>
              </a:pathLst>
            </a:custGeom>
            <a:solidFill>
              <a:srgbClr val="CDCD7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/>
            <p:cNvSpPr/>
            <p:nvPr/>
          </p:nvSpPr>
          <p:spPr>
            <a:xfrm>
              <a:off x="2175080" y="5513893"/>
              <a:ext cx="1301750" cy="193675"/>
            </a:xfrm>
            <a:custGeom>
              <a:avLst/>
              <a:gdLst/>
              <a:ahLst/>
              <a:cxnLst/>
              <a:rect l="l" t="t" r="r" b="b"/>
              <a:pathLst>
                <a:path w="1301750" h="193675">
                  <a:moveTo>
                    <a:pt x="1301377" y="0"/>
                  </a:moveTo>
                  <a:lnTo>
                    <a:pt x="193535" y="0"/>
                  </a:lnTo>
                  <a:lnTo>
                    <a:pt x="0" y="193523"/>
                  </a:lnTo>
                  <a:lnTo>
                    <a:pt x="1107859" y="193523"/>
                  </a:lnTo>
                  <a:lnTo>
                    <a:pt x="1301377" y="0"/>
                  </a:lnTo>
                  <a:close/>
                </a:path>
              </a:pathLst>
            </a:custGeom>
            <a:solidFill>
              <a:srgbClr val="FFFF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2162888" y="5501701"/>
              <a:ext cx="1325880" cy="798830"/>
            </a:xfrm>
            <a:custGeom>
              <a:avLst/>
              <a:gdLst/>
              <a:ahLst/>
              <a:cxnLst/>
              <a:rect l="l" t="t" r="r" b="b"/>
              <a:pathLst>
                <a:path w="1325879" h="798829">
                  <a:moveTo>
                    <a:pt x="1325761" y="0"/>
                  </a:moveTo>
                  <a:lnTo>
                    <a:pt x="201155" y="0"/>
                  </a:lnTo>
                  <a:lnTo>
                    <a:pt x="0" y="199619"/>
                  </a:lnTo>
                  <a:lnTo>
                    <a:pt x="0" y="798502"/>
                  </a:lnTo>
                  <a:lnTo>
                    <a:pt x="1124623" y="798502"/>
                  </a:lnTo>
                  <a:lnTo>
                    <a:pt x="1138339" y="784786"/>
                  </a:lnTo>
                  <a:lnTo>
                    <a:pt x="25908" y="784786"/>
                  </a:lnTo>
                  <a:lnTo>
                    <a:pt x="12192" y="772594"/>
                  </a:lnTo>
                  <a:lnTo>
                    <a:pt x="25908" y="772594"/>
                  </a:lnTo>
                  <a:lnTo>
                    <a:pt x="25908" y="217907"/>
                  </a:lnTo>
                  <a:lnTo>
                    <a:pt x="12192" y="217907"/>
                  </a:lnTo>
                  <a:lnTo>
                    <a:pt x="12192" y="192011"/>
                  </a:lnTo>
                  <a:lnTo>
                    <a:pt x="44185" y="192011"/>
                  </a:lnTo>
                  <a:lnTo>
                    <a:pt x="211823" y="24384"/>
                  </a:lnTo>
                  <a:lnTo>
                    <a:pt x="205727" y="24384"/>
                  </a:lnTo>
                  <a:lnTo>
                    <a:pt x="214871" y="21336"/>
                  </a:lnTo>
                  <a:lnTo>
                    <a:pt x="1286137" y="21336"/>
                  </a:lnTo>
                  <a:lnTo>
                    <a:pt x="1304425" y="3048"/>
                  </a:lnTo>
                  <a:lnTo>
                    <a:pt x="1325761" y="3048"/>
                  </a:lnTo>
                  <a:lnTo>
                    <a:pt x="1325761" y="0"/>
                  </a:lnTo>
                  <a:close/>
                </a:path>
                <a:path w="1325879" h="798829">
                  <a:moveTo>
                    <a:pt x="25908" y="772594"/>
                  </a:moveTo>
                  <a:lnTo>
                    <a:pt x="12192" y="772594"/>
                  </a:lnTo>
                  <a:lnTo>
                    <a:pt x="25908" y="784786"/>
                  </a:lnTo>
                  <a:lnTo>
                    <a:pt x="25908" y="772594"/>
                  </a:lnTo>
                  <a:close/>
                </a:path>
                <a:path w="1325879" h="798829">
                  <a:moveTo>
                    <a:pt x="1106335" y="772594"/>
                  </a:moveTo>
                  <a:lnTo>
                    <a:pt x="25908" y="772594"/>
                  </a:lnTo>
                  <a:lnTo>
                    <a:pt x="25908" y="784786"/>
                  </a:lnTo>
                  <a:lnTo>
                    <a:pt x="1106335" y="784786"/>
                  </a:lnTo>
                  <a:lnTo>
                    <a:pt x="1106335" y="772594"/>
                  </a:lnTo>
                  <a:close/>
                </a:path>
                <a:path w="1325879" h="798829">
                  <a:moveTo>
                    <a:pt x="1132243" y="205715"/>
                  </a:moveTo>
                  <a:lnTo>
                    <a:pt x="1106335" y="205715"/>
                  </a:lnTo>
                  <a:lnTo>
                    <a:pt x="1106335" y="784786"/>
                  </a:lnTo>
                  <a:lnTo>
                    <a:pt x="1132243" y="784786"/>
                  </a:lnTo>
                  <a:lnTo>
                    <a:pt x="1132243" y="775642"/>
                  </a:lnTo>
                  <a:lnTo>
                    <a:pt x="1110907" y="775642"/>
                  </a:lnTo>
                  <a:lnTo>
                    <a:pt x="1132243" y="754474"/>
                  </a:lnTo>
                  <a:lnTo>
                    <a:pt x="1132243" y="217907"/>
                  </a:lnTo>
                  <a:lnTo>
                    <a:pt x="1124623" y="217907"/>
                  </a:lnTo>
                  <a:lnTo>
                    <a:pt x="1132243" y="210287"/>
                  </a:lnTo>
                  <a:lnTo>
                    <a:pt x="1132243" y="205715"/>
                  </a:lnTo>
                  <a:close/>
                </a:path>
                <a:path w="1325879" h="798829">
                  <a:moveTo>
                    <a:pt x="1299853" y="588179"/>
                  </a:moveTo>
                  <a:lnTo>
                    <a:pt x="1132243" y="754474"/>
                  </a:lnTo>
                  <a:lnTo>
                    <a:pt x="1132243" y="784786"/>
                  </a:lnTo>
                  <a:lnTo>
                    <a:pt x="1138339" y="784786"/>
                  </a:lnTo>
                  <a:lnTo>
                    <a:pt x="1325761" y="597359"/>
                  </a:lnTo>
                  <a:lnTo>
                    <a:pt x="1325761" y="592787"/>
                  </a:lnTo>
                  <a:lnTo>
                    <a:pt x="1299853" y="592787"/>
                  </a:lnTo>
                  <a:lnTo>
                    <a:pt x="1299853" y="588179"/>
                  </a:lnTo>
                  <a:close/>
                </a:path>
                <a:path w="1325879" h="798829">
                  <a:moveTo>
                    <a:pt x="1132243" y="754474"/>
                  </a:moveTo>
                  <a:lnTo>
                    <a:pt x="1110907" y="775642"/>
                  </a:lnTo>
                  <a:lnTo>
                    <a:pt x="1120051" y="772594"/>
                  </a:lnTo>
                  <a:lnTo>
                    <a:pt x="1132243" y="772594"/>
                  </a:lnTo>
                  <a:lnTo>
                    <a:pt x="1132243" y="754474"/>
                  </a:lnTo>
                  <a:close/>
                </a:path>
                <a:path w="1325879" h="798829">
                  <a:moveTo>
                    <a:pt x="1132243" y="772594"/>
                  </a:moveTo>
                  <a:lnTo>
                    <a:pt x="1120051" y="772594"/>
                  </a:lnTo>
                  <a:lnTo>
                    <a:pt x="1110907" y="775642"/>
                  </a:lnTo>
                  <a:lnTo>
                    <a:pt x="1132243" y="775642"/>
                  </a:lnTo>
                  <a:lnTo>
                    <a:pt x="1132243" y="772594"/>
                  </a:lnTo>
                  <a:close/>
                </a:path>
                <a:path w="1325879" h="798829">
                  <a:moveTo>
                    <a:pt x="1304425" y="583643"/>
                  </a:moveTo>
                  <a:lnTo>
                    <a:pt x="1299853" y="588179"/>
                  </a:lnTo>
                  <a:lnTo>
                    <a:pt x="1299853" y="592787"/>
                  </a:lnTo>
                  <a:lnTo>
                    <a:pt x="1304425" y="583643"/>
                  </a:lnTo>
                  <a:close/>
                </a:path>
                <a:path w="1325879" h="798829">
                  <a:moveTo>
                    <a:pt x="1325761" y="583643"/>
                  </a:moveTo>
                  <a:lnTo>
                    <a:pt x="1304425" y="583643"/>
                  </a:lnTo>
                  <a:lnTo>
                    <a:pt x="1299853" y="592787"/>
                  </a:lnTo>
                  <a:lnTo>
                    <a:pt x="1325761" y="592787"/>
                  </a:lnTo>
                  <a:lnTo>
                    <a:pt x="1325761" y="583643"/>
                  </a:lnTo>
                  <a:close/>
                </a:path>
                <a:path w="1325879" h="798829">
                  <a:moveTo>
                    <a:pt x="1325761" y="3048"/>
                  </a:moveTo>
                  <a:lnTo>
                    <a:pt x="1304425" y="3048"/>
                  </a:lnTo>
                  <a:lnTo>
                    <a:pt x="1321189" y="21336"/>
                  </a:lnTo>
                  <a:lnTo>
                    <a:pt x="1299853" y="42672"/>
                  </a:lnTo>
                  <a:lnTo>
                    <a:pt x="1299853" y="588179"/>
                  </a:lnTo>
                  <a:lnTo>
                    <a:pt x="1304425" y="583643"/>
                  </a:lnTo>
                  <a:lnTo>
                    <a:pt x="1325761" y="583643"/>
                  </a:lnTo>
                  <a:lnTo>
                    <a:pt x="1325761" y="3048"/>
                  </a:lnTo>
                  <a:close/>
                </a:path>
                <a:path w="1325879" h="798829">
                  <a:moveTo>
                    <a:pt x="44185" y="192011"/>
                  </a:moveTo>
                  <a:lnTo>
                    <a:pt x="12192" y="192011"/>
                  </a:lnTo>
                  <a:lnTo>
                    <a:pt x="12192" y="217907"/>
                  </a:lnTo>
                  <a:lnTo>
                    <a:pt x="25908" y="217907"/>
                  </a:lnTo>
                  <a:lnTo>
                    <a:pt x="25908" y="214859"/>
                  </a:lnTo>
                  <a:lnTo>
                    <a:pt x="21336" y="214859"/>
                  </a:lnTo>
                  <a:lnTo>
                    <a:pt x="25908" y="205715"/>
                  </a:lnTo>
                  <a:lnTo>
                    <a:pt x="30480" y="205715"/>
                  </a:lnTo>
                  <a:lnTo>
                    <a:pt x="44185" y="192011"/>
                  </a:lnTo>
                  <a:close/>
                </a:path>
                <a:path w="1325879" h="798829">
                  <a:moveTo>
                    <a:pt x="1115467" y="192011"/>
                  </a:moveTo>
                  <a:lnTo>
                    <a:pt x="44185" y="192011"/>
                  </a:lnTo>
                  <a:lnTo>
                    <a:pt x="25908" y="210287"/>
                  </a:lnTo>
                  <a:lnTo>
                    <a:pt x="25908" y="217907"/>
                  </a:lnTo>
                  <a:lnTo>
                    <a:pt x="1106335" y="217907"/>
                  </a:lnTo>
                  <a:lnTo>
                    <a:pt x="1106335" y="205715"/>
                  </a:lnTo>
                  <a:lnTo>
                    <a:pt x="1136815" y="205715"/>
                  </a:lnTo>
                  <a:lnTo>
                    <a:pt x="1145958" y="196571"/>
                  </a:lnTo>
                  <a:lnTo>
                    <a:pt x="1110907" y="196571"/>
                  </a:lnTo>
                  <a:lnTo>
                    <a:pt x="1115467" y="192011"/>
                  </a:lnTo>
                  <a:close/>
                </a:path>
                <a:path w="1325879" h="798829">
                  <a:moveTo>
                    <a:pt x="1132243" y="210287"/>
                  </a:moveTo>
                  <a:lnTo>
                    <a:pt x="1124623" y="217907"/>
                  </a:lnTo>
                  <a:lnTo>
                    <a:pt x="1132243" y="217907"/>
                  </a:lnTo>
                  <a:lnTo>
                    <a:pt x="1132243" y="210287"/>
                  </a:lnTo>
                  <a:close/>
                </a:path>
                <a:path w="1325879" h="798829">
                  <a:moveTo>
                    <a:pt x="25908" y="205715"/>
                  </a:moveTo>
                  <a:lnTo>
                    <a:pt x="21336" y="214859"/>
                  </a:lnTo>
                  <a:lnTo>
                    <a:pt x="25908" y="210287"/>
                  </a:lnTo>
                  <a:lnTo>
                    <a:pt x="25908" y="205715"/>
                  </a:lnTo>
                  <a:close/>
                </a:path>
                <a:path w="1325879" h="798829">
                  <a:moveTo>
                    <a:pt x="25908" y="210287"/>
                  </a:moveTo>
                  <a:lnTo>
                    <a:pt x="21336" y="214859"/>
                  </a:lnTo>
                  <a:lnTo>
                    <a:pt x="25908" y="214859"/>
                  </a:lnTo>
                  <a:lnTo>
                    <a:pt x="25908" y="210287"/>
                  </a:lnTo>
                  <a:close/>
                </a:path>
                <a:path w="1325879" h="798829">
                  <a:moveTo>
                    <a:pt x="30480" y="205715"/>
                  </a:moveTo>
                  <a:lnTo>
                    <a:pt x="25908" y="205715"/>
                  </a:lnTo>
                  <a:lnTo>
                    <a:pt x="25908" y="210287"/>
                  </a:lnTo>
                  <a:lnTo>
                    <a:pt x="30480" y="205715"/>
                  </a:lnTo>
                  <a:close/>
                </a:path>
                <a:path w="1325879" h="798829">
                  <a:moveTo>
                    <a:pt x="1136815" y="205715"/>
                  </a:moveTo>
                  <a:lnTo>
                    <a:pt x="1132243" y="205715"/>
                  </a:lnTo>
                  <a:lnTo>
                    <a:pt x="1132243" y="210287"/>
                  </a:lnTo>
                  <a:lnTo>
                    <a:pt x="1136815" y="205715"/>
                  </a:lnTo>
                  <a:close/>
                </a:path>
                <a:path w="1325879" h="798829">
                  <a:moveTo>
                    <a:pt x="1304425" y="3048"/>
                  </a:moveTo>
                  <a:lnTo>
                    <a:pt x="1110907" y="196571"/>
                  </a:lnTo>
                  <a:lnTo>
                    <a:pt x="1120051" y="192011"/>
                  </a:lnTo>
                  <a:lnTo>
                    <a:pt x="1150518" y="192011"/>
                  </a:lnTo>
                  <a:lnTo>
                    <a:pt x="1299853" y="42672"/>
                  </a:lnTo>
                  <a:lnTo>
                    <a:pt x="1299853" y="12192"/>
                  </a:lnTo>
                  <a:lnTo>
                    <a:pt x="1312807" y="12192"/>
                  </a:lnTo>
                  <a:lnTo>
                    <a:pt x="1304425" y="3048"/>
                  </a:lnTo>
                  <a:close/>
                </a:path>
                <a:path w="1325879" h="798829">
                  <a:moveTo>
                    <a:pt x="1150518" y="192011"/>
                  </a:moveTo>
                  <a:lnTo>
                    <a:pt x="1120051" y="192011"/>
                  </a:lnTo>
                  <a:lnTo>
                    <a:pt x="1110907" y="196571"/>
                  </a:lnTo>
                  <a:lnTo>
                    <a:pt x="1145958" y="196571"/>
                  </a:lnTo>
                  <a:lnTo>
                    <a:pt x="1150518" y="192011"/>
                  </a:lnTo>
                  <a:close/>
                </a:path>
                <a:path w="1325879" h="798829">
                  <a:moveTo>
                    <a:pt x="1299853" y="12192"/>
                  </a:moveTo>
                  <a:lnTo>
                    <a:pt x="1299853" y="42672"/>
                  </a:lnTo>
                  <a:lnTo>
                    <a:pt x="1318141" y="24384"/>
                  </a:lnTo>
                  <a:lnTo>
                    <a:pt x="1313569" y="24384"/>
                  </a:lnTo>
                  <a:lnTo>
                    <a:pt x="1299853" y="12192"/>
                  </a:lnTo>
                  <a:close/>
                </a:path>
                <a:path w="1325879" h="798829">
                  <a:moveTo>
                    <a:pt x="214871" y="21336"/>
                  </a:moveTo>
                  <a:lnTo>
                    <a:pt x="205727" y="24384"/>
                  </a:lnTo>
                  <a:lnTo>
                    <a:pt x="211823" y="24384"/>
                  </a:lnTo>
                  <a:lnTo>
                    <a:pt x="214871" y="21336"/>
                  </a:lnTo>
                  <a:close/>
                </a:path>
                <a:path w="1325879" h="798829">
                  <a:moveTo>
                    <a:pt x="1286137" y="21336"/>
                  </a:moveTo>
                  <a:lnTo>
                    <a:pt x="214871" y="21336"/>
                  </a:lnTo>
                  <a:lnTo>
                    <a:pt x="211823" y="24384"/>
                  </a:lnTo>
                  <a:lnTo>
                    <a:pt x="1283089" y="24384"/>
                  </a:lnTo>
                  <a:lnTo>
                    <a:pt x="1286137" y="21336"/>
                  </a:lnTo>
                  <a:close/>
                </a:path>
                <a:path w="1325879" h="798829">
                  <a:moveTo>
                    <a:pt x="1312807" y="12192"/>
                  </a:moveTo>
                  <a:lnTo>
                    <a:pt x="1299853" y="12192"/>
                  </a:lnTo>
                  <a:lnTo>
                    <a:pt x="1313569" y="24384"/>
                  </a:lnTo>
                  <a:lnTo>
                    <a:pt x="1318141" y="24384"/>
                  </a:lnTo>
                  <a:lnTo>
                    <a:pt x="1321189" y="21336"/>
                  </a:lnTo>
                  <a:lnTo>
                    <a:pt x="1312807" y="12192"/>
                  </a:lnTo>
                  <a:close/>
                </a:path>
              </a:pathLst>
            </a:custGeom>
            <a:solidFill>
              <a:srgbClr val="DFDF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3"/>
            <p:cNvSpPr/>
            <p:nvPr/>
          </p:nvSpPr>
          <p:spPr>
            <a:xfrm>
              <a:off x="2781579" y="4619370"/>
              <a:ext cx="4556760" cy="899160"/>
            </a:xfrm>
            <a:custGeom>
              <a:avLst/>
              <a:gdLst/>
              <a:ahLst/>
              <a:cxnLst/>
              <a:rect l="l" t="t" r="r" b="b"/>
              <a:pathLst>
                <a:path w="4556759" h="899160">
                  <a:moveTo>
                    <a:pt x="152387" y="746709"/>
                  </a:moveTo>
                  <a:lnTo>
                    <a:pt x="102095" y="779894"/>
                  </a:lnTo>
                  <a:lnTo>
                    <a:pt x="102095" y="33528"/>
                  </a:lnTo>
                  <a:lnTo>
                    <a:pt x="51816" y="33528"/>
                  </a:lnTo>
                  <a:lnTo>
                    <a:pt x="51816" y="780910"/>
                  </a:lnTo>
                  <a:lnTo>
                    <a:pt x="0" y="746709"/>
                  </a:lnTo>
                  <a:lnTo>
                    <a:pt x="76187" y="899096"/>
                  </a:lnTo>
                  <a:lnTo>
                    <a:pt x="127241" y="796988"/>
                  </a:lnTo>
                  <a:lnTo>
                    <a:pt x="152387" y="746709"/>
                  </a:lnTo>
                  <a:close/>
                </a:path>
                <a:path w="4556759" h="899160">
                  <a:moveTo>
                    <a:pt x="4556379" y="711657"/>
                  </a:moveTo>
                  <a:lnTo>
                    <a:pt x="4506087" y="745858"/>
                  </a:lnTo>
                  <a:lnTo>
                    <a:pt x="4506087" y="0"/>
                  </a:lnTo>
                  <a:lnTo>
                    <a:pt x="4454271" y="0"/>
                  </a:lnTo>
                  <a:lnTo>
                    <a:pt x="4454271" y="745858"/>
                  </a:lnTo>
                  <a:lnTo>
                    <a:pt x="4403979" y="711657"/>
                  </a:lnTo>
                  <a:lnTo>
                    <a:pt x="4480179" y="864044"/>
                  </a:lnTo>
                  <a:lnTo>
                    <a:pt x="4530471" y="763473"/>
                  </a:lnTo>
                  <a:lnTo>
                    <a:pt x="4556379" y="711657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4"/>
            <p:cNvSpPr/>
            <p:nvPr/>
          </p:nvSpPr>
          <p:spPr>
            <a:xfrm>
              <a:off x="7752466" y="5513893"/>
              <a:ext cx="193675" cy="772795"/>
            </a:xfrm>
            <a:custGeom>
              <a:avLst/>
              <a:gdLst/>
              <a:ahLst/>
              <a:cxnLst/>
              <a:rect l="l" t="t" r="r" b="b"/>
              <a:pathLst>
                <a:path w="193675" h="772795">
                  <a:moveTo>
                    <a:pt x="193517" y="0"/>
                  </a:moveTo>
                  <a:lnTo>
                    <a:pt x="0" y="193523"/>
                  </a:lnTo>
                  <a:lnTo>
                    <a:pt x="0" y="772594"/>
                  </a:lnTo>
                  <a:lnTo>
                    <a:pt x="193517" y="580595"/>
                  </a:lnTo>
                  <a:lnTo>
                    <a:pt x="193517" y="0"/>
                  </a:lnTo>
                  <a:close/>
                </a:path>
              </a:pathLst>
            </a:custGeom>
            <a:solidFill>
              <a:srgbClr val="84B59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45"/>
            <p:cNvSpPr/>
            <p:nvPr/>
          </p:nvSpPr>
          <p:spPr>
            <a:xfrm>
              <a:off x="6646133" y="5513893"/>
              <a:ext cx="1299845" cy="193675"/>
            </a:xfrm>
            <a:custGeom>
              <a:avLst/>
              <a:gdLst/>
              <a:ahLst/>
              <a:cxnLst/>
              <a:rect l="l" t="t" r="r" b="b"/>
              <a:pathLst>
                <a:path w="1299845" h="193675">
                  <a:moveTo>
                    <a:pt x="1299850" y="0"/>
                  </a:moveTo>
                  <a:lnTo>
                    <a:pt x="193517" y="0"/>
                  </a:lnTo>
                  <a:lnTo>
                    <a:pt x="0" y="193523"/>
                  </a:lnTo>
                  <a:lnTo>
                    <a:pt x="1106332" y="193523"/>
                  </a:lnTo>
                  <a:lnTo>
                    <a:pt x="1299850" y="0"/>
                  </a:lnTo>
                  <a:close/>
                </a:path>
              </a:pathLst>
            </a:custGeom>
            <a:solidFill>
              <a:srgbClr val="B6E8D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6"/>
            <p:cNvSpPr/>
            <p:nvPr/>
          </p:nvSpPr>
          <p:spPr>
            <a:xfrm>
              <a:off x="6632417" y="5501701"/>
              <a:ext cx="1325880" cy="798830"/>
            </a:xfrm>
            <a:custGeom>
              <a:avLst/>
              <a:gdLst/>
              <a:ahLst/>
              <a:cxnLst/>
              <a:rect l="l" t="t" r="r" b="b"/>
              <a:pathLst>
                <a:path w="1325879" h="798829">
                  <a:moveTo>
                    <a:pt x="1325758" y="0"/>
                  </a:moveTo>
                  <a:lnTo>
                    <a:pt x="201137" y="0"/>
                  </a:lnTo>
                  <a:lnTo>
                    <a:pt x="0" y="199619"/>
                  </a:lnTo>
                  <a:lnTo>
                    <a:pt x="0" y="798502"/>
                  </a:lnTo>
                  <a:lnTo>
                    <a:pt x="1124620" y="798502"/>
                  </a:lnTo>
                  <a:lnTo>
                    <a:pt x="1138336" y="784786"/>
                  </a:lnTo>
                  <a:lnTo>
                    <a:pt x="25908" y="784786"/>
                  </a:lnTo>
                  <a:lnTo>
                    <a:pt x="13716" y="772594"/>
                  </a:lnTo>
                  <a:lnTo>
                    <a:pt x="25908" y="772594"/>
                  </a:lnTo>
                  <a:lnTo>
                    <a:pt x="25908" y="217907"/>
                  </a:lnTo>
                  <a:lnTo>
                    <a:pt x="13716" y="217907"/>
                  </a:lnTo>
                  <a:lnTo>
                    <a:pt x="13716" y="192011"/>
                  </a:lnTo>
                  <a:lnTo>
                    <a:pt x="45527" y="192011"/>
                  </a:lnTo>
                  <a:lnTo>
                    <a:pt x="211829" y="24384"/>
                  </a:lnTo>
                  <a:lnTo>
                    <a:pt x="207233" y="24384"/>
                  </a:lnTo>
                  <a:lnTo>
                    <a:pt x="214853" y="21336"/>
                  </a:lnTo>
                  <a:lnTo>
                    <a:pt x="1286134" y="21336"/>
                  </a:lnTo>
                  <a:lnTo>
                    <a:pt x="1304422" y="3048"/>
                  </a:lnTo>
                  <a:lnTo>
                    <a:pt x="1325758" y="3048"/>
                  </a:lnTo>
                  <a:lnTo>
                    <a:pt x="1325758" y="0"/>
                  </a:lnTo>
                  <a:close/>
                </a:path>
                <a:path w="1325879" h="798829">
                  <a:moveTo>
                    <a:pt x="25908" y="772594"/>
                  </a:moveTo>
                  <a:lnTo>
                    <a:pt x="13716" y="772594"/>
                  </a:lnTo>
                  <a:lnTo>
                    <a:pt x="25908" y="784786"/>
                  </a:lnTo>
                  <a:lnTo>
                    <a:pt x="25908" y="772594"/>
                  </a:lnTo>
                  <a:close/>
                </a:path>
                <a:path w="1325879" h="798829">
                  <a:moveTo>
                    <a:pt x="1107856" y="772594"/>
                  </a:moveTo>
                  <a:lnTo>
                    <a:pt x="25908" y="772594"/>
                  </a:lnTo>
                  <a:lnTo>
                    <a:pt x="25908" y="784786"/>
                  </a:lnTo>
                  <a:lnTo>
                    <a:pt x="1107856" y="784786"/>
                  </a:lnTo>
                  <a:lnTo>
                    <a:pt x="1107856" y="772594"/>
                  </a:lnTo>
                  <a:close/>
                </a:path>
                <a:path w="1325879" h="798829">
                  <a:moveTo>
                    <a:pt x="1132240" y="205715"/>
                  </a:moveTo>
                  <a:lnTo>
                    <a:pt x="1107856" y="205715"/>
                  </a:lnTo>
                  <a:lnTo>
                    <a:pt x="1107856" y="784786"/>
                  </a:lnTo>
                  <a:lnTo>
                    <a:pt x="1132240" y="784786"/>
                  </a:lnTo>
                  <a:lnTo>
                    <a:pt x="1132240" y="775642"/>
                  </a:lnTo>
                  <a:lnTo>
                    <a:pt x="1110904" y="775642"/>
                  </a:lnTo>
                  <a:lnTo>
                    <a:pt x="1132240" y="754474"/>
                  </a:lnTo>
                  <a:lnTo>
                    <a:pt x="1132240" y="217907"/>
                  </a:lnTo>
                  <a:lnTo>
                    <a:pt x="1124620" y="217907"/>
                  </a:lnTo>
                  <a:lnTo>
                    <a:pt x="1132240" y="210346"/>
                  </a:lnTo>
                  <a:lnTo>
                    <a:pt x="1132240" y="205715"/>
                  </a:lnTo>
                  <a:close/>
                </a:path>
                <a:path w="1325879" h="798829">
                  <a:moveTo>
                    <a:pt x="1301374" y="586667"/>
                  </a:moveTo>
                  <a:lnTo>
                    <a:pt x="1132240" y="754474"/>
                  </a:lnTo>
                  <a:lnTo>
                    <a:pt x="1132240" y="784786"/>
                  </a:lnTo>
                  <a:lnTo>
                    <a:pt x="1138336" y="784786"/>
                  </a:lnTo>
                  <a:lnTo>
                    <a:pt x="1325758" y="597359"/>
                  </a:lnTo>
                  <a:lnTo>
                    <a:pt x="1325758" y="592787"/>
                  </a:lnTo>
                  <a:lnTo>
                    <a:pt x="1301374" y="592787"/>
                  </a:lnTo>
                  <a:lnTo>
                    <a:pt x="1301374" y="586667"/>
                  </a:lnTo>
                  <a:close/>
                </a:path>
                <a:path w="1325879" h="798829">
                  <a:moveTo>
                    <a:pt x="1132240" y="754474"/>
                  </a:moveTo>
                  <a:lnTo>
                    <a:pt x="1110904" y="775642"/>
                  </a:lnTo>
                  <a:lnTo>
                    <a:pt x="1120048" y="772594"/>
                  </a:lnTo>
                  <a:lnTo>
                    <a:pt x="1132240" y="772594"/>
                  </a:lnTo>
                  <a:lnTo>
                    <a:pt x="1132240" y="754474"/>
                  </a:lnTo>
                  <a:close/>
                </a:path>
                <a:path w="1325879" h="798829">
                  <a:moveTo>
                    <a:pt x="1132240" y="772594"/>
                  </a:moveTo>
                  <a:lnTo>
                    <a:pt x="1120048" y="772594"/>
                  </a:lnTo>
                  <a:lnTo>
                    <a:pt x="1110904" y="775642"/>
                  </a:lnTo>
                  <a:lnTo>
                    <a:pt x="1132240" y="775642"/>
                  </a:lnTo>
                  <a:lnTo>
                    <a:pt x="1132240" y="772594"/>
                  </a:lnTo>
                  <a:close/>
                </a:path>
                <a:path w="1325879" h="798829">
                  <a:moveTo>
                    <a:pt x="1304422" y="583643"/>
                  </a:moveTo>
                  <a:lnTo>
                    <a:pt x="1301374" y="586667"/>
                  </a:lnTo>
                  <a:lnTo>
                    <a:pt x="1301374" y="592787"/>
                  </a:lnTo>
                  <a:lnTo>
                    <a:pt x="1304422" y="583643"/>
                  </a:lnTo>
                  <a:close/>
                </a:path>
                <a:path w="1325879" h="798829">
                  <a:moveTo>
                    <a:pt x="1325758" y="583643"/>
                  </a:moveTo>
                  <a:lnTo>
                    <a:pt x="1304422" y="583643"/>
                  </a:lnTo>
                  <a:lnTo>
                    <a:pt x="1301374" y="592787"/>
                  </a:lnTo>
                  <a:lnTo>
                    <a:pt x="1325758" y="592787"/>
                  </a:lnTo>
                  <a:lnTo>
                    <a:pt x="1325758" y="583643"/>
                  </a:lnTo>
                  <a:close/>
                </a:path>
                <a:path w="1325879" h="798829">
                  <a:moveTo>
                    <a:pt x="1325758" y="3048"/>
                  </a:moveTo>
                  <a:lnTo>
                    <a:pt x="1304422" y="3048"/>
                  </a:lnTo>
                  <a:lnTo>
                    <a:pt x="1322710" y="21336"/>
                  </a:lnTo>
                  <a:lnTo>
                    <a:pt x="1301374" y="42508"/>
                  </a:lnTo>
                  <a:lnTo>
                    <a:pt x="1301374" y="586667"/>
                  </a:lnTo>
                  <a:lnTo>
                    <a:pt x="1304422" y="583643"/>
                  </a:lnTo>
                  <a:lnTo>
                    <a:pt x="1325758" y="583643"/>
                  </a:lnTo>
                  <a:lnTo>
                    <a:pt x="1325758" y="3048"/>
                  </a:lnTo>
                  <a:close/>
                </a:path>
                <a:path w="1325879" h="798829">
                  <a:moveTo>
                    <a:pt x="45527" y="192011"/>
                  </a:moveTo>
                  <a:lnTo>
                    <a:pt x="13716" y="192011"/>
                  </a:lnTo>
                  <a:lnTo>
                    <a:pt x="13716" y="217907"/>
                  </a:lnTo>
                  <a:lnTo>
                    <a:pt x="25908" y="217907"/>
                  </a:lnTo>
                  <a:lnTo>
                    <a:pt x="25908" y="214859"/>
                  </a:lnTo>
                  <a:lnTo>
                    <a:pt x="22860" y="214859"/>
                  </a:lnTo>
                  <a:lnTo>
                    <a:pt x="25908" y="205715"/>
                  </a:lnTo>
                  <a:lnTo>
                    <a:pt x="31931" y="205715"/>
                  </a:lnTo>
                  <a:lnTo>
                    <a:pt x="45527" y="192011"/>
                  </a:lnTo>
                  <a:close/>
                </a:path>
                <a:path w="1325879" h="798829">
                  <a:moveTo>
                    <a:pt x="1115464" y="192011"/>
                  </a:moveTo>
                  <a:lnTo>
                    <a:pt x="45527" y="192011"/>
                  </a:lnTo>
                  <a:lnTo>
                    <a:pt x="25908" y="211787"/>
                  </a:lnTo>
                  <a:lnTo>
                    <a:pt x="25908" y="217907"/>
                  </a:lnTo>
                  <a:lnTo>
                    <a:pt x="1107856" y="217907"/>
                  </a:lnTo>
                  <a:lnTo>
                    <a:pt x="1107856" y="205715"/>
                  </a:lnTo>
                  <a:lnTo>
                    <a:pt x="1136906" y="205715"/>
                  </a:lnTo>
                  <a:lnTo>
                    <a:pt x="1146121" y="196571"/>
                  </a:lnTo>
                  <a:lnTo>
                    <a:pt x="1110904" y="196571"/>
                  </a:lnTo>
                  <a:lnTo>
                    <a:pt x="1115464" y="192011"/>
                  </a:lnTo>
                  <a:close/>
                </a:path>
                <a:path w="1325879" h="798829">
                  <a:moveTo>
                    <a:pt x="1132240" y="210346"/>
                  </a:moveTo>
                  <a:lnTo>
                    <a:pt x="1124620" y="217907"/>
                  </a:lnTo>
                  <a:lnTo>
                    <a:pt x="1132240" y="217907"/>
                  </a:lnTo>
                  <a:lnTo>
                    <a:pt x="1132240" y="210346"/>
                  </a:lnTo>
                  <a:close/>
                </a:path>
                <a:path w="1325879" h="798829">
                  <a:moveTo>
                    <a:pt x="25908" y="205715"/>
                  </a:moveTo>
                  <a:lnTo>
                    <a:pt x="22860" y="214859"/>
                  </a:lnTo>
                  <a:lnTo>
                    <a:pt x="25908" y="211787"/>
                  </a:lnTo>
                  <a:lnTo>
                    <a:pt x="25908" y="205715"/>
                  </a:lnTo>
                  <a:close/>
                </a:path>
                <a:path w="1325879" h="798829">
                  <a:moveTo>
                    <a:pt x="25908" y="211787"/>
                  </a:moveTo>
                  <a:lnTo>
                    <a:pt x="22860" y="214859"/>
                  </a:lnTo>
                  <a:lnTo>
                    <a:pt x="25908" y="214859"/>
                  </a:lnTo>
                  <a:lnTo>
                    <a:pt x="25908" y="211787"/>
                  </a:lnTo>
                  <a:close/>
                </a:path>
                <a:path w="1325879" h="798829">
                  <a:moveTo>
                    <a:pt x="31931" y="205715"/>
                  </a:moveTo>
                  <a:lnTo>
                    <a:pt x="25908" y="205715"/>
                  </a:lnTo>
                  <a:lnTo>
                    <a:pt x="25908" y="211787"/>
                  </a:lnTo>
                  <a:lnTo>
                    <a:pt x="31931" y="205715"/>
                  </a:lnTo>
                  <a:close/>
                </a:path>
                <a:path w="1325879" h="798829">
                  <a:moveTo>
                    <a:pt x="1136906" y="205715"/>
                  </a:moveTo>
                  <a:lnTo>
                    <a:pt x="1132240" y="205715"/>
                  </a:lnTo>
                  <a:lnTo>
                    <a:pt x="1132240" y="210346"/>
                  </a:lnTo>
                  <a:lnTo>
                    <a:pt x="1136906" y="205715"/>
                  </a:lnTo>
                  <a:close/>
                </a:path>
                <a:path w="1325879" h="798829">
                  <a:moveTo>
                    <a:pt x="1304422" y="3048"/>
                  </a:moveTo>
                  <a:lnTo>
                    <a:pt x="1110904" y="196571"/>
                  </a:lnTo>
                  <a:lnTo>
                    <a:pt x="1120048" y="192011"/>
                  </a:lnTo>
                  <a:lnTo>
                    <a:pt x="1150716" y="192011"/>
                  </a:lnTo>
                  <a:lnTo>
                    <a:pt x="1301374" y="42508"/>
                  </a:lnTo>
                  <a:lnTo>
                    <a:pt x="1301374" y="12192"/>
                  </a:lnTo>
                  <a:lnTo>
                    <a:pt x="1313566" y="12192"/>
                  </a:lnTo>
                  <a:lnTo>
                    <a:pt x="1304422" y="3048"/>
                  </a:lnTo>
                  <a:close/>
                </a:path>
                <a:path w="1325879" h="798829">
                  <a:moveTo>
                    <a:pt x="1150716" y="192011"/>
                  </a:moveTo>
                  <a:lnTo>
                    <a:pt x="1120048" y="192011"/>
                  </a:lnTo>
                  <a:lnTo>
                    <a:pt x="1110904" y="196571"/>
                  </a:lnTo>
                  <a:lnTo>
                    <a:pt x="1146121" y="196571"/>
                  </a:lnTo>
                  <a:lnTo>
                    <a:pt x="1150716" y="192011"/>
                  </a:lnTo>
                  <a:close/>
                </a:path>
                <a:path w="1325879" h="798829">
                  <a:moveTo>
                    <a:pt x="1301374" y="12192"/>
                  </a:moveTo>
                  <a:lnTo>
                    <a:pt x="1301374" y="42508"/>
                  </a:lnTo>
                  <a:lnTo>
                    <a:pt x="1319638" y="24384"/>
                  </a:lnTo>
                  <a:lnTo>
                    <a:pt x="1313566" y="24384"/>
                  </a:lnTo>
                  <a:lnTo>
                    <a:pt x="1301374" y="12192"/>
                  </a:lnTo>
                  <a:close/>
                </a:path>
                <a:path w="1325879" h="798829">
                  <a:moveTo>
                    <a:pt x="214853" y="21336"/>
                  </a:moveTo>
                  <a:lnTo>
                    <a:pt x="207233" y="24384"/>
                  </a:lnTo>
                  <a:lnTo>
                    <a:pt x="211829" y="24384"/>
                  </a:lnTo>
                  <a:lnTo>
                    <a:pt x="214853" y="21336"/>
                  </a:lnTo>
                  <a:close/>
                </a:path>
                <a:path w="1325879" h="798829">
                  <a:moveTo>
                    <a:pt x="1286134" y="21336"/>
                  </a:moveTo>
                  <a:lnTo>
                    <a:pt x="214853" y="21336"/>
                  </a:lnTo>
                  <a:lnTo>
                    <a:pt x="211829" y="24384"/>
                  </a:lnTo>
                  <a:lnTo>
                    <a:pt x="1283086" y="24384"/>
                  </a:lnTo>
                  <a:lnTo>
                    <a:pt x="1286134" y="21336"/>
                  </a:lnTo>
                  <a:close/>
                </a:path>
                <a:path w="1325879" h="798829">
                  <a:moveTo>
                    <a:pt x="1313566" y="12192"/>
                  </a:moveTo>
                  <a:lnTo>
                    <a:pt x="1301374" y="12192"/>
                  </a:lnTo>
                  <a:lnTo>
                    <a:pt x="1313566" y="24384"/>
                  </a:lnTo>
                  <a:lnTo>
                    <a:pt x="1319638" y="24384"/>
                  </a:lnTo>
                  <a:lnTo>
                    <a:pt x="1322710" y="21336"/>
                  </a:lnTo>
                  <a:lnTo>
                    <a:pt x="1313566" y="12192"/>
                  </a:lnTo>
                  <a:close/>
                </a:path>
              </a:pathLst>
            </a:custGeom>
            <a:solidFill>
              <a:srgbClr val="3232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7"/>
            <p:cNvSpPr/>
            <p:nvPr/>
          </p:nvSpPr>
          <p:spPr>
            <a:xfrm>
              <a:off x="2842526" y="3956494"/>
              <a:ext cx="4405630" cy="710565"/>
            </a:xfrm>
            <a:custGeom>
              <a:avLst/>
              <a:gdLst/>
              <a:ahLst/>
              <a:cxnLst/>
              <a:rect l="l" t="t" r="r" b="b"/>
              <a:pathLst>
                <a:path w="4405630" h="710564">
                  <a:moveTo>
                    <a:pt x="4405515" y="658304"/>
                  </a:moveTo>
                  <a:lnTo>
                    <a:pt x="2235530" y="658304"/>
                  </a:lnTo>
                  <a:lnTo>
                    <a:pt x="2281999" y="565365"/>
                  </a:lnTo>
                  <a:lnTo>
                    <a:pt x="2307158" y="515073"/>
                  </a:lnTo>
                  <a:lnTo>
                    <a:pt x="2256866" y="548271"/>
                  </a:lnTo>
                  <a:lnTo>
                    <a:pt x="2256866" y="0"/>
                  </a:lnTo>
                  <a:lnTo>
                    <a:pt x="2206574" y="0"/>
                  </a:lnTo>
                  <a:lnTo>
                    <a:pt x="2206574" y="549275"/>
                  </a:lnTo>
                  <a:lnTo>
                    <a:pt x="2154758" y="515073"/>
                  </a:lnTo>
                  <a:lnTo>
                    <a:pt x="2226373" y="658304"/>
                  </a:lnTo>
                  <a:lnTo>
                    <a:pt x="0" y="658304"/>
                  </a:lnTo>
                  <a:lnTo>
                    <a:pt x="0" y="710120"/>
                  </a:lnTo>
                  <a:lnTo>
                    <a:pt x="4405515" y="710120"/>
                  </a:lnTo>
                  <a:lnTo>
                    <a:pt x="4405515" y="658304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8" name="object 48"/>
          <p:cNvSpPr txBox="1"/>
          <p:nvPr/>
        </p:nvSpPr>
        <p:spPr>
          <a:xfrm>
            <a:off x="6452390" y="5538116"/>
            <a:ext cx="1178560" cy="512961"/>
          </a:xfrm>
          <a:prstGeom prst="rect">
            <a:avLst/>
          </a:prstGeom>
          <a:solidFill>
            <a:srgbClr val="A5E2C4"/>
          </a:solidFill>
        </p:spPr>
        <p:txBody>
          <a:bodyPr vert="horz" wrap="square" lIns="0" tIns="81280" rIns="0" bIns="0" rtlCol="0">
            <a:spAutoFit/>
          </a:bodyPr>
          <a:lstStyle/>
          <a:p>
            <a:pPr marL="530225" marR="332740" indent="-144780">
              <a:lnSpc>
                <a:spcPct val="100000"/>
              </a:lnSpc>
              <a:spcBef>
                <a:spcPts val="640"/>
              </a:spcBef>
            </a:pPr>
            <a:r>
              <a:rPr sz="1400" spc="-5" dirty="0">
                <a:latin typeface="Liberation Sans Narrow"/>
                <a:cs typeface="Liberation Sans Narrow"/>
              </a:rPr>
              <a:t>Da</a:t>
            </a:r>
            <a:r>
              <a:rPr sz="1400" dirty="0">
                <a:latin typeface="Liberation Sans Narrow"/>
                <a:cs typeface="Liberation Sans Narrow"/>
              </a:rPr>
              <a:t>y</a:t>
            </a:r>
            <a:r>
              <a:rPr lang="en-IN" sz="1400" dirty="0">
                <a:latin typeface="Liberation Sans Narrow"/>
                <a:cs typeface="Liberation Sans Narrow"/>
              </a:rPr>
              <a:t>s</a:t>
            </a:r>
            <a:r>
              <a:rPr sz="1400" spc="-5" dirty="0">
                <a:latin typeface="Liberation Sans Narrow"/>
                <a:cs typeface="Liberation Sans Narrow"/>
              </a:rPr>
              <a:t>  1</a:t>
            </a:r>
            <a:endParaRPr sz="1400" dirty="0">
              <a:latin typeface="Liberation Sans Narrow"/>
              <a:cs typeface="Liberation Sans Narrow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5066886" y="5848631"/>
            <a:ext cx="1178560" cy="2686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Liberation Sans Narrow"/>
                <a:cs typeface="Liberation Sans Narrow"/>
              </a:rPr>
              <a:t>Deduct Full</a:t>
            </a:r>
            <a:r>
              <a:rPr sz="1600" spc="-100" dirty="0">
                <a:latin typeface="Liberation Sans Narrow"/>
                <a:cs typeface="Liberation Sans Narrow"/>
              </a:rPr>
              <a:t> </a:t>
            </a:r>
            <a:r>
              <a:rPr sz="1600" spc="-5" dirty="0">
                <a:latin typeface="Liberation Sans Narrow"/>
                <a:cs typeface="Liberation Sans Narrow"/>
              </a:rPr>
              <a:t>day</a:t>
            </a:r>
            <a:endParaRPr sz="1600">
              <a:latin typeface="Liberation Sans Narrow"/>
              <a:cs typeface="Liberation Sans Narrow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2143796" y="5524711"/>
            <a:ext cx="1325880" cy="514885"/>
          </a:xfrm>
          <a:prstGeom prst="rect">
            <a:avLst/>
          </a:prstGeom>
          <a:solidFill>
            <a:srgbClr val="FFFF98"/>
          </a:solidFill>
        </p:spPr>
        <p:txBody>
          <a:bodyPr vert="horz" wrap="square" lIns="0" tIns="22225" rIns="0" bIns="0" rtlCol="0">
            <a:spAutoFit/>
          </a:bodyPr>
          <a:lstStyle/>
          <a:p>
            <a:pPr marL="490220" marR="341630" indent="-177165">
              <a:lnSpc>
                <a:spcPct val="100000"/>
              </a:lnSpc>
              <a:spcBef>
                <a:spcPts val="175"/>
              </a:spcBef>
            </a:pPr>
            <a:r>
              <a:rPr sz="1600" spc="-5" dirty="0">
                <a:latin typeface="Liberation Sans Narrow"/>
                <a:cs typeface="Liberation Sans Narrow"/>
              </a:rPr>
              <a:t>Hou</a:t>
            </a:r>
            <a:r>
              <a:rPr sz="1600" spc="-10" dirty="0">
                <a:latin typeface="Liberation Sans Narrow"/>
                <a:cs typeface="Liberation Sans Narrow"/>
              </a:rPr>
              <a:t>r</a:t>
            </a:r>
            <a:r>
              <a:rPr sz="1600" spc="-5" dirty="0">
                <a:latin typeface="Liberation Sans Narrow"/>
                <a:cs typeface="Liberation Sans Narrow"/>
              </a:rPr>
              <a:t>s  4</a:t>
            </a:r>
            <a:endParaRPr sz="1600" dirty="0">
              <a:latin typeface="Liberation Sans Narrow"/>
              <a:cs typeface="Liberation Sans Narrow"/>
            </a:endParaRPr>
          </a:p>
        </p:txBody>
      </p:sp>
      <p:grpSp>
        <p:nvGrpSpPr>
          <p:cNvPr id="51" name="object 51"/>
          <p:cNvGrpSpPr/>
          <p:nvPr/>
        </p:nvGrpSpPr>
        <p:grpSpPr>
          <a:xfrm>
            <a:off x="1149513" y="3892479"/>
            <a:ext cx="2971800" cy="1321435"/>
            <a:chOff x="1149513" y="3892479"/>
            <a:chExt cx="2971800" cy="1321435"/>
          </a:xfrm>
        </p:grpSpPr>
        <p:sp>
          <p:nvSpPr>
            <p:cNvPr id="52" name="object 52"/>
            <p:cNvSpPr/>
            <p:nvPr/>
          </p:nvSpPr>
          <p:spPr>
            <a:xfrm>
              <a:off x="1149513" y="3892479"/>
              <a:ext cx="1810385" cy="64135"/>
            </a:xfrm>
            <a:custGeom>
              <a:avLst/>
              <a:gdLst/>
              <a:ahLst/>
              <a:cxnLst/>
              <a:rect l="l" t="t" r="r" b="b"/>
              <a:pathLst>
                <a:path w="1810385" h="64135">
                  <a:moveTo>
                    <a:pt x="25908" y="0"/>
                  </a:moveTo>
                  <a:lnTo>
                    <a:pt x="0" y="0"/>
                  </a:lnTo>
                  <a:lnTo>
                    <a:pt x="0" y="64007"/>
                  </a:lnTo>
                  <a:lnTo>
                    <a:pt x="1810368" y="64007"/>
                  </a:lnTo>
                  <a:lnTo>
                    <a:pt x="1810368" y="51815"/>
                  </a:lnTo>
                  <a:lnTo>
                    <a:pt x="25908" y="51815"/>
                  </a:lnTo>
                  <a:lnTo>
                    <a:pt x="13716" y="38099"/>
                  </a:lnTo>
                  <a:lnTo>
                    <a:pt x="25908" y="38099"/>
                  </a:lnTo>
                  <a:lnTo>
                    <a:pt x="25908" y="0"/>
                  </a:lnTo>
                  <a:close/>
                </a:path>
                <a:path w="1810385" h="64135">
                  <a:moveTo>
                    <a:pt x="25908" y="38099"/>
                  </a:moveTo>
                  <a:lnTo>
                    <a:pt x="13716" y="38099"/>
                  </a:lnTo>
                  <a:lnTo>
                    <a:pt x="25908" y="51815"/>
                  </a:lnTo>
                  <a:lnTo>
                    <a:pt x="25908" y="38099"/>
                  </a:lnTo>
                  <a:close/>
                </a:path>
                <a:path w="1810385" h="64135">
                  <a:moveTo>
                    <a:pt x="1784460" y="38099"/>
                  </a:moveTo>
                  <a:lnTo>
                    <a:pt x="25908" y="38099"/>
                  </a:lnTo>
                  <a:lnTo>
                    <a:pt x="25908" y="51815"/>
                  </a:lnTo>
                  <a:lnTo>
                    <a:pt x="1784460" y="51815"/>
                  </a:lnTo>
                  <a:lnTo>
                    <a:pt x="1784460" y="38099"/>
                  </a:lnTo>
                  <a:close/>
                </a:path>
                <a:path w="1810385" h="64135">
                  <a:moveTo>
                    <a:pt x="1810368" y="0"/>
                  </a:moveTo>
                  <a:lnTo>
                    <a:pt x="1784460" y="0"/>
                  </a:lnTo>
                  <a:lnTo>
                    <a:pt x="1784460" y="51815"/>
                  </a:lnTo>
                  <a:lnTo>
                    <a:pt x="1798176" y="38099"/>
                  </a:lnTo>
                  <a:lnTo>
                    <a:pt x="1810368" y="38099"/>
                  </a:lnTo>
                  <a:lnTo>
                    <a:pt x="1810368" y="0"/>
                  </a:lnTo>
                  <a:close/>
                </a:path>
                <a:path w="1810385" h="64135">
                  <a:moveTo>
                    <a:pt x="1810368" y="38099"/>
                  </a:moveTo>
                  <a:lnTo>
                    <a:pt x="1798176" y="38099"/>
                  </a:lnTo>
                  <a:lnTo>
                    <a:pt x="1784460" y="51815"/>
                  </a:lnTo>
                  <a:lnTo>
                    <a:pt x="1810368" y="51815"/>
                  </a:lnTo>
                  <a:lnTo>
                    <a:pt x="1810368" y="38099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53"/>
            <p:cNvSpPr/>
            <p:nvPr/>
          </p:nvSpPr>
          <p:spPr>
            <a:xfrm>
              <a:off x="1791068" y="4864714"/>
              <a:ext cx="2318385" cy="337185"/>
            </a:xfrm>
            <a:custGeom>
              <a:avLst/>
              <a:gdLst/>
              <a:ahLst/>
              <a:cxnLst/>
              <a:rect l="l" t="t" r="r" b="b"/>
              <a:pathLst>
                <a:path w="2318385" h="337185">
                  <a:moveTo>
                    <a:pt x="2317814" y="0"/>
                  </a:moveTo>
                  <a:lnTo>
                    <a:pt x="0" y="0"/>
                  </a:lnTo>
                  <a:lnTo>
                    <a:pt x="0" y="336779"/>
                  </a:lnTo>
                  <a:lnTo>
                    <a:pt x="2317814" y="336779"/>
                  </a:lnTo>
                  <a:lnTo>
                    <a:pt x="2317814" y="0"/>
                  </a:lnTo>
                  <a:close/>
                </a:path>
              </a:pathLst>
            </a:custGeom>
            <a:solidFill>
              <a:srgbClr val="DEBB9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4"/>
            <p:cNvSpPr/>
            <p:nvPr/>
          </p:nvSpPr>
          <p:spPr>
            <a:xfrm>
              <a:off x="1778876" y="4852522"/>
              <a:ext cx="2342515" cy="361315"/>
            </a:xfrm>
            <a:custGeom>
              <a:avLst/>
              <a:gdLst/>
              <a:ahLst/>
              <a:cxnLst/>
              <a:rect l="l" t="t" r="r" b="b"/>
              <a:pathLst>
                <a:path w="2342515" h="361314">
                  <a:moveTo>
                    <a:pt x="2342202" y="0"/>
                  </a:moveTo>
                  <a:lnTo>
                    <a:pt x="0" y="0"/>
                  </a:lnTo>
                  <a:lnTo>
                    <a:pt x="0" y="361163"/>
                  </a:lnTo>
                  <a:lnTo>
                    <a:pt x="2342202" y="361163"/>
                  </a:lnTo>
                  <a:lnTo>
                    <a:pt x="2342202" y="348971"/>
                  </a:lnTo>
                  <a:lnTo>
                    <a:pt x="25908" y="348971"/>
                  </a:lnTo>
                  <a:lnTo>
                    <a:pt x="12192" y="335255"/>
                  </a:lnTo>
                  <a:lnTo>
                    <a:pt x="25908" y="335255"/>
                  </a:lnTo>
                  <a:lnTo>
                    <a:pt x="25908" y="24384"/>
                  </a:lnTo>
                  <a:lnTo>
                    <a:pt x="12192" y="24384"/>
                  </a:lnTo>
                  <a:lnTo>
                    <a:pt x="25908" y="12192"/>
                  </a:lnTo>
                  <a:lnTo>
                    <a:pt x="2342202" y="12192"/>
                  </a:lnTo>
                  <a:lnTo>
                    <a:pt x="2342202" y="0"/>
                  </a:lnTo>
                  <a:close/>
                </a:path>
                <a:path w="2342515" h="361314">
                  <a:moveTo>
                    <a:pt x="25908" y="335255"/>
                  </a:moveTo>
                  <a:lnTo>
                    <a:pt x="12192" y="335255"/>
                  </a:lnTo>
                  <a:lnTo>
                    <a:pt x="25908" y="348971"/>
                  </a:lnTo>
                  <a:lnTo>
                    <a:pt x="25908" y="335255"/>
                  </a:lnTo>
                  <a:close/>
                </a:path>
                <a:path w="2342515" h="361314">
                  <a:moveTo>
                    <a:pt x="2317818" y="335255"/>
                  </a:moveTo>
                  <a:lnTo>
                    <a:pt x="25908" y="335255"/>
                  </a:lnTo>
                  <a:lnTo>
                    <a:pt x="25908" y="348971"/>
                  </a:lnTo>
                  <a:lnTo>
                    <a:pt x="2317818" y="348971"/>
                  </a:lnTo>
                  <a:lnTo>
                    <a:pt x="2317818" y="335255"/>
                  </a:lnTo>
                  <a:close/>
                </a:path>
                <a:path w="2342515" h="361314">
                  <a:moveTo>
                    <a:pt x="2317818" y="12192"/>
                  </a:moveTo>
                  <a:lnTo>
                    <a:pt x="2317818" y="348971"/>
                  </a:lnTo>
                  <a:lnTo>
                    <a:pt x="2330010" y="335255"/>
                  </a:lnTo>
                  <a:lnTo>
                    <a:pt x="2342202" y="335255"/>
                  </a:lnTo>
                  <a:lnTo>
                    <a:pt x="2342202" y="24384"/>
                  </a:lnTo>
                  <a:lnTo>
                    <a:pt x="2330010" y="24384"/>
                  </a:lnTo>
                  <a:lnTo>
                    <a:pt x="2317818" y="12192"/>
                  </a:lnTo>
                  <a:close/>
                </a:path>
                <a:path w="2342515" h="361314">
                  <a:moveTo>
                    <a:pt x="2342202" y="335255"/>
                  </a:moveTo>
                  <a:lnTo>
                    <a:pt x="2330010" y="335255"/>
                  </a:lnTo>
                  <a:lnTo>
                    <a:pt x="2317818" y="348971"/>
                  </a:lnTo>
                  <a:lnTo>
                    <a:pt x="2342202" y="348971"/>
                  </a:lnTo>
                  <a:lnTo>
                    <a:pt x="2342202" y="335255"/>
                  </a:lnTo>
                  <a:close/>
                </a:path>
                <a:path w="2342515" h="361314">
                  <a:moveTo>
                    <a:pt x="25908" y="12192"/>
                  </a:moveTo>
                  <a:lnTo>
                    <a:pt x="12192" y="24384"/>
                  </a:lnTo>
                  <a:lnTo>
                    <a:pt x="25908" y="24384"/>
                  </a:lnTo>
                  <a:lnTo>
                    <a:pt x="25908" y="12192"/>
                  </a:lnTo>
                  <a:close/>
                </a:path>
                <a:path w="2342515" h="361314">
                  <a:moveTo>
                    <a:pt x="2317818" y="12192"/>
                  </a:moveTo>
                  <a:lnTo>
                    <a:pt x="25908" y="12192"/>
                  </a:lnTo>
                  <a:lnTo>
                    <a:pt x="25908" y="24384"/>
                  </a:lnTo>
                  <a:lnTo>
                    <a:pt x="2317818" y="24384"/>
                  </a:lnTo>
                  <a:lnTo>
                    <a:pt x="2317818" y="12192"/>
                  </a:lnTo>
                  <a:close/>
                </a:path>
                <a:path w="2342515" h="361314">
                  <a:moveTo>
                    <a:pt x="2342202" y="12192"/>
                  </a:moveTo>
                  <a:lnTo>
                    <a:pt x="2317818" y="12192"/>
                  </a:lnTo>
                  <a:lnTo>
                    <a:pt x="2330010" y="24384"/>
                  </a:lnTo>
                  <a:lnTo>
                    <a:pt x="2342202" y="24384"/>
                  </a:lnTo>
                  <a:lnTo>
                    <a:pt x="2342202" y="1219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5" name="object 55"/>
          <p:cNvSpPr txBox="1"/>
          <p:nvPr/>
        </p:nvSpPr>
        <p:spPr>
          <a:xfrm>
            <a:off x="2162380" y="4891635"/>
            <a:ext cx="1610360" cy="2686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Liberation Sans Narrow"/>
                <a:cs typeface="Liberation Sans Narrow"/>
              </a:rPr>
              <a:t>Quota Multiplier</a:t>
            </a:r>
            <a:r>
              <a:rPr sz="1600" spc="250" dirty="0">
                <a:latin typeface="Liberation Sans Narrow"/>
                <a:cs typeface="Liberation Sans Narrow"/>
              </a:rPr>
              <a:t> </a:t>
            </a:r>
            <a:r>
              <a:rPr sz="1600" spc="-5" dirty="0">
                <a:latin typeface="Liberation Sans Narrow"/>
                <a:cs typeface="Liberation Sans Narrow"/>
              </a:rPr>
              <a:t>50%</a:t>
            </a:r>
            <a:endParaRPr sz="1600">
              <a:latin typeface="Liberation Sans Narrow"/>
              <a:cs typeface="Liberation Sans Narrow"/>
            </a:endParaRPr>
          </a:p>
        </p:txBody>
      </p:sp>
      <p:grpSp>
        <p:nvGrpSpPr>
          <p:cNvPr id="56" name="object 56"/>
          <p:cNvGrpSpPr/>
          <p:nvPr/>
        </p:nvGrpSpPr>
        <p:grpSpPr>
          <a:xfrm>
            <a:off x="5893338" y="4870810"/>
            <a:ext cx="2342515" cy="363220"/>
            <a:chOff x="5893338" y="4870810"/>
            <a:chExt cx="2342515" cy="363220"/>
          </a:xfrm>
        </p:grpSpPr>
        <p:sp>
          <p:nvSpPr>
            <p:cNvPr id="57" name="object 57"/>
            <p:cNvSpPr/>
            <p:nvPr/>
          </p:nvSpPr>
          <p:spPr>
            <a:xfrm>
              <a:off x="5905530" y="4883002"/>
              <a:ext cx="2318385" cy="337185"/>
            </a:xfrm>
            <a:custGeom>
              <a:avLst/>
              <a:gdLst/>
              <a:ahLst/>
              <a:cxnLst/>
              <a:rect l="l" t="t" r="r" b="b"/>
              <a:pathLst>
                <a:path w="2318384" h="337185">
                  <a:moveTo>
                    <a:pt x="2317814" y="0"/>
                  </a:moveTo>
                  <a:lnTo>
                    <a:pt x="0" y="0"/>
                  </a:lnTo>
                  <a:lnTo>
                    <a:pt x="0" y="336779"/>
                  </a:lnTo>
                  <a:lnTo>
                    <a:pt x="2317814" y="336779"/>
                  </a:lnTo>
                  <a:lnTo>
                    <a:pt x="2317814" y="0"/>
                  </a:lnTo>
                  <a:close/>
                </a:path>
              </a:pathLst>
            </a:custGeom>
            <a:solidFill>
              <a:srgbClr val="DEBB9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58"/>
            <p:cNvSpPr/>
            <p:nvPr/>
          </p:nvSpPr>
          <p:spPr>
            <a:xfrm>
              <a:off x="5893338" y="4870810"/>
              <a:ext cx="2342515" cy="363220"/>
            </a:xfrm>
            <a:custGeom>
              <a:avLst/>
              <a:gdLst/>
              <a:ahLst/>
              <a:cxnLst/>
              <a:rect l="l" t="t" r="r" b="b"/>
              <a:pathLst>
                <a:path w="2342515" h="363220">
                  <a:moveTo>
                    <a:pt x="2342205" y="0"/>
                  </a:moveTo>
                  <a:lnTo>
                    <a:pt x="0" y="0"/>
                  </a:lnTo>
                  <a:lnTo>
                    <a:pt x="0" y="362687"/>
                  </a:lnTo>
                  <a:lnTo>
                    <a:pt x="2342205" y="362687"/>
                  </a:lnTo>
                  <a:lnTo>
                    <a:pt x="2342205" y="348971"/>
                  </a:lnTo>
                  <a:lnTo>
                    <a:pt x="25908" y="348971"/>
                  </a:lnTo>
                  <a:lnTo>
                    <a:pt x="12192" y="336779"/>
                  </a:lnTo>
                  <a:lnTo>
                    <a:pt x="25908" y="336779"/>
                  </a:lnTo>
                  <a:lnTo>
                    <a:pt x="25908" y="25908"/>
                  </a:lnTo>
                  <a:lnTo>
                    <a:pt x="12192" y="25908"/>
                  </a:lnTo>
                  <a:lnTo>
                    <a:pt x="25908" y="12192"/>
                  </a:lnTo>
                  <a:lnTo>
                    <a:pt x="2342205" y="12192"/>
                  </a:lnTo>
                  <a:lnTo>
                    <a:pt x="2342205" y="0"/>
                  </a:lnTo>
                  <a:close/>
                </a:path>
                <a:path w="2342515" h="363220">
                  <a:moveTo>
                    <a:pt x="25908" y="336779"/>
                  </a:moveTo>
                  <a:lnTo>
                    <a:pt x="12192" y="336779"/>
                  </a:lnTo>
                  <a:lnTo>
                    <a:pt x="25908" y="348971"/>
                  </a:lnTo>
                  <a:lnTo>
                    <a:pt x="25908" y="336779"/>
                  </a:lnTo>
                  <a:close/>
                </a:path>
                <a:path w="2342515" h="363220">
                  <a:moveTo>
                    <a:pt x="2317821" y="336779"/>
                  </a:moveTo>
                  <a:lnTo>
                    <a:pt x="25908" y="336779"/>
                  </a:lnTo>
                  <a:lnTo>
                    <a:pt x="25908" y="348971"/>
                  </a:lnTo>
                  <a:lnTo>
                    <a:pt x="2317821" y="348971"/>
                  </a:lnTo>
                  <a:lnTo>
                    <a:pt x="2317821" y="336779"/>
                  </a:lnTo>
                  <a:close/>
                </a:path>
                <a:path w="2342515" h="363220">
                  <a:moveTo>
                    <a:pt x="2317821" y="12192"/>
                  </a:moveTo>
                  <a:lnTo>
                    <a:pt x="2317821" y="348971"/>
                  </a:lnTo>
                  <a:lnTo>
                    <a:pt x="2330013" y="336779"/>
                  </a:lnTo>
                  <a:lnTo>
                    <a:pt x="2342205" y="336779"/>
                  </a:lnTo>
                  <a:lnTo>
                    <a:pt x="2342205" y="25908"/>
                  </a:lnTo>
                  <a:lnTo>
                    <a:pt x="2330013" y="25908"/>
                  </a:lnTo>
                  <a:lnTo>
                    <a:pt x="2317821" y="12192"/>
                  </a:lnTo>
                  <a:close/>
                </a:path>
                <a:path w="2342515" h="363220">
                  <a:moveTo>
                    <a:pt x="2342205" y="336779"/>
                  </a:moveTo>
                  <a:lnTo>
                    <a:pt x="2330013" y="336779"/>
                  </a:lnTo>
                  <a:lnTo>
                    <a:pt x="2317821" y="348971"/>
                  </a:lnTo>
                  <a:lnTo>
                    <a:pt x="2342205" y="348971"/>
                  </a:lnTo>
                  <a:lnTo>
                    <a:pt x="2342205" y="336779"/>
                  </a:lnTo>
                  <a:close/>
                </a:path>
                <a:path w="2342515" h="363220">
                  <a:moveTo>
                    <a:pt x="25908" y="12192"/>
                  </a:moveTo>
                  <a:lnTo>
                    <a:pt x="12192" y="25908"/>
                  </a:lnTo>
                  <a:lnTo>
                    <a:pt x="25908" y="25908"/>
                  </a:lnTo>
                  <a:lnTo>
                    <a:pt x="25908" y="12192"/>
                  </a:lnTo>
                  <a:close/>
                </a:path>
                <a:path w="2342515" h="363220">
                  <a:moveTo>
                    <a:pt x="2317821" y="12192"/>
                  </a:moveTo>
                  <a:lnTo>
                    <a:pt x="25908" y="12192"/>
                  </a:lnTo>
                  <a:lnTo>
                    <a:pt x="25908" y="25908"/>
                  </a:lnTo>
                  <a:lnTo>
                    <a:pt x="2317821" y="25908"/>
                  </a:lnTo>
                  <a:lnTo>
                    <a:pt x="2317821" y="12192"/>
                  </a:lnTo>
                  <a:close/>
                </a:path>
                <a:path w="2342515" h="363220">
                  <a:moveTo>
                    <a:pt x="2342205" y="12192"/>
                  </a:moveTo>
                  <a:lnTo>
                    <a:pt x="2317821" y="12192"/>
                  </a:lnTo>
                  <a:lnTo>
                    <a:pt x="2330013" y="25908"/>
                  </a:lnTo>
                  <a:lnTo>
                    <a:pt x="2342205" y="25908"/>
                  </a:lnTo>
                  <a:lnTo>
                    <a:pt x="2342205" y="1219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9" name="object 59"/>
          <p:cNvSpPr txBox="1"/>
          <p:nvPr/>
        </p:nvSpPr>
        <p:spPr>
          <a:xfrm>
            <a:off x="6231132" y="4909923"/>
            <a:ext cx="1703070" cy="2686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Liberation Sans Narrow"/>
                <a:cs typeface="Liberation Sans Narrow"/>
              </a:rPr>
              <a:t>Quota Multiplier</a:t>
            </a:r>
            <a:r>
              <a:rPr sz="1600" spc="254" dirty="0">
                <a:latin typeface="Liberation Sans Narrow"/>
                <a:cs typeface="Liberation Sans Narrow"/>
              </a:rPr>
              <a:t> </a:t>
            </a:r>
            <a:r>
              <a:rPr sz="1600" spc="-5" dirty="0">
                <a:latin typeface="Liberation Sans Narrow"/>
                <a:cs typeface="Liberation Sans Narrow"/>
              </a:rPr>
              <a:t>100%</a:t>
            </a:r>
            <a:endParaRPr sz="1600">
              <a:latin typeface="Liberation Sans Narrow"/>
              <a:cs typeface="Liberation Sans Narrow"/>
            </a:endParaRPr>
          </a:p>
        </p:txBody>
      </p:sp>
      <p:grpSp>
        <p:nvGrpSpPr>
          <p:cNvPr id="60" name="object 60"/>
          <p:cNvGrpSpPr/>
          <p:nvPr/>
        </p:nvGrpSpPr>
        <p:grpSpPr>
          <a:xfrm>
            <a:off x="998649" y="4604125"/>
            <a:ext cx="1009015" cy="342900"/>
            <a:chOff x="998649" y="4604125"/>
            <a:chExt cx="1009015" cy="342900"/>
          </a:xfrm>
        </p:grpSpPr>
        <p:sp>
          <p:nvSpPr>
            <p:cNvPr id="61" name="object 61"/>
            <p:cNvSpPr/>
            <p:nvPr/>
          </p:nvSpPr>
          <p:spPr>
            <a:xfrm>
              <a:off x="1010841" y="4616317"/>
              <a:ext cx="984885" cy="318770"/>
            </a:xfrm>
            <a:custGeom>
              <a:avLst/>
              <a:gdLst/>
              <a:ahLst/>
              <a:cxnLst/>
              <a:rect l="l" t="t" r="r" b="b"/>
              <a:pathLst>
                <a:path w="984885" h="318770">
                  <a:moveTo>
                    <a:pt x="492215" y="0"/>
                  </a:moveTo>
                  <a:lnTo>
                    <a:pt x="425229" y="1460"/>
                  </a:lnTo>
                  <a:lnTo>
                    <a:pt x="361042" y="5714"/>
                  </a:lnTo>
                  <a:lnTo>
                    <a:pt x="300231" y="12572"/>
                  </a:lnTo>
                  <a:lnTo>
                    <a:pt x="243372" y="21843"/>
                  </a:lnTo>
                  <a:lnTo>
                    <a:pt x="191042" y="33337"/>
                  </a:lnTo>
                  <a:lnTo>
                    <a:pt x="143818" y="46862"/>
                  </a:lnTo>
                  <a:lnTo>
                    <a:pt x="102277" y="62229"/>
                  </a:lnTo>
                  <a:lnTo>
                    <a:pt x="66995" y="79247"/>
                  </a:lnTo>
                  <a:lnTo>
                    <a:pt x="17517" y="117473"/>
                  </a:lnTo>
                  <a:lnTo>
                    <a:pt x="0" y="160016"/>
                  </a:lnTo>
                  <a:lnTo>
                    <a:pt x="4475" y="181381"/>
                  </a:lnTo>
                  <a:lnTo>
                    <a:pt x="38550" y="221422"/>
                  </a:lnTo>
                  <a:lnTo>
                    <a:pt x="102277" y="256575"/>
                  </a:lnTo>
                  <a:lnTo>
                    <a:pt x="143818" y="271829"/>
                  </a:lnTo>
                  <a:lnTo>
                    <a:pt x="191042" y="285274"/>
                  </a:lnTo>
                  <a:lnTo>
                    <a:pt x="243372" y="296713"/>
                  </a:lnTo>
                  <a:lnTo>
                    <a:pt x="300231" y="305951"/>
                  </a:lnTo>
                  <a:lnTo>
                    <a:pt x="361042" y="312792"/>
                  </a:lnTo>
                  <a:lnTo>
                    <a:pt x="425229" y="317041"/>
                  </a:lnTo>
                  <a:lnTo>
                    <a:pt x="492215" y="318500"/>
                  </a:lnTo>
                  <a:lnTo>
                    <a:pt x="558880" y="317041"/>
                  </a:lnTo>
                  <a:lnTo>
                    <a:pt x="622858" y="312792"/>
                  </a:lnTo>
                  <a:lnTo>
                    <a:pt x="683554" y="305951"/>
                  </a:lnTo>
                  <a:lnTo>
                    <a:pt x="740378" y="296713"/>
                  </a:lnTo>
                  <a:lnTo>
                    <a:pt x="792735" y="285274"/>
                  </a:lnTo>
                  <a:lnTo>
                    <a:pt x="840034" y="271829"/>
                  </a:lnTo>
                  <a:lnTo>
                    <a:pt x="881683" y="256575"/>
                  </a:lnTo>
                  <a:lnTo>
                    <a:pt x="917087" y="239707"/>
                  </a:lnTo>
                  <a:lnTo>
                    <a:pt x="966795" y="201914"/>
                  </a:lnTo>
                  <a:lnTo>
                    <a:pt x="984418" y="160016"/>
                  </a:lnTo>
                  <a:lnTo>
                    <a:pt x="979914" y="138300"/>
                  </a:lnTo>
                  <a:lnTo>
                    <a:pt x="945656" y="97725"/>
                  </a:lnTo>
                  <a:lnTo>
                    <a:pt x="881683" y="62229"/>
                  </a:lnTo>
                  <a:lnTo>
                    <a:pt x="840034" y="46862"/>
                  </a:lnTo>
                  <a:lnTo>
                    <a:pt x="792735" y="33337"/>
                  </a:lnTo>
                  <a:lnTo>
                    <a:pt x="740378" y="21843"/>
                  </a:lnTo>
                  <a:lnTo>
                    <a:pt x="683554" y="12572"/>
                  </a:lnTo>
                  <a:lnTo>
                    <a:pt x="622858" y="5714"/>
                  </a:lnTo>
                  <a:lnTo>
                    <a:pt x="558880" y="1460"/>
                  </a:lnTo>
                  <a:lnTo>
                    <a:pt x="492215" y="0"/>
                  </a:lnTo>
                  <a:close/>
                </a:path>
              </a:pathLst>
            </a:custGeom>
            <a:solidFill>
              <a:srgbClr val="FFFF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" name="object 62"/>
            <p:cNvSpPr/>
            <p:nvPr/>
          </p:nvSpPr>
          <p:spPr>
            <a:xfrm>
              <a:off x="998649" y="4604125"/>
              <a:ext cx="1009015" cy="342900"/>
            </a:xfrm>
            <a:custGeom>
              <a:avLst/>
              <a:gdLst/>
              <a:ahLst/>
              <a:cxnLst/>
              <a:rect l="l" t="t" r="r" b="b"/>
              <a:pathLst>
                <a:path w="1009014" h="342900">
                  <a:moveTo>
                    <a:pt x="504407" y="0"/>
                  </a:moveTo>
                  <a:lnTo>
                    <a:pt x="403835" y="3048"/>
                  </a:lnTo>
                  <a:lnTo>
                    <a:pt x="310871" y="12192"/>
                  </a:lnTo>
                  <a:lnTo>
                    <a:pt x="288011" y="15240"/>
                  </a:lnTo>
                  <a:lnTo>
                    <a:pt x="266687" y="19812"/>
                  </a:lnTo>
                  <a:lnTo>
                    <a:pt x="246875" y="22860"/>
                  </a:lnTo>
                  <a:lnTo>
                    <a:pt x="225539" y="27432"/>
                  </a:lnTo>
                  <a:lnTo>
                    <a:pt x="205727" y="32004"/>
                  </a:lnTo>
                  <a:lnTo>
                    <a:pt x="187439" y="36576"/>
                  </a:lnTo>
                  <a:lnTo>
                    <a:pt x="169151" y="42672"/>
                  </a:lnTo>
                  <a:lnTo>
                    <a:pt x="152387" y="47244"/>
                  </a:lnTo>
                  <a:lnTo>
                    <a:pt x="118872" y="59436"/>
                  </a:lnTo>
                  <a:lnTo>
                    <a:pt x="105156" y="65532"/>
                  </a:lnTo>
                  <a:lnTo>
                    <a:pt x="89916" y="71628"/>
                  </a:lnTo>
                  <a:lnTo>
                    <a:pt x="42672" y="100584"/>
                  </a:lnTo>
                  <a:lnTo>
                    <a:pt x="10668" y="134108"/>
                  </a:lnTo>
                  <a:lnTo>
                    <a:pt x="0" y="160016"/>
                  </a:lnTo>
                  <a:lnTo>
                    <a:pt x="0" y="182876"/>
                  </a:lnTo>
                  <a:lnTo>
                    <a:pt x="3048" y="192020"/>
                  </a:lnTo>
                  <a:lnTo>
                    <a:pt x="6096" y="199640"/>
                  </a:lnTo>
                  <a:lnTo>
                    <a:pt x="6096" y="202688"/>
                  </a:lnTo>
                  <a:lnTo>
                    <a:pt x="33528" y="236204"/>
                  </a:lnTo>
                  <a:lnTo>
                    <a:pt x="65532" y="259064"/>
                  </a:lnTo>
                  <a:lnTo>
                    <a:pt x="105156" y="278876"/>
                  </a:lnTo>
                  <a:lnTo>
                    <a:pt x="152387" y="295640"/>
                  </a:lnTo>
                  <a:lnTo>
                    <a:pt x="169151" y="301736"/>
                  </a:lnTo>
                  <a:lnTo>
                    <a:pt x="266687" y="324596"/>
                  </a:lnTo>
                  <a:lnTo>
                    <a:pt x="310871" y="330692"/>
                  </a:lnTo>
                  <a:lnTo>
                    <a:pt x="403835" y="339836"/>
                  </a:lnTo>
                  <a:lnTo>
                    <a:pt x="454115" y="342884"/>
                  </a:lnTo>
                  <a:lnTo>
                    <a:pt x="554699" y="342884"/>
                  </a:lnTo>
                  <a:lnTo>
                    <a:pt x="603455" y="339836"/>
                  </a:lnTo>
                  <a:lnTo>
                    <a:pt x="697943" y="330692"/>
                  </a:lnTo>
                  <a:lnTo>
                    <a:pt x="719267" y="327644"/>
                  </a:lnTo>
                  <a:lnTo>
                    <a:pt x="740603" y="323072"/>
                  </a:lnTo>
                  <a:lnTo>
                    <a:pt x="761939" y="320024"/>
                  </a:lnTo>
                  <a:lnTo>
                    <a:pt x="768543" y="318500"/>
                  </a:lnTo>
                  <a:lnTo>
                    <a:pt x="504407" y="318500"/>
                  </a:lnTo>
                  <a:lnTo>
                    <a:pt x="454115" y="316976"/>
                  </a:lnTo>
                  <a:lnTo>
                    <a:pt x="358115" y="310880"/>
                  </a:lnTo>
                  <a:lnTo>
                    <a:pt x="271259" y="298688"/>
                  </a:lnTo>
                  <a:lnTo>
                    <a:pt x="211823" y="286496"/>
                  </a:lnTo>
                  <a:lnTo>
                    <a:pt x="160007" y="271256"/>
                  </a:lnTo>
                  <a:lnTo>
                    <a:pt x="143243" y="266684"/>
                  </a:lnTo>
                  <a:lnTo>
                    <a:pt x="100584" y="248396"/>
                  </a:lnTo>
                  <a:lnTo>
                    <a:pt x="67056" y="230120"/>
                  </a:lnTo>
                  <a:lnTo>
                    <a:pt x="57912" y="222500"/>
                  </a:lnTo>
                  <a:lnTo>
                    <a:pt x="42672" y="210308"/>
                  </a:lnTo>
                  <a:lnTo>
                    <a:pt x="36576" y="202688"/>
                  </a:lnTo>
                  <a:lnTo>
                    <a:pt x="32004" y="196592"/>
                  </a:lnTo>
                  <a:lnTo>
                    <a:pt x="30175" y="192020"/>
                  </a:lnTo>
                  <a:lnTo>
                    <a:pt x="28956" y="192020"/>
                  </a:lnTo>
                  <a:lnTo>
                    <a:pt x="25908" y="182876"/>
                  </a:lnTo>
                  <a:lnTo>
                    <a:pt x="24384" y="176780"/>
                  </a:lnTo>
                  <a:lnTo>
                    <a:pt x="25603" y="176780"/>
                  </a:lnTo>
                  <a:lnTo>
                    <a:pt x="24688" y="172208"/>
                  </a:lnTo>
                  <a:lnTo>
                    <a:pt x="24384" y="172208"/>
                  </a:lnTo>
                  <a:lnTo>
                    <a:pt x="24384" y="170684"/>
                  </a:lnTo>
                  <a:lnTo>
                    <a:pt x="24688" y="170684"/>
                  </a:lnTo>
                  <a:lnTo>
                    <a:pt x="25603" y="166112"/>
                  </a:lnTo>
                  <a:lnTo>
                    <a:pt x="24384" y="166112"/>
                  </a:lnTo>
                  <a:lnTo>
                    <a:pt x="27432" y="158492"/>
                  </a:lnTo>
                  <a:lnTo>
                    <a:pt x="28956" y="152396"/>
                  </a:lnTo>
                  <a:lnTo>
                    <a:pt x="38100" y="140204"/>
                  </a:lnTo>
                  <a:lnTo>
                    <a:pt x="44196" y="132584"/>
                  </a:lnTo>
                  <a:lnTo>
                    <a:pt x="50292" y="126488"/>
                  </a:lnTo>
                  <a:lnTo>
                    <a:pt x="57912" y="120392"/>
                  </a:lnTo>
                  <a:lnTo>
                    <a:pt x="67056" y="112776"/>
                  </a:lnTo>
                  <a:lnTo>
                    <a:pt x="77724" y="106680"/>
                  </a:lnTo>
                  <a:lnTo>
                    <a:pt x="114300" y="88392"/>
                  </a:lnTo>
                  <a:lnTo>
                    <a:pt x="144767" y="76200"/>
                  </a:lnTo>
                  <a:lnTo>
                    <a:pt x="160007" y="71628"/>
                  </a:lnTo>
                  <a:lnTo>
                    <a:pt x="176771" y="65532"/>
                  </a:lnTo>
                  <a:lnTo>
                    <a:pt x="231635" y="51816"/>
                  </a:lnTo>
                  <a:lnTo>
                    <a:pt x="251447" y="48768"/>
                  </a:lnTo>
                  <a:lnTo>
                    <a:pt x="271259" y="44196"/>
                  </a:lnTo>
                  <a:lnTo>
                    <a:pt x="359639" y="32004"/>
                  </a:lnTo>
                  <a:lnTo>
                    <a:pt x="454115" y="25908"/>
                  </a:lnTo>
                  <a:lnTo>
                    <a:pt x="775147" y="25908"/>
                  </a:lnTo>
                  <a:lnTo>
                    <a:pt x="761939" y="22860"/>
                  </a:lnTo>
                  <a:lnTo>
                    <a:pt x="740603" y="19812"/>
                  </a:lnTo>
                  <a:lnTo>
                    <a:pt x="719267" y="15240"/>
                  </a:lnTo>
                  <a:lnTo>
                    <a:pt x="696419" y="12192"/>
                  </a:lnTo>
                  <a:lnTo>
                    <a:pt x="603455" y="3048"/>
                  </a:lnTo>
                  <a:lnTo>
                    <a:pt x="504407" y="0"/>
                  </a:lnTo>
                  <a:close/>
                </a:path>
                <a:path w="1009014" h="342900">
                  <a:moveTo>
                    <a:pt x="982906" y="176780"/>
                  </a:moveTo>
                  <a:lnTo>
                    <a:pt x="981382" y="184400"/>
                  </a:lnTo>
                  <a:lnTo>
                    <a:pt x="978334" y="190496"/>
                  </a:lnTo>
                  <a:lnTo>
                    <a:pt x="975286" y="198116"/>
                  </a:lnTo>
                  <a:lnTo>
                    <a:pt x="970714" y="204212"/>
                  </a:lnTo>
                  <a:lnTo>
                    <a:pt x="964618" y="210308"/>
                  </a:lnTo>
                  <a:lnTo>
                    <a:pt x="956998" y="216404"/>
                  </a:lnTo>
                  <a:lnTo>
                    <a:pt x="949378" y="224024"/>
                  </a:lnTo>
                  <a:lnTo>
                    <a:pt x="906706" y="248396"/>
                  </a:lnTo>
                  <a:lnTo>
                    <a:pt x="864034" y="266684"/>
                  </a:lnTo>
                  <a:lnTo>
                    <a:pt x="847270" y="271256"/>
                  </a:lnTo>
                  <a:lnTo>
                    <a:pt x="830519" y="277352"/>
                  </a:lnTo>
                  <a:lnTo>
                    <a:pt x="755843" y="295640"/>
                  </a:lnTo>
                  <a:lnTo>
                    <a:pt x="649175" y="310880"/>
                  </a:lnTo>
                  <a:lnTo>
                    <a:pt x="553175" y="316976"/>
                  </a:lnTo>
                  <a:lnTo>
                    <a:pt x="504407" y="318500"/>
                  </a:lnTo>
                  <a:lnTo>
                    <a:pt x="768543" y="318500"/>
                  </a:lnTo>
                  <a:lnTo>
                    <a:pt x="801563" y="310880"/>
                  </a:lnTo>
                  <a:lnTo>
                    <a:pt x="838139" y="301736"/>
                  </a:lnTo>
                  <a:lnTo>
                    <a:pt x="856414" y="295640"/>
                  </a:lnTo>
                  <a:lnTo>
                    <a:pt x="873178" y="291068"/>
                  </a:lnTo>
                  <a:lnTo>
                    <a:pt x="903658" y="278876"/>
                  </a:lnTo>
                  <a:lnTo>
                    <a:pt x="917374" y="271256"/>
                  </a:lnTo>
                  <a:lnTo>
                    <a:pt x="931090" y="265160"/>
                  </a:lnTo>
                  <a:lnTo>
                    <a:pt x="943282" y="257540"/>
                  </a:lnTo>
                  <a:lnTo>
                    <a:pt x="955474" y="251444"/>
                  </a:lnTo>
                  <a:lnTo>
                    <a:pt x="966142" y="243824"/>
                  </a:lnTo>
                  <a:lnTo>
                    <a:pt x="975286" y="236204"/>
                  </a:lnTo>
                  <a:lnTo>
                    <a:pt x="982906" y="227072"/>
                  </a:lnTo>
                  <a:lnTo>
                    <a:pt x="990514" y="219452"/>
                  </a:lnTo>
                  <a:lnTo>
                    <a:pt x="1002706" y="201164"/>
                  </a:lnTo>
                  <a:lnTo>
                    <a:pt x="1005754" y="190496"/>
                  </a:lnTo>
                  <a:lnTo>
                    <a:pt x="1007278" y="182876"/>
                  </a:lnTo>
                  <a:lnTo>
                    <a:pt x="1007278" y="181352"/>
                  </a:lnTo>
                  <a:lnTo>
                    <a:pt x="1008802" y="181352"/>
                  </a:lnTo>
                  <a:lnTo>
                    <a:pt x="1008802" y="178304"/>
                  </a:lnTo>
                  <a:lnTo>
                    <a:pt x="982906" y="178304"/>
                  </a:lnTo>
                  <a:lnTo>
                    <a:pt x="982906" y="176780"/>
                  </a:lnTo>
                  <a:close/>
                </a:path>
                <a:path w="1009014" h="342900">
                  <a:moveTo>
                    <a:pt x="28956" y="188972"/>
                  </a:moveTo>
                  <a:lnTo>
                    <a:pt x="28956" y="192020"/>
                  </a:lnTo>
                  <a:lnTo>
                    <a:pt x="30175" y="192020"/>
                  </a:lnTo>
                  <a:lnTo>
                    <a:pt x="28956" y="188972"/>
                  </a:lnTo>
                  <a:close/>
                </a:path>
                <a:path w="1009014" h="342900">
                  <a:moveTo>
                    <a:pt x="25603" y="176780"/>
                  </a:moveTo>
                  <a:lnTo>
                    <a:pt x="24384" y="176780"/>
                  </a:lnTo>
                  <a:lnTo>
                    <a:pt x="25908" y="178304"/>
                  </a:lnTo>
                  <a:lnTo>
                    <a:pt x="25603" y="176780"/>
                  </a:lnTo>
                  <a:close/>
                </a:path>
                <a:path w="1009014" h="342900">
                  <a:moveTo>
                    <a:pt x="1008802" y="164588"/>
                  </a:moveTo>
                  <a:lnTo>
                    <a:pt x="982906" y="164588"/>
                  </a:lnTo>
                  <a:lnTo>
                    <a:pt x="982906" y="178304"/>
                  </a:lnTo>
                  <a:lnTo>
                    <a:pt x="1008802" y="178304"/>
                  </a:lnTo>
                  <a:lnTo>
                    <a:pt x="1008802" y="164588"/>
                  </a:lnTo>
                  <a:close/>
                </a:path>
                <a:path w="1009014" h="342900">
                  <a:moveTo>
                    <a:pt x="24384" y="170684"/>
                  </a:moveTo>
                  <a:lnTo>
                    <a:pt x="24384" y="172208"/>
                  </a:lnTo>
                  <a:lnTo>
                    <a:pt x="24536" y="171446"/>
                  </a:lnTo>
                  <a:lnTo>
                    <a:pt x="24384" y="170684"/>
                  </a:lnTo>
                  <a:close/>
                </a:path>
                <a:path w="1009014" h="342900">
                  <a:moveTo>
                    <a:pt x="24536" y="171446"/>
                  </a:moveTo>
                  <a:lnTo>
                    <a:pt x="24384" y="172208"/>
                  </a:lnTo>
                  <a:lnTo>
                    <a:pt x="24688" y="172208"/>
                  </a:lnTo>
                  <a:lnTo>
                    <a:pt x="24536" y="171446"/>
                  </a:lnTo>
                  <a:close/>
                </a:path>
                <a:path w="1009014" h="342900">
                  <a:moveTo>
                    <a:pt x="24688" y="170684"/>
                  </a:moveTo>
                  <a:lnTo>
                    <a:pt x="24384" y="170684"/>
                  </a:lnTo>
                  <a:lnTo>
                    <a:pt x="24536" y="171446"/>
                  </a:lnTo>
                  <a:lnTo>
                    <a:pt x="24688" y="170684"/>
                  </a:lnTo>
                  <a:close/>
                </a:path>
                <a:path w="1009014" h="342900">
                  <a:moveTo>
                    <a:pt x="25908" y="164588"/>
                  </a:moveTo>
                  <a:lnTo>
                    <a:pt x="24384" y="166112"/>
                  </a:lnTo>
                  <a:lnTo>
                    <a:pt x="25603" y="166112"/>
                  </a:lnTo>
                  <a:lnTo>
                    <a:pt x="25908" y="164588"/>
                  </a:lnTo>
                  <a:close/>
                </a:path>
                <a:path w="1009014" h="342900">
                  <a:moveTo>
                    <a:pt x="775147" y="25908"/>
                  </a:moveTo>
                  <a:lnTo>
                    <a:pt x="554699" y="25908"/>
                  </a:lnTo>
                  <a:lnTo>
                    <a:pt x="649175" y="32004"/>
                  </a:lnTo>
                  <a:lnTo>
                    <a:pt x="716219" y="41148"/>
                  </a:lnTo>
                  <a:lnTo>
                    <a:pt x="736031" y="44196"/>
                  </a:lnTo>
                  <a:lnTo>
                    <a:pt x="757367" y="48768"/>
                  </a:lnTo>
                  <a:lnTo>
                    <a:pt x="777179" y="51816"/>
                  </a:lnTo>
                  <a:lnTo>
                    <a:pt x="813755" y="60960"/>
                  </a:lnTo>
                  <a:lnTo>
                    <a:pt x="832043" y="67056"/>
                  </a:lnTo>
                  <a:lnTo>
                    <a:pt x="848794" y="71628"/>
                  </a:lnTo>
                  <a:lnTo>
                    <a:pt x="906706" y="94488"/>
                  </a:lnTo>
                  <a:lnTo>
                    <a:pt x="940234" y="114300"/>
                  </a:lnTo>
                  <a:lnTo>
                    <a:pt x="958522" y="126488"/>
                  </a:lnTo>
                  <a:lnTo>
                    <a:pt x="964618" y="134108"/>
                  </a:lnTo>
                  <a:lnTo>
                    <a:pt x="970714" y="140204"/>
                  </a:lnTo>
                  <a:lnTo>
                    <a:pt x="975286" y="147824"/>
                  </a:lnTo>
                  <a:lnTo>
                    <a:pt x="979858" y="153920"/>
                  </a:lnTo>
                  <a:lnTo>
                    <a:pt x="982906" y="166112"/>
                  </a:lnTo>
                  <a:lnTo>
                    <a:pt x="982906" y="164588"/>
                  </a:lnTo>
                  <a:lnTo>
                    <a:pt x="1008802" y="164588"/>
                  </a:lnTo>
                  <a:lnTo>
                    <a:pt x="1008802" y="163064"/>
                  </a:lnTo>
                  <a:lnTo>
                    <a:pt x="1007278" y="161540"/>
                  </a:lnTo>
                  <a:lnTo>
                    <a:pt x="1007278" y="160016"/>
                  </a:lnTo>
                  <a:lnTo>
                    <a:pt x="990514" y="123440"/>
                  </a:lnTo>
                  <a:lnTo>
                    <a:pt x="953950" y="91440"/>
                  </a:lnTo>
                  <a:lnTo>
                    <a:pt x="943282" y="85344"/>
                  </a:lnTo>
                  <a:lnTo>
                    <a:pt x="931090" y="77724"/>
                  </a:lnTo>
                  <a:lnTo>
                    <a:pt x="903658" y="65532"/>
                  </a:lnTo>
                  <a:lnTo>
                    <a:pt x="888418" y="59436"/>
                  </a:lnTo>
                  <a:lnTo>
                    <a:pt x="871654" y="53340"/>
                  </a:lnTo>
                  <a:lnTo>
                    <a:pt x="856414" y="47244"/>
                  </a:lnTo>
                  <a:lnTo>
                    <a:pt x="838139" y="42672"/>
                  </a:lnTo>
                  <a:lnTo>
                    <a:pt x="819851" y="36576"/>
                  </a:lnTo>
                  <a:lnTo>
                    <a:pt x="801563" y="32004"/>
                  </a:lnTo>
                  <a:lnTo>
                    <a:pt x="775147" y="25908"/>
                  </a:lnTo>
                  <a:close/>
                </a:path>
              </a:pathLst>
            </a:custGeom>
            <a:solidFill>
              <a:srgbClr val="FFFF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3" name="object 63"/>
          <p:cNvSpPr txBox="1"/>
          <p:nvPr/>
        </p:nvSpPr>
        <p:spPr>
          <a:xfrm>
            <a:off x="1238920" y="4650855"/>
            <a:ext cx="736309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Liberation Sans Narrow"/>
                <a:cs typeface="Liberation Sans Narrow"/>
              </a:rPr>
              <a:t>Hou</a:t>
            </a:r>
            <a:r>
              <a:rPr sz="1600" spc="-10" dirty="0">
                <a:latin typeface="Liberation Sans Narrow"/>
                <a:cs typeface="Liberation Sans Narrow"/>
              </a:rPr>
              <a:t>r</a:t>
            </a:r>
            <a:r>
              <a:rPr sz="1600" spc="-5" dirty="0">
                <a:latin typeface="Liberation Sans Narrow"/>
                <a:cs typeface="Liberation Sans Narrow"/>
              </a:rPr>
              <a:t>s</a:t>
            </a:r>
            <a:endParaRPr sz="1600" dirty="0">
              <a:latin typeface="Liberation Sans Narrow"/>
              <a:cs typeface="Liberation Sans Narrow"/>
            </a:endParaRPr>
          </a:p>
        </p:txBody>
      </p:sp>
      <p:grpSp>
        <p:nvGrpSpPr>
          <p:cNvPr id="64" name="object 64"/>
          <p:cNvGrpSpPr/>
          <p:nvPr/>
        </p:nvGrpSpPr>
        <p:grpSpPr>
          <a:xfrm>
            <a:off x="8046567" y="4604125"/>
            <a:ext cx="1009015" cy="342900"/>
            <a:chOff x="8046567" y="4604125"/>
            <a:chExt cx="1009015" cy="342900"/>
          </a:xfrm>
        </p:grpSpPr>
        <p:sp>
          <p:nvSpPr>
            <p:cNvPr id="65" name="object 65"/>
            <p:cNvSpPr/>
            <p:nvPr/>
          </p:nvSpPr>
          <p:spPr>
            <a:xfrm>
              <a:off x="8058759" y="4616317"/>
              <a:ext cx="984885" cy="318770"/>
            </a:xfrm>
            <a:custGeom>
              <a:avLst/>
              <a:gdLst/>
              <a:ahLst/>
              <a:cxnLst/>
              <a:rect l="l" t="t" r="r" b="b"/>
              <a:pathLst>
                <a:path w="984884" h="318770">
                  <a:moveTo>
                    <a:pt x="492221" y="0"/>
                  </a:moveTo>
                  <a:lnTo>
                    <a:pt x="425230" y="1460"/>
                  </a:lnTo>
                  <a:lnTo>
                    <a:pt x="361039" y="5714"/>
                  </a:lnTo>
                  <a:lnTo>
                    <a:pt x="300226" y="12572"/>
                  </a:lnTo>
                  <a:lnTo>
                    <a:pt x="243365" y="21843"/>
                  </a:lnTo>
                  <a:lnTo>
                    <a:pt x="191035" y="33337"/>
                  </a:lnTo>
                  <a:lnTo>
                    <a:pt x="143812" y="46862"/>
                  </a:lnTo>
                  <a:lnTo>
                    <a:pt x="102272" y="62229"/>
                  </a:lnTo>
                  <a:lnTo>
                    <a:pt x="66991" y="79247"/>
                  </a:lnTo>
                  <a:lnTo>
                    <a:pt x="17516" y="117473"/>
                  </a:lnTo>
                  <a:lnTo>
                    <a:pt x="0" y="160016"/>
                  </a:lnTo>
                  <a:lnTo>
                    <a:pt x="4475" y="181381"/>
                  </a:lnTo>
                  <a:lnTo>
                    <a:pt x="38547" y="221422"/>
                  </a:lnTo>
                  <a:lnTo>
                    <a:pt x="102272" y="256575"/>
                  </a:lnTo>
                  <a:lnTo>
                    <a:pt x="143812" y="271829"/>
                  </a:lnTo>
                  <a:lnTo>
                    <a:pt x="191035" y="285274"/>
                  </a:lnTo>
                  <a:lnTo>
                    <a:pt x="243365" y="296713"/>
                  </a:lnTo>
                  <a:lnTo>
                    <a:pt x="300226" y="305951"/>
                  </a:lnTo>
                  <a:lnTo>
                    <a:pt x="361039" y="312792"/>
                  </a:lnTo>
                  <a:lnTo>
                    <a:pt x="425230" y="317041"/>
                  </a:lnTo>
                  <a:lnTo>
                    <a:pt x="492221" y="318500"/>
                  </a:lnTo>
                  <a:lnTo>
                    <a:pt x="558885" y="317041"/>
                  </a:lnTo>
                  <a:lnTo>
                    <a:pt x="622861" y="312792"/>
                  </a:lnTo>
                  <a:lnTo>
                    <a:pt x="683556" y="305951"/>
                  </a:lnTo>
                  <a:lnTo>
                    <a:pt x="740378" y="296713"/>
                  </a:lnTo>
                  <a:lnTo>
                    <a:pt x="792734" y="285274"/>
                  </a:lnTo>
                  <a:lnTo>
                    <a:pt x="840032" y="271829"/>
                  </a:lnTo>
                  <a:lnTo>
                    <a:pt x="881679" y="256575"/>
                  </a:lnTo>
                  <a:lnTo>
                    <a:pt x="917083" y="239707"/>
                  </a:lnTo>
                  <a:lnTo>
                    <a:pt x="966790" y="201914"/>
                  </a:lnTo>
                  <a:lnTo>
                    <a:pt x="984412" y="160016"/>
                  </a:lnTo>
                  <a:lnTo>
                    <a:pt x="979908" y="138300"/>
                  </a:lnTo>
                  <a:lnTo>
                    <a:pt x="945651" y="97725"/>
                  </a:lnTo>
                  <a:lnTo>
                    <a:pt x="881679" y="62229"/>
                  </a:lnTo>
                  <a:lnTo>
                    <a:pt x="840032" y="46862"/>
                  </a:lnTo>
                  <a:lnTo>
                    <a:pt x="792734" y="33337"/>
                  </a:lnTo>
                  <a:lnTo>
                    <a:pt x="740378" y="21843"/>
                  </a:lnTo>
                  <a:lnTo>
                    <a:pt x="683556" y="12572"/>
                  </a:lnTo>
                  <a:lnTo>
                    <a:pt x="622861" y="5714"/>
                  </a:lnTo>
                  <a:lnTo>
                    <a:pt x="558885" y="1460"/>
                  </a:lnTo>
                  <a:lnTo>
                    <a:pt x="492221" y="0"/>
                  </a:lnTo>
                  <a:close/>
                </a:path>
              </a:pathLst>
            </a:custGeom>
            <a:solidFill>
              <a:srgbClr val="A5E2C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" name="object 66"/>
            <p:cNvSpPr/>
            <p:nvPr/>
          </p:nvSpPr>
          <p:spPr>
            <a:xfrm>
              <a:off x="8046567" y="4604125"/>
              <a:ext cx="1009015" cy="342900"/>
            </a:xfrm>
            <a:custGeom>
              <a:avLst/>
              <a:gdLst/>
              <a:ahLst/>
              <a:cxnLst/>
              <a:rect l="l" t="t" r="r" b="b"/>
              <a:pathLst>
                <a:path w="1009015" h="342900">
                  <a:moveTo>
                    <a:pt x="504413" y="0"/>
                  </a:moveTo>
                  <a:lnTo>
                    <a:pt x="403829" y="3048"/>
                  </a:lnTo>
                  <a:lnTo>
                    <a:pt x="310865" y="12192"/>
                  </a:lnTo>
                  <a:lnTo>
                    <a:pt x="288005" y="15240"/>
                  </a:lnTo>
                  <a:lnTo>
                    <a:pt x="266669" y="19812"/>
                  </a:lnTo>
                  <a:lnTo>
                    <a:pt x="246857" y="22860"/>
                  </a:lnTo>
                  <a:lnTo>
                    <a:pt x="225521" y="27432"/>
                  </a:lnTo>
                  <a:lnTo>
                    <a:pt x="205740" y="32004"/>
                  </a:lnTo>
                  <a:lnTo>
                    <a:pt x="187452" y="36576"/>
                  </a:lnTo>
                  <a:lnTo>
                    <a:pt x="169164" y="42672"/>
                  </a:lnTo>
                  <a:lnTo>
                    <a:pt x="152400" y="47244"/>
                  </a:lnTo>
                  <a:lnTo>
                    <a:pt x="118872" y="59436"/>
                  </a:lnTo>
                  <a:lnTo>
                    <a:pt x="105156" y="65532"/>
                  </a:lnTo>
                  <a:lnTo>
                    <a:pt x="89916" y="71628"/>
                  </a:lnTo>
                  <a:lnTo>
                    <a:pt x="42672" y="100584"/>
                  </a:lnTo>
                  <a:lnTo>
                    <a:pt x="10668" y="134108"/>
                  </a:lnTo>
                  <a:lnTo>
                    <a:pt x="0" y="160016"/>
                  </a:lnTo>
                  <a:lnTo>
                    <a:pt x="0" y="182876"/>
                  </a:lnTo>
                  <a:lnTo>
                    <a:pt x="3048" y="192020"/>
                  </a:lnTo>
                  <a:lnTo>
                    <a:pt x="6096" y="199640"/>
                  </a:lnTo>
                  <a:lnTo>
                    <a:pt x="6096" y="202688"/>
                  </a:lnTo>
                  <a:lnTo>
                    <a:pt x="33528" y="236204"/>
                  </a:lnTo>
                  <a:lnTo>
                    <a:pt x="65532" y="259064"/>
                  </a:lnTo>
                  <a:lnTo>
                    <a:pt x="105156" y="278876"/>
                  </a:lnTo>
                  <a:lnTo>
                    <a:pt x="152400" y="295640"/>
                  </a:lnTo>
                  <a:lnTo>
                    <a:pt x="169164" y="301736"/>
                  </a:lnTo>
                  <a:lnTo>
                    <a:pt x="266669" y="324596"/>
                  </a:lnTo>
                  <a:lnTo>
                    <a:pt x="310865" y="330692"/>
                  </a:lnTo>
                  <a:lnTo>
                    <a:pt x="403829" y="339836"/>
                  </a:lnTo>
                  <a:lnTo>
                    <a:pt x="454121" y="342884"/>
                  </a:lnTo>
                  <a:lnTo>
                    <a:pt x="554675" y="342884"/>
                  </a:lnTo>
                  <a:lnTo>
                    <a:pt x="603443" y="339836"/>
                  </a:lnTo>
                  <a:lnTo>
                    <a:pt x="697931" y="330692"/>
                  </a:lnTo>
                  <a:lnTo>
                    <a:pt x="719267" y="327644"/>
                  </a:lnTo>
                  <a:lnTo>
                    <a:pt x="740603" y="323072"/>
                  </a:lnTo>
                  <a:lnTo>
                    <a:pt x="761939" y="320024"/>
                  </a:lnTo>
                  <a:lnTo>
                    <a:pt x="768543" y="318500"/>
                  </a:lnTo>
                  <a:lnTo>
                    <a:pt x="504413" y="318500"/>
                  </a:lnTo>
                  <a:lnTo>
                    <a:pt x="454121" y="316976"/>
                  </a:lnTo>
                  <a:lnTo>
                    <a:pt x="358109" y="310880"/>
                  </a:lnTo>
                  <a:lnTo>
                    <a:pt x="271241" y="298688"/>
                  </a:lnTo>
                  <a:lnTo>
                    <a:pt x="211836" y="286496"/>
                  </a:lnTo>
                  <a:lnTo>
                    <a:pt x="160020" y="271256"/>
                  </a:lnTo>
                  <a:lnTo>
                    <a:pt x="143256" y="266684"/>
                  </a:lnTo>
                  <a:lnTo>
                    <a:pt x="100584" y="248396"/>
                  </a:lnTo>
                  <a:lnTo>
                    <a:pt x="67056" y="230120"/>
                  </a:lnTo>
                  <a:lnTo>
                    <a:pt x="57912" y="222500"/>
                  </a:lnTo>
                  <a:lnTo>
                    <a:pt x="42672" y="210308"/>
                  </a:lnTo>
                  <a:lnTo>
                    <a:pt x="36576" y="202688"/>
                  </a:lnTo>
                  <a:lnTo>
                    <a:pt x="32004" y="196592"/>
                  </a:lnTo>
                  <a:lnTo>
                    <a:pt x="30175" y="192020"/>
                  </a:lnTo>
                  <a:lnTo>
                    <a:pt x="28956" y="192020"/>
                  </a:lnTo>
                  <a:lnTo>
                    <a:pt x="25908" y="182876"/>
                  </a:lnTo>
                  <a:lnTo>
                    <a:pt x="24384" y="176780"/>
                  </a:lnTo>
                  <a:lnTo>
                    <a:pt x="25603" y="176780"/>
                  </a:lnTo>
                  <a:lnTo>
                    <a:pt x="24688" y="172208"/>
                  </a:lnTo>
                  <a:lnTo>
                    <a:pt x="24384" y="172208"/>
                  </a:lnTo>
                  <a:lnTo>
                    <a:pt x="24384" y="170684"/>
                  </a:lnTo>
                  <a:lnTo>
                    <a:pt x="24688" y="170684"/>
                  </a:lnTo>
                  <a:lnTo>
                    <a:pt x="25603" y="166112"/>
                  </a:lnTo>
                  <a:lnTo>
                    <a:pt x="24384" y="166112"/>
                  </a:lnTo>
                  <a:lnTo>
                    <a:pt x="27432" y="158492"/>
                  </a:lnTo>
                  <a:lnTo>
                    <a:pt x="28956" y="152396"/>
                  </a:lnTo>
                  <a:lnTo>
                    <a:pt x="38100" y="140204"/>
                  </a:lnTo>
                  <a:lnTo>
                    <a:pt x="44196" y="132584"/>
                  </a:lnTo>
                  <a:lnTo>
                    <a:pt x="50292" y="126488"/>
                  </a:lnTo>
                  <a:lnTo>
                    <a:pt x="57912" y="120392"/>
                  </a:lnTo>
                  <a:lnTo>
                    <a:pt x="67056" y="112776"/>
                  </a:lnTo>
                  <a:lnTo>
                    <a:pt x="77724" y="106680"/>
                  </a:lnTo>
                  <a:lnTo>
                    <a:pt x="114300" y="88392"/>
                  </a:lnTo>
                  <a:lnTo>
                    <a:pt x="144780" y="76200"/>
                  </a:lnTo>
                  <a:lnTo>
                    <a:pt x="160020" y="71628"/>
                  </a:lnTo>
                  <a:lnTo>
                    <a:pt x="176784" y="65532"/>
                  </a:lnTo>
                  <a:lnTo>
                    <a:pt x="231617" y="51816"/>
                  </a:lnTo>
                  <a:lnTo>
                    <a:pt x="251429" y="48768"/>
                  </a:lnTo>
                  <a:lnTo>
                    <a:pt x="271241" y="44196"/>
                  </a:lnTo>
                  <a:lnTo>
                    <a:pt x="359633" y="32004"/>
                  </a:lnTo>
                  <a:lnTo>
                    <a:pt x="454121" y="25908"/>
                  </a:lnTo>
                  <a:lnTo>
                    <a:pt x="775147" y="25908"/>
                  </a:lnTo>
                  <a:lnTo>
                    <a:pt x="761939" y="22860"/>
                  </a:lnTo>
                  <a:lnTo>
                    <a:pt x="740603" y="19812"/>
                  </a:lnTo>
                  <a:lnTo>
                    <a:pt x="719267" y="15240"/>
                  </a:lnTo>
                  <a:lnTo>
                    <a:pt x="696407" y="12192"/>
                  </a:lnTo>
                  <a:lnTo>
                    <a:pt x="603443" y="3048"/>
                  </a:lnTo>
                  <a:lnTo>
                    <a:pt x="504413" y="0"/>
                  </a:lnTo>
                  <a:close/>
                </a:path>
                <a:path w="1009015" h="342900">
                  <a:moveTo>
                    <a:pt x="982888" y="176780"/>
                  </a:moveTo>
                  <a:lnTo>
                    <a:pt x="981364" y="184400"/>
                  </a:lnTo>
                  <a:lnTo>
                    <a:pt x="978316" y="190496"/>
                  </a:lnTo>
                  <a:lnTo>
                    <a:pt x="975268" y="198116"/>
                  </a:lnTo>
                  <a:lnTo>
                    <a:pt x="970696" y="204212"/>
                  </a:lnTo>
                  <a:lnTo>
                    <a:pt x="964600" y="210308"/>
                  </a:lnTo>
                  <a:lnTo>
                    <a:pt x="956980" y="216404"/>
                  </a:lnTo>
                  <a:lnTo>
                    <a:pt x="949360" y="224024"/>
                  </a:lnTo>
                  <a:lnTo>
                    <a:pt x="906719" y="248396"/>
                  </a:lnTo>
                  <a:lnTo>
                    <a:pt x="864047" y="266684"/>
                  </a:lnTo>
                  <a:lnTo>
                    <a:pt x="847283" y="271256"/>
                  </a:lnTo>
                  <a:lnTo>
                    <a:pt x="830519" y="277352"/>
                  </a:lnTo>
                  <a:lnTo>
                    <a:pt x="755843" y="295640"/>
                  </a:lnTo>
                  <a:lnTo>
                    <a:pt x="649163" y="310880"/>
                  </a:lnTo>
                  <a:lnTo>
                    <a:pt x="553151" y="316976"/>
                  </a:lnTo>
                  <a:lnTo>
                    <a:pt x="504413" y="318500"/>
                  </a:lnTo>
                  <a:lnTo>
                    <a:pt x="768543" y="318500"/>
                  </a:lnTo>
                  <a:lnTo>
                    <a:pt x="801563" y="310880"/>
                  </a:lnTo>
                  <a:lnTo>
                    <a:pt x="838139" y="301736"/>
                  </a:lnTo>
                  <a:lnTo>
                    <a:pt x="856427" y="295640"/>
                  </a:lnTo>
                  <a:lnTo>
                    <a:pt x="873191" y="291068"/>
                  </a:lnTo>
                  <a:lnTo>
                    <a:pt x="903671" y="278876"/>
                  </a:lnTo>
                  <a:lnTo>
                    <a:pt x="917387" y="271256"/>
                  </a:lnTo>
                  <a:lnTo>
                    <a:pt x="931103" y="265160"/>
                  </a:lnTo>
                  <a:lnTo>
                    <a:pt x="943264" y="257540"/>
                  </a:lnTo>
                  <a:lnTo>
                    <a:pt x="955456" y="251444"/>
                  </a:lnTo>
                  <a:lnTo>
                    <a:pt x="966124" y="243824"/>
                  </a:lnTo>
                  <a:lnTo>
                    <a:pt x="975268" y="236204"/>
                  </a:lnTo>
                  <a:lnTo>
                    <a:pt x="982888" y="227072"/>
                  </a:lnTo>
                  <a:lnTo>
                    <a:pt x="990508" y="219452"/>
                  </a:lnTo>
                  <a:lnTo>
                    <a:pt x="1002700" y="201164"/>
                  </a:lnTo>
                  <a:lnTo>
                    <a:pt x="1005748" y="190496"/>
                  </a:lnTo>
                  <a:lnTo>
                    <a:pt x="1007272" y="182876"/>
                  </a:lnTo>
                  <a:lnTo>
                    <a:pt x="1007272" y="181352"/>
                  </a:lnTo>
                  <a:lnTo>
                    <a:pt x="1008796" y="181352"/>
                  </a:lnTo>
                  <a:lnTo>
                    <a:pt x="1008796" y="178304"/>
                  </a:lnTo>
                  <a:lnTo>
                    <a:pt x="982888" y="178304"/>
                  </a:lnTo>
                  <a:lnTo>
                    <a:pt x="982888" y="176780"/>
                  </a:lnTo>
                  <a:close/>
                </a:path>
                <a:path w="1009015" h="342900">
                  <a:moveTo>
                    <a:pt x="28956" y="188972"/>
                  </a:moveTo>
                  <a:lnTo>
                    <a:pt x="28956" y="192020"/>
                  </a:lnTo>
                  <a:lnTo>
                    <a:pt x="30175" y="192020"/>
                  </a:lnTo>
                  <a:lnTo>
                    <a:pt x="28956" y="188972"/>
                  </a:lnTo>
                  <a:close/>
                </a:path>
                <a:path w="1009015" h="342900">
                  <a:moveTo>
                    <a:pt x="25603" y="176780"/>
                  </a:moveTo>
                  <a:lnTo>
                    <a:pt x="24384" y="176780"/>
                  </a:lnTo>
                  <a:lnTo>
                    <a:pt x="25908" y="178304"/>
                  </a:lnTo>
                  <a:lnTo>
                    <a:pt x="25603" y="176780"/>
                  </a:lnTo>
                  <a:close/>
                </a:path>
                <a:path w="1009015" h="342900">
                  <a:moveTo>
                    <a:pt x="1008796" y="164588"/>
                  </a:moveTo>
                  <a:lnTo>
                    <a:pt x="982888" y="164588"/>
                  </a:lnTo>
                  <a:lnTo>
                    <a:pt x="982888" y="178304"/>
                  </a:lnTo>
                  <a:lnTo>
                    <a:pt x="1008796" y="178304"/>
                  </a:lnTo>
                  <a:lnTo>
                    <a:pt x="1008796" y="164588"/>
                  </a:lnTo>
                  <a:close/>
                </a:path>
                <a:path w="1009015" h="342900">
                  <a:moveTo>
                    <a:pt x="24384" y="170684"/>
                  </a:moveTo>
                  <a:lnTo>
                    <a:pt x="24384" y="172208"/>
                  </a:lnTo>
                  <a:lnTo>
                    <a:pt x="24536" y="171446"/>
                  </a:lnTo>
                  <a:lnTo>
                    <a:pt x="24384" y="170684"/>
                  </a:lnTo>
                  <a:close/>
                </a:path>
                <a:path w="1009015" h="342900">
                  <a:moveTo>
                    <a:pt x="24536" y="171446"/>
                  </a:moveTo>
                  <a:lnTo>
                    <a:pt x="24384" y="172208"/>
                  </a:lnTo>
                  <a:lnTo>
                    <a:pt x="24688" y="172208"/>
                  </a:lnTo>
                  <a:lnTo>
                    <a:pt x="24536" y="171446"/>
                  </a:lnTo>
                  <a:close/>
                </a:path>
                <a:path w="1009015" h="342900">
                  <a:moveTo>
                    <a:pt x="24688" y="170684"/>
                  </a:moveTo>
                  <a:lnTo>
                    <a:pt x="24384" y="170684"/>
                  </a:lnTo>
                  <a:lnTo>
                    <a:pt x="24536" y="171446"/>
                  </a:lnTo>
                  <a:lnTo>
                    <a:pt x="24688" y="170684"/>
                  </a:lnTo>
                  <a:close/>
                </a:path>
                <a:path w="1009015" h="342900">
                  <a:moveTo>
                    <a:pt x="25908" y="164588"/>
                  </a:moveTo>
                  <a:lnTo>
                    <a:pt x="24384" y="166112"/>
                  </a:lnTo>
                  <a:lnTo>
                    <a:pt x="25603" y="166112"/>
                  </a:lnTo>
                  <a:lnTo>
                    <a:pt x="25908" y="164588"/>
                  </a:lnTo>
                  <a:close/>
                </a:path>
                <a:path w="1009015" h="342900">
                  <a:moveTo>
                    <a:pt x="775147" y="25908"/>
                  </a:moveTo>
                  <a:lnTo>
                    <a:pt x="554675" y="25908"/>
                  </a:lnTo>
                  <a:lnTo>
                    <a:pt x="649163" y="32004"/>
                  </a:lnTo>
                  <a:lnTo>
                    <a:pt x="716219" y="41148"/>
                  </a:lnTo>
                  <a:lnTo>
                    <a:pt x="736031" y="44196"/>
                  </a:lnTo>
                  <a:lnTo>
                    <a:pt x="757367" y="48768"/>
                  </a:lnTo>
                  <a:lnTo>
                    <a:pt x="777179" y="51816"/>
                  </a:lnTo>
                  <a:lnTo>
                    <a:pt x="813755" y="60960"/>
                  </a:lnTo>
                  <a:lnTo>
                    <a:pt x="832043" y="67056"/>
                  </a:lnTo>
                  <a:lnTo>
                    <a:pt x="848807" y="71628"/>
                  </a:lnTo>
                  <a:lnTo>
                    <a:pt x="906719" y="94488"/>
                  </a:lnTo>
                  <a:lnTo>
                    <a:pt x="940216" y="114300"/>
                  </a:lnTo>
                  <a:lnTo>
                    <a:pt x="958504" y="126488"/>
                  </a:lnTo>
                  <a:lnTo>
                    <a:pt x="964600" y="134108"/>
                  </a:lnTo>
                  <a:lnTo>
                    <a:pt x="970696" y="140204"/>
                  </a:lnTo>
                  <a:lnTo>
                    <a:pt x="975268" y="147824"/>
                  </a:lnTo>
                  <a:lnTo>
                    <a:pt x="979840" y="153920"/>
                  </a:lnTo>
                  <a:lnTo>
                    <a:pt x="982888" y="166112"/>
                  </a:lnTo>
                  <a:lnTo>
                    <a:pt x="982888" y="164588"/>
                  </a:lnTo>
                  <a:lnTo>
                    <a:pt x="1008796" y="164588"/>
                  </a:lnTo>
                  <a:lnTo>
                    <a:pt x="1008796" y="163064"/>
                  </a:lnTo>
                  <a:lnTo>
                    <a:pt x="1007272" y="161540"/>
                  </a:lnTo>
                  <a:lnTo>
                    <a:pt x="1007272" y="160016"/>
                  </a:lnTo>
                  <a:lnTo>
                    <a:pt x="990508" y="123440"/>
                  </a:lnTo>
                  <a:lnTo>
                    <a:pt x="953932" y="91440"/>
                  </a:lnTo>
                  <a:lnTo>
                    <a:pt x="943264" y="85344"/>
                  </a:lnTo>
                  <a:lnTo>
                    <a:pt x="931103" y="77724"/>
                  </a:lnTo>
                  <a:lnTo>
                    <a:pt x="903671" y="65532"/>
                  </a:lnTo>
                  <a:lnTo>
                    <a:pt x="888431" y="59436"/>
                  </a:lnTo>
                  <a:lnTo>
                    <a:pt x="871667" y="53340"/>
                  </a:lnTo>
                  <a:lnTo>
                    <a:pt x="856427" y="47244"/>
                  </a:lnTo>
                  <a:lnTo>
                    <a:pt x="838139" y="42672"/>
                  </a:lnTo>
                  <a:lnTo>
                    <a:pt x="819851" y="36576"/>
                  </a:lnTo>
                  <a:lnTo>
                    <a:pt x="801563" y="32004"/>
                  </a:lnTo>
                  <a:lnTo>
                    <a:pt x="775147" y="25908"/>
                  </a:lnTo>
                  <a:close/>
                </a:path>
              </a:pathLst>
            </a:custGeom>
            <a:solidFill>
              <a:srgbClr val="32329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7" name="object 67"/>
          <p:cNvSpPr txBox="1"/>
          <p:nvPr/>
        </p:nvSpPr>
        <p:spPr>
          <a:xfrm>
            <a:off x="8318837" y="4650856"/>
            <a:ext cx="622332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Liberation Sans Narrow"/>
                <a:cs typeface="Liberation Sans Narrow"/>
              </a:rPr>
              <a:t>Da</a:t>
            </a:r>
            <a:r>
              <a:rPr sz="1600" dirty="0">
                <a:latin typeface="Liberation Sans Narrow"/>
                <a:cs typeface="Liberation Sans Narrow"/>
              </a:rPr>
              <a:t>y</a:t>
            </a:r>
            <a:r>
              <a:rPr sz="1600" spc="-5" dirty="0">
                <a:latin typeface="Liberation Sans Narrow"/>
                <a:cs typeface="Liberation Sans Narrow"/>
              </a:rPr>
              <a:t>s</a:t>
            </a:r>
            <a:endParaRPr sz="1600" dirty="0">
              <a:latin typeface="Liberation Sans Narrow"/>
              <a:cs typeface="Liberation Sans Narrow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737565" y="5752624"/>
            <a:ext cx="1456055" cy="2686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Liberation Sans Narrow"/>
                <a:cs typeface="Liberation Sans Narrow"/>
              </a:rPr>
              <a:t>Deduction of</a:t>
            </a:r>
            <a:r>
              <a:rPr sz="1600" spc="-95" dirty="0">
                <a:latin typeface="Liberation Sans Narrow"/>
                <a:cs typeface="Liberation Sans Narrow"/>
              </a:rPr>
              <a:t> </a:t>
            </a:r>
            <a:r>
              <a:rPr sz="1600" spc="-5" dirty="0">
                <a:latin typeface="Liberation Sans Narrow"/>
                <a:cs typeface="Liberation Sans Narrow"/>
              </a:rPr>
              <a:t>Quota</a:t>
            </a:r>
            <a:endParaRPr sz="1600">
              <a:latin typeface="Liberation Sans Narrow"/>
              <a:cs typeface="Liberation Sans Narrow"/>
            </a:endParaRPr>
          </a:p>
        </p:txBody>
      </p:sp>
      <p:grpSp>
        <p:nvGrpSpPr>
          <p:cNvPr id="69" name="object 69"/>
          <p:cNvGrpSpPr/>
          <p:nvPr/>
        </p:nvGrpSpPr>
        <p:grpSpPr>
          <a:xfrm>
            <a:off x="7264817" y="3892479"/>
            <a:ext cx="1809114" cy="178435"/>
            <a:chOff x="7264817" y="3892479"/>
            <a:chExt cx="1809114" cy="178435"/>
          </a:xfrm>
        </p:grpSpPr>
        <p:sp>
          <p:nvSpPr>
            <p:cNvPr id="70" name="object 70"/>
            <p:cNvSpPr/>
            <p:nvPr/>
          </p:nvSpPr>
          <p:spPr>
            <a:xfrm>
              <a:off x="7277009" y="3892479"/>
              <a:ext cx="1784985" cy="166370"/>
            </a:xfrm>
            <a:custGeom>
              <a:avLst/>
              <a:gdLst/>
              <a:ahLst/>
              <a:cxnLst/>
              <a:rect l="l" t="t" r="r" b="b"/>
              <a:pathLst>
                <a:path w="1784984" h="166370">
                  <a:moveTo>
                    <a:pt x="0" y="166115"/>
                  </a:moveTo>
                  <a:lnTo>
                    <a:pt x="1784460" y="166115"/>
                  </a:lnTo>
                  <a:lnTo>
                    <a:pt x="1784460" y="0"/>
                  </a:lnTo>
                  <a:lnTo>
                    <a:pt x="0" y="0"/>
                  </a:lnTo>
                  <a:lnTo>
                    <a:pt x="0" y="166115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" name="object 71"/>
            <p:cNvSpPr/>
            <p:nvPr/>
          </p:nvSpPr>
          <p:spPr>
            <a:xfrm>
              <a:off x="7264817" y="3892479"/>
              <a:ext cx="1809114" cy="178435"/>
            </a:xfrm>
            <a:custGeom>
              <a:avLst/>
              <a:gdLst/>
              <a:ahLst/>
              <a:cxnLst/>
              <a:rect l="l" t="t" r="r" b="b"/>
              <a:pathLst>
                <a:path w="1809115" h="178435">
                  <a:moveTo>
                    <a:pt x="25908" y="0"/>
                  </a:moveTo>
                  <a:lnTo>
                    <a:pt x="0" y="0"/>
                  </a:lnTo>
                  <a:lnTo>
                    <a:pt x="0" y="178307"/>
                  </a:lnTo>
                  <a:lnTo>
                    <a:pt x="1808835" y="178307"/>
                  </a:lnTo>
                  <a:lnTo>
                    <a:pt x="1808835" y="166115"/>
                  </a:lnTo>
                  <a:lnTo>
                    <a:pt x="25908" y="166115"/>
                  </a:lnTo>
                  <a:lnTo>
                    <a:pt x="12192" y="152399"/>
                  </a:lnTo>
                  <a:lnTo>
                    <a:pt x="25908" y="152399"/>
                  </a:lnTo>
                  <a:lnTo>
                    <a:pt x="25908" y="0"/>
                  </a:lnTo>
                  <a:close/>
                </a:path>
                <a:path w="1809115" h="178435">
                  <a:moveTo>
                    <a:pt x="25908" y="152399"/>
                  </a:moveTo>
                  <a:lnTo>
                    <a:pt x="12192" y="152399"/>
                  </a:lnTo>
                  <a:lnTo>
                    <a:pt x="25908" y="166115"/>
                  </a:lnTo>
                  <a:lnTo>
                    <a:pt x="25908" y="152399"/>
                  </a:lnTo>
                  <a:close/>
                </a:path>
                <a:path w="1809115" h="178435">
                  <a:moveTo>
                    <a:pt x="1784451" y="152399"/>
                  </a:moveTo>
                  <a:lnTo>
                    <a:pt x="25908" y="152399"/>
                  </a:lnTo>
                  <a:lnTo>
                    <a:pt x="25908" y="166115"/>
                  </a:lnTo>
                  <a:lnTo>
                    <a:pt x="1784451" y="166115"/>
                  </a:lnTo>
                  <a:lnTo>
                    <a:pt x="1784451" y="152399"/>
                  </a:lnTo>
                  <a:close/>
                </a:path>
                <a:path w="1809115" h="178435">
                  <a:moveTo>
                    <a:pt x="1808835" y="0"/>
                  </a:moveTo>
                  <a:lnTo>
                    <a:pt x="1784451" y="0"/>
                  </a:lnTo>
                  <a:lnTo>
                    <a:pt x="1784451" y="166115"/>
                  </a:lnTo>
                  <a:lnTo>
                    <a:pt x="1796643" y="152399"/>
                  </a:lnTo>
                  <a:lnTo>
                    <a:pt x="1808835" y="152399"/>
                  </a:lnTo>
                  <a:lnTo>
                    <a:pt x="1808835" y="0"/>
                  </a:lnTo>
                  <a:close/>
                </a:path>
                <a:path w="1809115" h="178435">
                  <a:moveTo>
                    <a:pt x="1808835" y="152399"/>
                  </a:moveTo>
                  <a:lnTo>
                    <a:pt x="1796643" y="152399"/>
                  </a:lnTo>
                  <a:lnTo>
                    <a:pt x="1784451" y="166115"/>
                  </a:lnTo>
                  <a:lnTo>
                    <a:pt x="1808835" y="166115"/>
                  </a:lnTo>
                  <a:lnTo>
                    <a:pt x="1808835" y="152399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2" name="object 72"/>
          <p:cNvSpPr txBox="1"/>
          <p:nvPr/>
        </p:nvSpPr>
        <p:spPr>
          <a:xfrm>
            <a:off x="8062728" y="3779203"/>
            <a:ext cx="210820" cy="2686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Liberation Sans Narrow"/>
                <a:cs typeface="Liberation Sans Narrow"/>
              </a:rPr>
              <a:t>A</a:t>
            </a:r>
            <a:r>
              <a:rPr sz="1600" spc="-10" dirty="0">
                <a:latin typeface="Liberation Sans Narrow"/>
                <a:cs typeface="Liberation Sans Narrow"/>
              </a:rPr>
              <a:t>l</a:t>
            </a:r>
            <a:r>
              <a:rPr sz="1600" spc="-5" dirty="0">
                <a:latin typeface="Liberation Sans Narrow"/>
                <a:cs typeface="Liberation Sans Narrow"/>
              </a:rPr>
              <a:t>l</a:t>
            </a:r>
            <a:endParaRPr sz="1600">
              <a:latin typeface="Liberation Sans Narrow"/>
              <a:cs typeface="Liberation Sans Narrow"/>
            </a:endParaRPr>
          </a:p>
        </p:txBody>
      </p:sp>
    </p:spTree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300164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Deduction</a:t>
            </a:r>
            <a:r>
              <a:rPr spc="-105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Rule</a:t>
            </a:r>
          </a:p>
        </p:txBody>
      </p:sp>
      <p:sp>
        <p:nvSpPr>
          <p:cNvPr id="3" name="object 3"/>
          <p:cNvSpPr/>
          <p:nvPr/>
        </p:nvSpPr>
        <p:spPr>
          <a:xfrm>
            <a:off x="463774" y="1187604"/>
            <a:ext cx="9143238" cy="270487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463774" y="3892479"/>
            <a:ext cx="8832626" cy="297156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58896" y="704040"/>
            <a:ext cx="300164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Deduction</a:t>
            </a:r>
            <a:r>
              <a:rPr spc="-105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Rul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081960" y="2017602"/>
            <a:ext cx="8151495" cy="3988435"/>
          </a:xfrm>
          <a:prstGeom prst="rect">
            <a:avLst/>
          </a:prstGeom>
        </p:spPr>
        <p:txBody>
          <a:bodyPr vert="horz" wrap="square" lIns="0" tIns="47625" rIns="0" bIns="0" rtlCol="0">
            <a:spAutoFit/>
          </a:bodyPr>
          <a:lstStyle/>
          <a:p>
            <a:pPr marL="12700" marR="146685">
              <a:lnSpc>
                <a:spcPts val="2160"/>
              </a:lnSpc>
              <a:spcBef>
                <a:spcPts val="375"/>
              </a:spcBef>
              <a:buSzPct val="95000"/>
              <a:buChar char="•"/>
              <a:tabLst>
                <a:tab pos="86995" algn="l"/>
              </a:tabLst>
            </a:pPr>
            <a:r>
              <a:rPr sz="2000" spc="-5" dirty="0">
                <a:latin typeface="Liberation Sans Narrow"/>
                <a:cs typeface="Liberation Sans Narrow"/>
              </a:rPr>
              <a:t>Deduction rule Specifies the Deduction of Quotas ,the sequence in which they have to  be deducted and also the priority of</a:t>
            </a:r>
            <a:r>
              <a:rPr sz="2000" spc="-45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deduction</a:t>
            </a:r>
            <a:endParaRPr sz="2000">
              <a:latin typeface="Liberation Sans Narrow"/>
              <a:cs typeface="Liberation Sans Narrow"/>
            </a:endParaRPr>
          </a:p>
          <a:p>
            <a:pPr>
              <a:lnSpc>
                <a:spcPct val="100000"/>
              </a:lnSpc>
              <a:buFont typeface="Liberation Sans Narrow"/>
              <a:buChar char="•"/>
            </a:pPr>
            <a:endParaRPr sz="2300">
              <a:latin typeface="Liberation Sans Narrow"/>
              <a:cs typeface="Liberation Sans Narrow"/>
            </a:endParaRPr>
          </a:p>
          <a:p>
            <a:pPr marL="12700" marR="85725">
              <a:lnSpc>
                <a:spcPts val="2160"/>
              </a:lnSpc>
              <a:spcBef>
                <a:spcPts val="1920"/>
              </a:spcBef>
              <a:buSzPct val="95000"/>
              <a:buChar char="•"/>
              <a:tabLst>
                <a:tab pos="86995" algn="l"/>
              </a:tabLst>
            </a:pPr>
            <a:r>
              <a:rPr sz="2000" dirty="0">
                <a:latin typeface="Liberation Sans Narrow"/>
                <a:cs typeface="Liberation Sans Narrow"/>
              </a:rPr>
              <a:t>There </a:t>
            </a:r>
            <a:r>
              <a:rPr sz="2000" spc="-5" dirty="0">
                <a:latin typeface="Liberation Sans Narrow"/>
                <a:cs typeface="Liberation Sans Narrow"/>
              </a:rPr>
              <a:t>may be </a:t>
            </a:r>
            <a:r>
              <a:rPr sz="2000" dirty="0">
                <a:latin typeface="Liberation Sans Narrow"/>
                <a:cs typeface="Liberation Sans Narrow"/>
              </a:rPr>
              <a:t>more </a:t>
            </a:r>
            <a:r>
              <a:rPr sz="2000" spc="-5" dirty="0">
                <a:latin typeface="Liberation Sans Narrow"/>
                <a:cs typeface="Liberation Sans Narrow"/>
              </a:rPr>
              <a:t>than one quota for the same absence type. </a:t>
            </a:r>
            <a:r>
              <a:rPr sz="2000" dirty="0">
                <a:latin typeface="Liberation Sans Narrow"/>
                <a:cs typeface="Liberation Sans Narrow"/>
              </a:rPr>
              <a:t>The </a:t>
            </a:r>
            <a:r>
              <a:rPr sz="2000" spc="-5" dirty="0">
                <a:latin typeface="Liberation Sans Narrow"/>
                <a:cs typeface="Liberation Sans Narrow"/>
              </a:rPr>
              <a:t>order of deduction  of these quotas have to be</a:t>
            </a:r>
            <a:r>
              <a:rPr sz="2000" spc="-50" dirty="0">
                <a:latin typeface="Liberation Sans Narrow"/>
                <a:cs typeface="Liberation Sans Narrow"/>
              </a:rPr>
              <a:t> </a:t>
            </a:r>
            <a:r>
              <a:rPr sz="2000" spc="-10" dirty="0">
                <a:latin typeface="Liberation Sans Narrow"/>
                <a:cs typeface="Liberation Sans Narrow"/>
              </a:rPr>
              <a:t>specified</a:t>
            </a:r>
            <a:endParaRPr sz="2000">
              <a:latin typeface="Liberation Sans Narrow"/>
              <a:cs typeface="Liberation Sans Narrow"/>
            </a:endParaRPr>
          </a:p>
          <a:p>
            <a:pPr>
              <a:lnSpc>
                <a:spcPct val="100000"/>
              </a:lnSpc>
              <a:buFont typeface="Liberation Sans Narrow"/>
              <a:buChar char="•"/>
            </a:pPr>
            <a:endParaRPr sz="2300">
              <a:latin typeface="Liberation Sans Narrow"/>
              <a:cs typeface="Liberation Sans Narrow"/>
            </a:endParaRPr>
          </a:p>
          <a:p>
            <a:pPr marL="12700" marR="332740">
              <a:lnSpc>
                <a:spcPts val="2160"/>
              </a:lnSpc>
              <a:spcBef>
                <a:spcPts val="1920"/>
              </a:spcBef>
              <a:buSzPct val="95000"/>
              <a:buChar char="•"/>
              <a:tabLst>
                <a:tab pos="86995" algn="l"/>
              </a:tabLst>
            </a:pPr>
            <a:r>
              <a:rPr sz="2000" dirty="0">
                <a:latin typeface="Liberation Sans Narrow"/>
                <a:cs typeface="Liberation Sans Narrow"/>
              </a:rPr>
              <a:t>The </a:t>
            </a:r>
            <a:r>
              <a:rPr sz="2000" spc="-5" dirty="0">
                <a:latin typeface="Liberation Sans Narrow"/>
                <a:cs typeface="Liberation Sans Narrow"/>
              </a:rPr>
              <a:t>priorities can be Quota types, </a:t>
            </a:r>
            <a:r>
              <a:rPr sz="2000" spc="-20" dirty="0">
                <a:latin typeface="Liberation Sans Narrow"/>
                <a:cs typeface="Liberation Sans Narrow"/>
              </a:rPr>
              <a:t>Validity </a:t>
            </a:r>
            <a:r>
              <a:rPr sz="2000" dirty="0">
                <a:latin typeface="Liberation Sans Narrow"/>
                <a:cs typeface="Liberation Sans Narrow"/>
              </a:rPr>
              <a:t>from </a:t>
            </a:r>
            <a:r>
              <a:rPr sz="2000" spc="-5" dirty="0">
                <a:latin typeface="Liberation Sans Narrow"/>
                <a:cs typeface="Liberation Sans Narrow"/>
              </a:rPr>
              <a:t>date, </a:t>
            </a:r>
            <a:r>
              <a:rPr sz="2000" spc="-20" dirty="0">
                <a:latin typeface="Liberation Sans Narrow"/>
                <a:cs typeface="Liberation Sans Narrow"/>
              </a:rPr>
              <a:t>Validity </a:t>
            </a:r>
            <a:r>
              <a:rPr sz="2000" spc="-5" dirty="0">
                <a:latin typeface="Liberation Sans Narrow"/>
                <a:cs typeface="Liberation Sans Narrow"/>
              </a:rPr>
              <a:t>to date, deduction </a:t>
            </a:r>
            <a:r>
              <a:rPr sz="2000" dirty="0">
                <a:latin typeface="Liberation Sans Narrow"/>
                <a:cs typeface="Liberation Sans Narrow"/>
              </a:rPr>
              <a:t>from  </a:t>
            </a:r>
            <a:r>
              <a:rPr sz="2000" spc="-5" dirty="0">
                <a:latin typeface="Liberation Sans Narrow"/>
                <a:cs typeface="Liberation Sans Narrow"/>
              </a:rPr>
              <a:t>date and deduction to</a:t>
            </a:r>
            <a:r>
              <a:rPr sz="2000" spc="-45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date.</a:t>
            </a:r>
            <a:endParaRPr sz="2000">
              <a:latin typeface="Liberation Sans Narrow"/>
              <a:cs typeface="Liberation Sans Narrow"/>
            </a:endParaRPr>
          </a:p>
          <a:p>
            <a:pPr>
              <a:lnSpc>
                <a:spcPct val="100000"/>
              </a:lnSpc>
              <a:buFont typeface="Liberation Sans Narrow"/>
              <a:buChar char="•"/>
            </a:pPr>
            <a:endParaRPr sz="2300">
              <a:latin typeface="Liberation Sans Narrow"/>
              <a:cs typeface="Liberation Sans Narrow"/>
            </a:endParaRPr>
          </a:p>
          <a:p>
            <a:pPr marL="12700" marR="5080">
              <a:lnSpc>
                <a:spcPts val="2160"/>
              </a:lnSpc>
              <a:spcBef>
                <a:spcPts val="1920"/>
              </a:spcBef>
              <a:buSzPct val="95000"/>
              <a:buChar char="•"/>
              <a:tabLst>
                <a:tab pos="86995" algn="l"/>
              </a:tabLst>
            </a:pPr>
            <a:r>
              <a:rPr sz="2000" dirty="0">
                <a:latin typeface="Liberation Sans Narrow"/>
                <a:cs typeface="Liberation Sans Narrow"/>
              </a:rPr>
              <a:t>The </a:t>
            </a:r>
            <a:r>
              <a:rPr sz="2000" spc="-20" dirty="0">
                <a:latin typeface="Liberation Sans Narrow"/>
                <a:cs typeface="Liberation Sans Narrow"/>
              </a:rPr>
              <a:t>Validity </a:t>
            </a:r>
            <a:r>
              <a:rPr sz="2000" spc="-5" dirty="0">
                <a:latin typeface="Liberation Sans Narrow"/>
                <a:cs typeface="Liberation Sans Narrow"/>
              </a:rPr>
              <a:t>interval is the period for which quota has accrued. </a:t>
            </a:r>
            <a:r>
              <a:rPr sz="2000" dirty="0">
                <a:latin typeface="Liberation Sans Narrow"/>
                <a:cs typeface="Liberation Sans Narrow"/>
              </a:rPr>
              <a:t>The </a:t>
            </a:r>
            <a:r>
              <a:rPr sz="2000" spc="-5" dirty="0">
                <a:latin typeface="Liberation Sans Narrow"/>
                <a:cs typeface="Liberation Sans Narrow"/>
              </a:rPr>
              <a:t>Deduction interval is  the period in which the quota can be</a:t>
            </a:r>
            <a:r>
              <a:rPr sz="2000" spc="-55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used.</a:t>
            </a:r>
            <a:endParaRPr sz="2000">
              <a:latin typeface="Liberation Sans Narrow"/>
              <a:cs typeface="Liberation Sans Narrow"/>
            </a:endParaRPr>
          </a:p>
        </p:txBody>
      </p:sp>
    </p:spTree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47277" y="810707"/>
            <a:ext cx="530225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Deduction Rule </a:t>
            </a:r>
            <a:r>
              <a:rPr dirty="0">
                <a:solidFill>
                  <a:schemeClr val="accent1"/>
                </a:solidFill>
              </a:rPr>
              <a:t>-</a:t>
            </a:r>
            <a:r>
              <a:rPr spc="-105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continued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999664" y="2054175"/>
            <a:ext cx="76390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Priority</a:t>
            </a:r>
            <a:r>
              <a:rPr sz="1800" spc="-70" dirty="0">
                <a:latin typeface="Liberation Sans Narrow"/>
                <a:cs typeface="Liberation Sans Narrow"/>
              </a:rPr>
              <a:t> </a:t>
            </a:r>
            <a:r>
              <a:rPr sz="1800" dirty="0">
                <a:latin typeface="Liberation Sans Narrow"/>
                <a:cs typeface="Liberation Sans Narrow"/>
              </a:rPr>
              <a:t>1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235116" y="2054175"/>
            <a:ext cx="94361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Quota</a:t>
            </a:r>
            <a:r>
              <a:rPr sz="1800" spc="-45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type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999664" y="2587540"/>
            <a:ext cx="763905" cy="7569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Priority</a:t>
            </a:r>
            <a:r>
              <a:rPr sz="1800" spc="-85" dirty="0">
                <a:latin typeface="Liberation Sans Narrow"/>
                <a:cs typeface="Liberation Sans Narrow"/>
              </a:rPr>
              <a:t> </a:t>
            </a:r>
            <a:r>
              <a:rPr sz="1800" dirty="0">
                <a:latin typeface="Liberation Sans Narrow"/>
                <a:cs typeface="Liberation Sans Narrow"/>
              </a:rPr>
              <a:t>2</a:t>
            </a:r>
            <a:endParaRPr sz="1800">
              <a:latin typeface="Liberation Sans Narrow"/>
              <a:cs typeface="Liberation Sans Narrow"/>
            </a:endParaRPr>
          </a:p>
          <a:p>
            <a:pPr marL="12700">
              <a:lnSpc>
                <a:spcPct val="100000"/>
              </a:lnSpc>
              <a:spcBef>
                <a:spcPts val="144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Priority</a:t>
            </a:r>
            <a:r>
              <a:rPr sz="1800" spc="-85" dirty="0">
                <a:latin typeface="Liberation Sans Narrow"/>
                <a:cs typeface="Liberation Sans Narrow"/>
              </a:rPr>
              <a:t> </a:t>
            </a:r>
            <a:r>
              <a:rPr sz="1800" dirty="0">
                <a:latin typeface="Liberation Sans Narrow"/>
                <a:cs typeface="Liberation Sans Narrow"/>
              </a:rPr>
              <a:t>3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999664" y="3578059"/>
            <a:ext cx="763905" cy="7569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Priority</a:t>
            </a:r>
            <a:r>
              <a:rPr sz="1800" spc="-85" dirty="0">
                <a:latin typeface="Liberation Sans Narrow"/>
                <a:cs typeface="Liberation Sans Narrow"/>
              </a:rPr>
              <a:t> </a:t>
            </a:r>
            <a:r>
              <a:rPr sz="1800" dirty="0">
                <a:latin typeface="Liberation Sans Narrow"/>
                <a:cs typeface="Liberation Sans Narrow"/>
              </a:rPr>
              <a:t>4</a:t>
            </a:r>
            <a:endParaRPr sz="1800">
              <a:latin typeface="Liberation Sans Narrow"/>
              <a:cs typeface="Liberation Sans Narrow"/>
            </a:endParaRPr>
          </a:p>
          <a:p>
            <a:pPr marL="12700">
              <a:lnSpc>
                <a:spcPct val="100000"/>
              </a:lnSpc>
              <a:spcBef>
                <a:spcPts val="144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Priority</a:t>
            </a:r>
            <a:r>
              <a:rPr sz="1800" spc="-85" dirty="0">
                <a:latin typeface="Liberation Sans Narrow"/>
                <a:cs typeface="Liberation Sans Narrow"/>
              </a:rPr>
              <a:t> </a:t>
            </a:r>
            <a:r>
              <a:rPr sz="1800" dirty="0">
                <a:latin typeface="Liberation Sans Narrow"/>
                <a:cs typeface="Liberation Sans Narrow"/>
              </a:rPr>
              <a:t>5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3235196" y="2587541"/>
            <a:ext cx="1041400" cy="7569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20" dirty="0">
                <a:latin typeface="Liberation Sans Narrow"/>
                <a:cs typeface="Liberation Sans Narrow"/>
              </a:rPr>
              <a:t>Validity</a:t>
            </a:r>
            <a:r>
              <a:rPr sz="1800" spc="-45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from</a:t>
            </a:r>
            <a:endParaRPr sz="1800">
              <a:latin typeface="Liberation Sans Narrow"/>
              <a:cs typeface="Liberation Sans Narrow"/>
            </a:endParaRPr>
          </a:p>
          <a:p>
            <a:pPr marL="12700">
              <a:lnSpc>
                <a:spcPct val="100000"/>
              </a:lnSpc>
              <a:spcBef>
                <a:spcPts val="1440"/>
              </a:spcBef>
            </a:pPr>
            <a:r>
              <a:rPr sz="1800" spc="-20" dirty="0">
                <a:latin typeface="Liberation Sans Narrow"/>
                <a:cs typeface="Liberation Sans Narrow"/>
              </a:rPr>
              <a:t>Validity</a:t>
            </a:r>
            <a:r>
              <a:rPr sz="1800" spc="-5" dirty="0">
                <a:latin typeface="Liberation Sans Narrow"/>
                <a:cs typeface="Liberation Sans Narrow"/>
              </a:rPr>
              <a:t> to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3235116" y="3578060"/>
            <a:ext cx="1297305" cy="7569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Deduction</a:t>
            </a:r>
            <a:r>
              <a:rPr sz="1800" spc="-35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from</a:t>
            </a:r>
            <a:endParaRPr sz="1800">
              <a:latin typeface="Liberation Sans Narrow"/>
              <a:cs typeface="Liberation Sans Narrow"/>
            </a:endParaRPr>
          </a:p>
          <a:p>
            <a:pPr marL="12700">
              <a:lnSpc>
                <a:spcPct val="100000"/>
              </a:lnSpc>
              <a:spcBef>
                <a:spcPts val="144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Deduction</a:t>
            </a:r>
            <a:r>
              <a:rPr sz="1800" spc="10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to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4954646" y="2199467"/>
            <a:ext cx="3782695" cy="847725"/>
          </a:xfrm>
          <a:custGeom>
            <a:avLst/>
            <a:gdLst/>
            <a:ahLst/>
            <a:cxnLst/>
            <a:rect l="l" t="t" r="r" b="b"/>
            <a:pathLst>
              <a:path w="3782695" h="847725">
                <a:moveTo>
                  <a:pt x="3782232" y="0"/>
                </a:moveTo>
                <a:lnTo>
                  <a:pt x="0" y="0"/>
                </a:lnTo>
                <a:lnTo>
                  <a:pt x="0" y="847283"/>
                </a:lnTo>
                <a:lnTo>
                  <a:pt x="3782232" y="847283"/>
                </a:lnTo>
                <a:lnTo>
                  <a:pt x="3782232" y="842711"/>
                </a:lnTo>
                <a:lnTo>
                  <a:pt x="10668" y="842711"/>
                </a:lnTo>
                <a:lnTo>
                  <a:pt x="4572" y="838139"/>
                </a:lnTo>
                <a:lnTo>
                  <a:pt x="10668" y="838139"/>
                </a:lnTo>
                <a:lnTo>
                  <a:pt x="10668" y="9144"/>
                </a:lnTo>
                <a:lnTo>
                  <a:pt x="4572" y="9144"/>
                </a:lnTo>
                <a:lnTo>
                  <a:pt x="10668" y="4572"/>
                </a:lnTo>
                <a:lnTo>
                  <a:pt x="3782232" y="4572"/>
                </a:lnTo>
                <a:lnTo>
                  <a:pt x="3782232" y="0"/>
                </a:lnTo>
                <a:close/>
              </a:path>
              <a:path w="3782695" h="847725">
                <a:moveTo>
                  <a:pt x="10668" y="838139"/>
                </a:moveTo>
                <a:lnTo>
                  <a:pt x="4572" y="838139"/>
                </a:lnTo>
                <a:lnTo>
                  <a:pt x="10668" y="842711"/>
                </a:lnTo>
                <a:lnTo>
                  <a:pt x="10668" y="838139"/>
                </a:lnTo>
                <a:close/>
              </a:path>
              <a:path w="3782695" h="847725">
                <a:moveTo>
                  <a:pt x="3771564" y="838139"/>
                </a:moveTo>
                <a:lnTo>
                  <a:pt x="10668" y="838139"/>
                </a:lnTo>
                <a:lnTo>
                  <a:pt x="10668" y="842711"/>
                </a:lnTo>
                <a:lnTo>
                  <a:pt x="3771564" y="842711"/>
                </a:lnTo>
                <a:lnTo>
                  <a:pt x="3771564" y="838139"/>
                </a:lnTo>
                <a:close/>
              </a:path>
              <a:path w="3782695" h="847725">
                <a:moveTo>
                  <a:pt x="3771564" y="4572"/>
                </a:moveTo>
                <a:lnTo>
                  <a:pt x="3771564" y="842711"/>
                </a:lnTo>
                <a:lnTo>
                  <a:pt x="3776136" y="838139"/>
                </a:lnTo>
                <a:lnTo>
                  <a:pt x="3782232" y="838139"/>
                </a:lnTo>
                <a:lnTo>
                  <a:pt x="3782232" y="9144"/>
                </a:lnTo>
                <a:lnTo>
                  <a:pt x="3776136" y="9144"/>
                </a:lnTo>
                <a:lnTo>
                  <a:pt x="3771564" y="4572"/>
                </a:lnTo>
                <a:close/>
              </a:path>
              <a:path w="3782695" h="847725">
                <a:moveTo>
                  <a:pt x="3782232" y="838139"/>
                </a:moveTo>
                <a:lnTo>
                  <a:pt x="3776136" y="838139"/>
                </a:lnTo>
                <a:lnTo>
                  <a:pt x="3771564" y="842711"/>
                </a:lnTo>
                <a:lnTo>
                  <a:pt x="3782232" y="842711"/>
                </a:lnTo>
                <a:lnTo>
                  <a:pt x="3782232" y="838139"/>
                </a:lnTo>
                <a:close/>
              </a:path>
              <a:path w="3782695" h="847725">
                <a:moveTo>
                  <a:pt x="10668" y="4572"/>
                </a:moveTo>
                <a:lnTo>
                  <a:pt x="4572" y="9144"/>
                </a:lnTo>
                <a:lnTo>
                  <a:pt x="10668" y="9144"/>
                </a:lnTo>
                <a:lnTo>
                  <a:pt x="10668" y="4572"/>
                </a:lnTo>
                <a:close/>
              </a:path>
              <a:path w="3782695" h="847725">
                <a:moveTo>
                  <a:pt x="3771564" y="4572"/>
                </a:moveTo>
                <a:lnTo>
                  <a:pt x="10668" y="4572"/>
                </a:lnTo>
                <a:lnTo>
                  <a:pt x="10668" y="9144"/>
                </a:lnTo>
                <a:lnTo>
                  <a:pt x="3771564" y="9144"/>
                </a:lnTo>
                <a:lnTo>
                  <a:pt x="3771564" y="4572"/>
                </a:lnTo>
                <a:close/>
              </a:path>
              <a:path w="3782695" h="847725">
                <a:moveTo>
                  <a:pt x="3782232" y="4572"/>
                </a:moveTo>
                <a:lnTo>
                  <a:pt x="3771564" y="4572"/>
                </a:lnTo>
                <a:lnTo>
                  <a:pt x="3776136" y="9144"/>
                </a:lnTo>
                <a:lnTo>
                  <a:pt x="3782232" y="9144"/>
                </a:lnTo>
                <a:lnTo>
                  <a:pt x="3782232" y="45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5037941" y="2194371"/>
            <a:ext cx="322135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The priorities of </a:t>
            </a:r>
            <a:r>
              <a:rPr sz="1800" spc="-20" dirty="0">
                <a:latin typeface="Liberation Sans Narrow"/>
                <a:cs typeface="Liberation Sans Narrow"/>
              </a:rPr>
              <a:t>Validity </a:t>
            </a:r>
            <a:r>
              <a:rPr sz="1800" spc="-5" dirty="0">
                <a:latin typeface="Liberation Sans Narrow"/>
                <a:cs typeface="Liberation Sans Narrow"/>
              </a:rPr>
              <a:t>and Deduction  </a:t>
            </a:r>
            <a:r>
              <a:rPr sz="1800" dirty="0">
                <a:latin typeface="Liberation Sans Narrow"/>
                <a:cs typeface="Liberation Sans Narrow"/>
              </a:rPr>
              <a:t>can </a:t>
            </a:r>
            <a:r>
              <a:rPr sz="1800" spc="-5" dirty="0">
                <a:latin typeface="Liberation Sans Narrow"/>
                <a:cs typeface="Liberation Sans Narrow"/>
              </a:rPr>
              <a:t>be ascending or</a:t>
            </a:r>
            <a:r>
              <a:rPr sz="1800" spc="50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descending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4992713" y="3494747"/>
            <a:ext cx="3750310" cy="847725"/>
          </a:xfrm>
          <a:custGeom>
            <a:avLst/>
            <a:gdLst/>
            <a:ahLst/>
            <a:cxnLst/>
            <a:rect l="l" t="t" r="r" b="b"/>
            <a:pathLst>
              <a:path w="3750309" h="847725">
                <a:moveTo>
                  <a:pt x="3750259" y="0"/>
                </a:moveTo>
                <a:lnTo>
                  <a:pt x="3741115" y="0"/>
                </a:lnTo>
                <a:lnTo>
                  <a:pt x="3741115" y="9144"/>
                </a:lnTo>
                <a:lnTo>
                  <a:pt x="3741115" y="397738"/>
                </a:lnTo>
                <a:lnTo>
                  <a:pt x="3741115" y="838136"/>
                </a:lnTo>
                <a:lnTo>
                  <a:pt x="10668" y="838136"/>
                </a:lnTo>
                <a:lnTo>
                  <a:pt x="10668" y="397738"/>
                </a:lnTo>
                <a:lnTo>
                  <a:pt x="10668" y="9144"/>
                </a:lnTo>
                <a:lnTo>
                  <a:pt x="3741115" y="9144"/>
                </a:lnTo>
                <a:lnTo>
                  <a:pt x="3741115" y="0"/>
                </a:lnTo>
                <a:lnTo>
                  <a:pt x="0" y="0"/>
                </a:lnTo>
                <a:lnTo>
                  <a:pt x="0" y="397738"/>
                </a:lnTo>
                <a:lnTo>
                  <a:pt x="0" y="847280"/>
                </a:lnTo>
                <a:lnTo>
                  <a:pt x="3750259" y="847280"/>
                </a:lnTo>
                <a:lnTo>
                  <a:pt x="3750259" y="842708"/>
                </a:lnTo>
                <a:lnTo>
                  <a:pt x="3750259" y="838136"/>
                </a:lnTo>
                <a:lnTo>
                  <a:pt x="3750259" y="397738"/>
                </a:lnTo>
                <a:lnTo>
                  <a:pt x="3750259" y="9144"/>
                </a:lnTo>
                <a:lnTo>
                  <a:pt x="3750259" y="4572"/>
                </a:lnTo>
                <a:lnTo>
                  <a:pt x="375025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5076041" y="3489671"/>
            <a:ext cx="3365500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Whether the quotas would be in </a:t>
            </a:r>
            <a:r>
              <a:rPr sz="1800" dirty="0">
                <a:latin typeface="Liberation Sans Narrow"/>
                <a:cs typeface="Liberation Sans Narrow"/>
              </a:rPr>
              <a:t>Days </a:t>
            </a:r>
            <a:r>
              <a:rPr sz="1800" spc="-5" dirty="0">
                <a:latin typeface="Liberation Sans Narrow"/>
                <a:cs typeface="Liberation Sans Narrow"/>
              </a:rPr>
              <a:t>or  Hours would also be specified in </a:t>
            </a:r>
            <a:r>
              <a:rPr sz="1800" dirty="0">
                <a:latin typeface="Liberation Sans Narrow"/>
                <a:cs typeface="Liberation Sans Narrow"/>
              </a:rPr>
              <a:t>a  </a:t>
            </a:r>
            <a:r>
              <a:rPr sz="1800" spc="-5" dirty="0">
                <a:latin typeface="Liberation Sans Narrow"/>
                <a:cs typeface="Liberation Sans Narrow"/>
              </a:rPr>
              <a:t>Deduction</a:t>
            </a:r>
            <a:r>
              <a:rPr sz="1800" spc="20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rule</a:t>
            </a:r>
            <a:endParaRPr sz="1800">
              <a:latin typeface="Liberation Sans Narrow"/>
              <a:cs typeface="Liberation Sans Narrow"/>
            </a:endParaRPr>
          </a:p>
        </p:txBody>
      </p:sp>
    </p:spTree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024048" y="3267194"/>
            <a:ext cx="613283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>
                <a:solidFill>
                  <a:srgbClr val="FF0000"/>
                </a:solidFill>
                <a:latin typeface="Liberation Sans Narrow"/>
                <a:cs typeface="Liberation Sans Narrow"/>
              </a:rPr>
              <a:t>Assign counting rule to absence</a:t>
            </a:r>
            <a:r>
              <a:rPr spc="-210" dirty="0">
                <a:solidFill>
                  <a:srgbClr val="FF0000"/>
                </a:solidFill>
                <a:latin typeface="Liberation Sans Narrow"/>
                <a:cs typeface="Liberation Sans Narrow"/>
              </a:rPr>
              <a:t> </a:t>
            </a:r>
            <a:r>
              <a:rPr dirty="0">
                <a:solidFill>
                  <a:srgbClr val="FF0000"/>
                </a:solidFill>
                <a:latin typeface="Liberation Sans Narrow"/>
                <a:cs typeface="Liberation Sans Narrow"/>
              </a:rPr>
              <a:t>types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38200" y="651392"/>
            <a:ext cx="467042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Public Holiday</a:t>
            </a:r>
            <a:r>
              <a:rPr spc="-114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Calendar</a:t>
            </a:r>
          </a:p>
        </p:txBody>
      </p:sp>
      <p:grpSp>
        <p:nvGrpSpPr>
          <p:cNvPr id="3" name="object 3"/>
          <p:cNvGrpSpPr/>
          <p:nvPr/>
        </p:nvGrpSpPr>
        <p:grpSpPr>
          <a:xfrm>
            <a:off x="463771" y="3892479"/>
            <a:ext cx="9061229" cy="3053974"/>
            <a:chOff x="463771" y="3892479"/>
            <a:chExt cx="9143365" cy="3429000"/>
          </a:xfrm>
        </p:grpSpPr>
        <p:sp>
          <p:nvSpPr>
            <p:cNvPr id="4" name="object 4"/>
            <p:cNvSpPr/>
            <p:nvPr/>
          </p:nvSpPr>
          <p:spPr>
            <a:xfrm>
              <a:off x="463771" y="3892479"/>
              <a:ext cx="9143365" cy="3429000"/>
            </a:xfrm>
            <a:custGeom>
              <a:avLst/>
              <a:gdLst/>
              <a:ahLst/>
              <a:cxnLst/>
              <a:rect l="l" t="t" r="r" b="b"/>
              <a:pathLst>
                <a:path w="9143365" h="3429000">
                  <a:moveTo>
                    <a:pt x="0" y="3428722"/>
                  </a:moveTo>
                  <a:lnTo>
                    <a:pt x="9143238" y="3428722"/>
                  </a:lnTo>
                  <a:lnTo>
                    <a:pt x="9143238" y="0"/>
                  </a:lnTo>
                  <a:lnTo>
                    <a:pt x="0" y="0"/>
                  </a:lnTo>
                  <a:lnTo>
                    <a:pt x="0" y="342872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6795452" y="4387748"/>
              <a:ext cx="2045335" cy="1214755"/>
            </a:xfrm>
            <a:custGeom>
              <a:avLst/>
              <a:gdLst/>
              <a:ahLst/>
              <a:cxnLst/>
              <a:rect l="l" t="t" r="r" b="b"/>
              <a:pathLst>
                <a:path w="2045334" h="1214754">
                  <a:moveTo>
                    <a:pt x="2045055" y="1043851"/>
                  </a:moveTo>
                  <a:lnTo>
                    <a:pt x="1720469" y="0"/>
                  </a:lnTo>
                  <a:lnTo>
                    <a:pt x="0" y="173710"/>
                  </a:lnTo>
                  <a:lnTo>
                    <a:pt x="320040" y="1214526"/>
                  </a:lnTo>
                  <a:lnTo>
                    <a:pt x="2045055" y="1043851"/>
                  </a:lnTo>
                  <a:close/>
                </a:path>
              </a:pathLst>
            </a:custGeom>
            <a:solidFill>
              <a:srgbClr val="007F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6921947" y="4511192"/>
              <a:ext cx="1881988" cy="1019464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1094154" y="1670168"/>
            <a:ext cx="7746365" cy="33362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9539" indent="-117475">
              <a:lnSpc>
                <a:spcPct val="100000"/>
              </a:lnSpc>
              <a:spcBef>
                <a:spcPts val="100"/>
              </a:spcBef>
              <a:buClr>
                <a:srgbClr val="323299"/>
              </a:buClr>
              <a:buSzPct val="95000"/>
              <a:buFont typeface="Wingdings"/>
              <a:buChar char=""/>
              <a:tabLst>
                <a:tab pos="130175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SAP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has two calendars used by the HR</a:t>
            </a:r>
            <a:r>
              <a:rPr sz="2000" spc="-16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module</a:t>
            </a:r>
            <a:endParaRPr sz="2000">
              <a:latin typeface="Arial"/>
              <a:cs typeface="Arial"/>
            </a:endParaRPr>
          </a:p>
          <a:p>
            <a:pPr marL="570230" lvl="1" indent="-292100">
              <a:lnSpc>
                <a:spcPct val="100000"/>
              </a:lnSpc>
              <a:spcBef>
                <a:spcPts val="1605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Public Holiday</a:t>
            </a:r>
            <a:r>
              <a:rPr sz="1800" spc="3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Calendar</a:t>
            </a:r>
            <a:endParaRPr sz="1800">
              <a:latin typeface="Arial"/>
              <a:cs typeface="Arial"/>
            </a:endParaRPr>
          </a:p>
          <a:p>
            <a:pPr marL="570230" lvl="1" indent="-292100">
              <a:lnSpc>
                <a:spcPct val="100000"/>
              </a:lnSpc>
              <a:spcBef>
                <a:spcPts val="1515"/>
              </a:spcBef>
              <a:buClr>
                <a:srgbClr val="323299"/>
              </a:buClr>
              <a:buFont typeface="Wingdings"/>
              <a:buChar char=""/>
              <a:tabLst>
                <a:tab pos="570230" algn="l"/>
                <a:tab pos="570865" algn="l"/>
              </a:tabLst>
            </a:pPr>
            <a:r>
              <a:rPr sz="1800" spc="-5" dirty="0">
                <a:solidFill>
                  <a:srgbClr val="5E5E5E"/>
                </a:solidFill>
                <a:latin typeface="Arial"/>
                <a:cs typeface="Arial"/>
              </a:rPr>
              <a:t>Factory</a:t>
            </a:r>
            <a:r>
              <a:rPr sz="1800" spc="-15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5E5E5E"/>
                </a:solidFill>
                <a:latin typeface="Arial"/>
                <a:cs typeface="Arial"/>
              </a:rPr>
              <a:t>Calendar</a:t>
            </a:r>
            <a:endParaRPr sz="1800">
              <a:latin typeface="Arial"/>
              <a:cs typeface="Arial"/>
            </a:endParaRPr>
          </a:p>
          <a:p>
            <a:pPr marL="129539" indent="-117475">
              <a:lnSpc>
                <a:spcPct val="100000"/>
              </a:lnSpc>
              <a:spcBef>
                <a:spcPts val="1585"/>
              </a:spcBef>
              <a:buClr>
                <a:srgbClr val="323299"/>
              </a:buClr>
              <a:buSzPct val="95000"/>
              <a:buFont typeface="Wingdings"/>
              <a:buChar char=""/>
              <a:tabLst>
                <a:tab pos="130175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SAP provides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standard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Public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Holiday calendars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for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most</a:t>
            </a:r>
            <a:r>
              <a:rPr sz="2000" spc="-14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countries.</a:t>
            </a:r>
            <a:endParaRPr sz="2000">
              <a:latin typeface="Arial"/>
              <a:cs typeface="Arial"/>
            </a:endParaRPr>
          </a:p>
          <a:p>
            <a:pPr marL="129539" indent="-117475">
              <a:lnSpc>
                <a:spcPct val="100000"/>
              </a:lnSpc>
              <a:spcBef>
                <a:spcPts val="1680"/>
              </a:spcBef>
              <a:buClr>
                <a:srgbClr val="323299"/>
              </a:buClr>
              <a:buSzPct val="95000"/>
              <a:buFont typeface="Wingdings"/>
              <a:buChar char=""/>
              <a:tabLst>
                <a:tab pos="130175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All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calendars are customizable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in</a:t>
            </a:r>
            <a:r>
              <a:rPr sz="2000" spc="-114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SAP</a:t>
            </a:r>
            <a:endParaRPr sz="2000">
              <a:latin typeface="Arial"/>
              <a:cs typeface="Arial"/>
            </a:endParaRPr>
          </a:p>
          <a:p>
            <a:pPr marL="129539" indent="-117475">
              <a:lnSpc>
                <a:spcPct val="100000"/>
              </a:lnSpc>
              <a:spcBef>
                <a:spcPts val="1680"/>
              </a:spcBef>
              <a:buClr>
                <a:srgbClr val="323299"/>
              </a:buClr>
              <a:buSzPct val="95000"/>
              <a:buFont typeface="Wingdings"/>
              <a:buChar char=""/>
              <a:tabLst>
                <a:tab pos="130175" algn="l"/>
              </a:tabLst>
            </a:pP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SAP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Calendars are not</a:t>
            </a:r>
            <a:r>
              <a:rPr sz="2000" spc="-114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client-specific</a:t>
            </a:r>
            <a:endParaRPr sz="2000">
              <a:latin typeface="Arial"/>
              <a:cs typeface="Arial"/>
            </a:endParaRPr>
          </a:p>
          <a:p>
            <a:pPr marL="129539" indent="-117475">
              <a:lnSpc>
                <a:spcPct val="100000"/>
              </a:lnSpc>
              <a:spcBef>
                <a:spcPts val="1680"/>
              </a:spcBef>
              <a:buClr>
                <a:srgbClr val="323299"/>
              </a:buClr>
              <a:buSzPct val="95000"/>
              <a:buFont typeface="Wingdings"/>
              <a:buChar char=""/>
              <a:tabLst>
                <a:tab pos="130175" algn="l"/>
              </a:tabLst>
            </a:pP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Used </a:t>
            </a:r>
            <a:r>
              <a:rPr sz="2000" spc="-5" dirty="0">
                <a:solidFill>
                  <a:srgbClr val="5E5E5E"/>
                </a:solidFill>
                <a:latin typeface="Arial"/>
                <a:cs typeface="Arial"/>
              </a:rPr>
              <a:t>in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many areas e.g. logistics and</a:t>
            </a:r>
            <a:r>
              <a:rPr sz="2000" spc="-140" dirty="0">
                <a:solidFill>
                  <a:srgbClr val="5E5E5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5E5E5E"/>
                </a:solidFill>
                <a:latin typeface="Arial"/>
                <a:cs typeface="Arial"/>
              </a:rPr>
              <a:t>HR</a:t>
            </a:r>
            <a:endParaRPr sz="2000">
              <a:latin typeface="Arial"/>
              <a:cs typeface="Arial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656272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Assign Counting Rule </a:t>
            </a:r>
            <a:r>
              <a:rPr dirty="0">
                <a:solidFill>
                  <a:schemeClr val="accent1"/>
                </a:solidFill>
              </a:rPr>
              <a:t>to</a:t>
            </a:r>
            <a:r>
              <a:rPr spc="-125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Absence</a:t>
            </a:r>
          </a:p>
        </p:txBody>
      </p:sp>
      <p:grpSp>
        <p:nvGrpSpPr>
          <p:cNvPr id="3" name="object 3"/>
          <p:cNvGrpSpPr/>
          <p:nvPr/>
        </p:nvGrpSpPr>
        <p:grpSpPr>
          <a:xfrm>
            <a:off x="1364382" y="2740433"/>
            <a:ext cx="7322418" cy="4117568"/>
            <a:chOff x="1364382" y="2740432"/>
            <a:chExt cx="7343546" cy="4233327"/>
          </a:xfrm>
        </p:grpSpPr>
        <p:sp>
          <p:nvSpPr>
            <p:cNvPr id="4" name="object 4"/>
            <p:cNvSpPr/>
            <p:nvPr/>
          </p:nvSpPr>
          <p:spPr>
            <a:xfrm>
              <a:off x="1364382" y="2740432"/>
              <a:ext cx="7343546" cy="1152046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364382" y="3892478"/>
              <a:ext cx="7343546" cy="308128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/>
          <p:nvPr/>
        </p:nvSpPr>
        <p:spPr>
          <a:xfrm>
            <a:off x="643591" y="1733153"/>
            <a:ext cx="5400598" cy="71926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47277" y="708599"/>
            <a:ext cx="784733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Assign Counting Rule </a:t>
            </a:r>
            <a:r>
              <a:rPr dirty="0">
                <a:solidFill>
                  <a:schemeClr val="accent1"/>
                </a:solidFill>
              </a:rPr>
              <a:t>to </a:t>
            </a:r>
            <a:r>
              <a:rPr spc="-5" dirty="0">
                <a:solidFill>
                  <a:schemeClr val="accent1"/>
                </a:solidFill>
              </a:rPr>
              <a:t>Absence</a:t>
            </a:r>
            <a:r>
              <a:rPr spc="-14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Type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999664" y="1678394"/>
            <a:ext cx="7762240" cy="36830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316865">
              <a:lnSpc>
                <a:spcPct val="150000"/>
              </a:lnSpc>
              <a:spcBef>
                <a:spcPts val="95"/>
              </a:spcBef>
              <a:buSzPct val="95000"/>
              <a:buChar char="•"/>
              <a:tabLst>
                <a:tab pos="86995" algn="l"/>
              </a:tabLst>
            </a:pPr>
            <a:r>
              <a:rPr sz="2000" dirty="0">
                <a:latin typeface="Liberation Sans Narrow"/>
                <a:cs typeface="Liberation Sans Narrow"/>
              </a:rPr>
              <a:t>The </a:t>
            </a:r>
            <a:r>
              <a:rPr sz="2000" spc="-5" dirty="0">
                <a:latin typeface="Liberation Sans Narrow"/>
                <a:cs typeface="Liberation Sans Narrow"/>
              </a:rPr>
              <a:t>Counting rule has to be assigned to the absence type for which the quota is  created.</a:t>
            </a:r>
            <a:endParaRPr sz="2000">
              <a:latin typeface="Liberation Sans Narrow"/>
              <a:cs typeface="Liberation Sans Narrow"/>
            </a:endParaRPr>
          </a:p>
          <a:p>
            <a:pPr>
              <a:lnSpc>
                <a:spcPct val="100000"/>
              </a:lnSpc>
              <a:spcBef>
                <a:spcPts val="50"/>
              </a:spcBef>
              <a:buFont typeface="Liberation Sans Narrow"/>
              <a:buChar char="•"/>
            </a:pPr>
            <a:endParaRPr sz="2050">
              <a:latin typeface="Liberation Sans Narrow"/>
              <a:cs typeface="Liberation Sans Narrow"/>
            </a:endParaRPr>
          </a:p>
          <a:p>
            <a:pPr marL="86360" indent="-74295">
              <a:lnSpc>
                <a:spcPct val="100000"/>
              </a:lnSpc>
              <a:buSzPct val="95000"/>
              <a:buChar char="•"/>
              <a:tabLst>
                <a:tab pos="86995" algn="l"/>
              </a:tabLst>
            </a:pPr>
            <a:r>
              <a:rPr sz="2000" spc="-5" dirty="0">
                <a:latin typeface="Liberation Sans Narrow"/>
                <a:cs typeface="Liberation Sans Narrow"/>
              </a:rPr>
              <a:t>This step will connect the quota and</a:t>
            </a:r>
            <a:r>
              <a:rPr sz="2000" spc="-50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absence.</a:t>
            </a:r>
            <a:endParaRPr sz="2000">
              <a:latin typeface="Liberation Sans Narrow"/>
              <a:cs typeface="Liberation Sans Narrow"/>
            </a:endParaRPr>
          </a:p>
          <a:p>
            <a:pPr marL="12700" marR="5080">
              <a:lnSpc>
                <a:spcPct val="150000"/>
              </a:lnSpc>
              <a:spcBef>
                <a:spcPts val="1200"/>
              </a:spcBef>
              <a:buSzPct val="95000"/>
              <a:buChar char="•"/>
              <a:tabLst>
                <a:tab pos="86995" algn="l"/>
              </a:tabLst>
            </a:pPr>
            <a:r>
              <a:rPr sz="2000" dirty="0">
                <a:latin typeface="Liberation Sans Narrow"/>
                <a:cs typeface="Liberation Sans Narrow"/>
              </a:rPr>
              <a:t>The </a:t>
            </a:r>
            <a:r>
              <a:rPr sz="2000" spc="-5" dirty="0">
                <a:latin typeface="Liberation Sans Narrow"/>
                <a:cs typeface="Liberation Sans Narrow"/>
              </a:rPr>
              <a:t>checkbox for deduction of quota has to be activated so that the quota would be  reduced if the absence is</a:t>
            </a:r>
            <a:r>
              <a:rPr sz="2000" spc="-25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recorded</a:t>
            </a:r>
            <a:endParaRPr sz="2000">
              <a:latin typeface="Liberation Sans Narrow"/>
              <a:cs typeface="Liberation Sans Narrow"/>
            </a:endParaRPr>
          </a:p>
          <a:p>
            <a:pPr marL="12700" marR="151130">
              <a:lnSpc>
                <a:spcPct val="150000"/>
              </a:lnSpc>
              <a:spcBef>
                <a:spcPts val="1200"/>
              </a:spcBef>
              <a:buSzPct val="95000"/>
              <a:buChar char="•"/>
              <a:tabLst>
                <a:tab pos="86995" algn="l"/>
              </a:tabLst>
            </a:pPr>
            <a:r>
              <a:rPr sz="2000" dirty="0">
                <a:latin typeface="Liberation Sans Narrow"/>
                <a:cs typeface="Liberation Sans Narrow"/>
              </a:rPr>
              <a:t>The </a:t>
            </a:r>
            <a:r>
              <a:rPr sz="2000" spc="-5" dirty="0">
                <a:latin typeface="Liberation Sans Narrow"/>
                <a:cs typeface="Liberation Sans Narrow"/>
              </a:rPr>
              <a:t>Checkbox for deduction over interval end can </a:t>
            </a:r>
            <a:r>
              <a:rPr sz="2000" dirty="0">
                <a:latin typeface="Liberation Sans Narrow"/>
                <a:cs typeface="Liberation Sans Narrow"/>
              </a:rPr>
              <a:t>be </a:t>
            </a:r>
            <a:r>
              <a:rPr sz="2000" spc="-5" dirty="0">
                <a:latin typeface="Liberation Sans Narrow"/>
                <a:cs typeface="Liberation Sans Narrow"/>
              </a:rPr>
              <a:t>selected if the leave starting  </a:t>
            </a:r>
            <a:r>
              <a:rPr sz="2000" dirty="0">
                <a:latin typeface="Liberation Sans Narrow"/>
                <a:cs typeface="Liberation Sans Narrow"/>
              </a:rPr>
              <a:t>from </a:t>
            </a:r>
            <a:r>
              <a:rPr sz="2000" spc="-5" dirty="0">
                <a:latin typeface="Liberation Sans Narrow"/>
                <a:cs typeface="Liberation Sans Narrow"/>
              </a:rPr>
              <a:t>deduction end date and extending beyond that date is to be allowed or</a:t>
            </a:r>
            <a:r>
              <a:rPr sz="2000" spc="-65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not</a:t>
            </a:r>
            <a:endParaRPr sz="2000">
              <a:latin typeface="Liberation Sans Narrow"/>
              <a:cs typeface="Liberation Sans Narrow"/>
            </a:endParaRPr>
          </a:p>
        </p:txBody>
      </p:sp>
    </p:spTree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746696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Reaction </a:t>
            </a:r>
            <a:r>
              <a:rPr dirty="0">
                <a:solidFill>
                  <a:schemeClr val="accent1"/>
                </a:solidFill>
              </a:rPr>
              <a:t>to </a:t>
            </a:r>
            <a:r>
              <a:rPr spc="-5" dirty="0">
                <a:solidFill>
                  <a:schemeClr val="accent1"/>
                </a:solidFill>
              </a:rPr>
              <a:t>Overlapping Time</a:t>
            </a:r>
            <a:r>
              <a:rPr spc="-12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Infotype</a:t>
            </a:r>
          </a:p>
        </p:txBody>
      </p:sp>
      <p:grpSp>
        <p:nvGrpSpPr>
          <p:cNvPr id="4" name="object 4"/>
          <p:cNvGrpSpPr/>
          <p:nvPr/>
        </p:nvGrpSpPr>
        <p:grpSpPr>
          <a:xfrm>
            <a:off x="716737" y="1733153"/>
            <a:ext cx="7202170" cy="2892425"/>
            <a:chOff x="716737" y="1733153"/>
            <a:chExt cx="7202170" cy="2892425"/>
          </a:xfrm>
        </p:grpSpPr>
        <p:sp>
          <p:nvSpPr>
            <p:cNvPr id="5" name="object 5"/>
            <p:cNvSpPr/>
            <p:nvPr/>
          </p:nvSpPr>
          <p:spPr>
            <a:xfrm>
              <a:off x="716737" y="1733153"/>
              <a:ext cx="4152564" cy="1465966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507626" y="3101589"/>
              <a:ext cx="6410919" cy="1523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/>
          <p:nvPr/>
        </p:nvSpPr>
        <p:spPr>
          <a:xfrm>
            <a:off x="2659675" y="4064688"/>
            <a:ext cx="5258870" cy="290378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372046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Attendance IT</a:t>
            </a:r>
            <a:r>
              <a:rPr spc="-110" dirty="0">
                <a:solidFill>
                  <a:schemeClr val="accent1"/>
                </a:solidFill>
              </a:rPr>
              <a:t> </a:t>
            </a:r>
            <a:r>
              <a:rPr spc="-10" dirty="0">
                <a:solidFill>
                  <a:schemeClr val="accent1"/>
                </a:solidFill>
              </a:rPr>
              <a:t>2002</a:t>
            </a:r>
          </a:p>
        </p:txBody>
      </p:sp>
      <p:sp>
        <p:nvSpPr>
          <p:cNvPr id="5" name="object 5"/>
          <p:cNvSpPr txBox="1">
            <a:spLocks noGrp="1"/>
          </p:cNvSpPr>
          <p:nvPr>
            <p:ph type="sldNum" sz="quarter" idx="429496729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5" dirty="0"/>
              <a:t>- </a:t>
            </a:r>
            <a:fld id="{81D60167-4931-47E6-BA6A-407CBD079E47}" type="slidenum">
              <a:rPr spc="-5" dirty="0"/>
              <a:t>73</a:t>
            </a:fld>
            <a:r>
              <a:rPr spc="-100" dirty="0"/>
              <a:t> </a:t>
            </a:r>
            <a:r>
              <a:rPr spc="-5" dirty="0"/>
              <a:t>-</a:t>
            </a:r>
          </a:p>
        </p:txBody>
      </p:sp>
      <p:sp>
        <p:nvSpPr>
          <p:cNvPr id="4" name="object 4"/>
          <p:cNvSpPr/>
          <p:nvPr/>
        </p:nvSpPr>
        <p:spPr>
          <a:xfrm>
            <a:off x="1147992" y="2092787"/>
            <a:ext cx="7559923" cy="403217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358902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Define</a:t>
            </a:r>
            <a:r>
              <a:rPr spc="-95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Attendance</a:t>
            </a:r>
          </a:p>
        </p:txBody>
      </p:sp>
      <p:sp>
        <p:nvSpPr>
          <p:cNvPr id="5" name="object 5"/>
          <p:cNvSpPr txBox="1">
            <a:spLocks noGrp="1"/>
          </p:cNvSpPr>
          <p:nvPr>
            <p:ph type="sldNum" sz="quarter" idx="429496729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5" dirty="0"/>
              <a:t>- </a:t>
            </a:r>
            <a:fld id="{81D60167-4931-47E6-BA6A-407CBD079E47}" type="slidenum">
              <a:rPr spc="-5" dirty="0"/>
              <a:t>74</a:t>
            </a:fld>
            <a:r>
              <a:rPr spc="-100" dirty="0"/>
              <a:t> </a:t>
            </a:r>
            <a:r>
              <a:rPr spc="-5" dirty="0"/>
              <a:t>-</a:t>
            </a:r>
          </a:p>
        </p:txBody>
      </p:sp>
      <p:sp>
        <p:nvSpPr>
          <p:cNvPr id="4" name="object 4"/>
          <p:cNvSpPr/>
          <p:nvPr/>
        </p:nvSpPr>
        <p:spPr>
          <a:xfrm>
            <a:off x="1219614" y="1949540"/>
            <a:ext cx="7057064" cy="41037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509841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Attendance </a:t>
            </a:r>
            <a:r>
              <a:rPr dirty="0">
                <a:solidFill>
                  <a:schemeClr val="accent1"/>
                </a:solidFill>
              </a:rPr>
              <a:t>: </a:t>
            </a:r>
            <a:r>
              <a:rPr spc="-5" dirty="0">
                <a:solidFill>
                  <a:schemeClr val="accent1"/>
                </a:solidFill>
              </a:rPr>
              <a:t>Entry</a:t>
            </a:r>
            <a:r>
              <a:rPr spc="-114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Screen</a:t>
            </a:r>
          </a:p>
        </p:txBody>
      </p:sp>
      <p:sp>
        <p:nvSpPr>
          <p:cNvPr id="6" name="object 6"/>
          <p:cNvSpPr txBox="1">
            <a:spLocks noGrp="1"/>
          </p:cNvSpPr>
          <p:nvPr>
            <p:ph type="sldNum" sz="quarter" idx="429496729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5" dirty="0"/>
              <a:t>- </a:t>
            </a:r>
            <a:fld id="{81D60167-4931-47E6-BA6A-407CBD079E47}" type="slidenum">
              <a:rPr spc="-5" dirty="0"/>
              <a:t>75</a:t>
            </a:fld>
            <a:r>
              <a:rPr spc="-100" dirty="0"/>
              <a:t> </a:t>
            </a:r>
            <a:r>
              <a:rPr spc="-5" dirty="0"/>
              <a:t>-</a:t>
            </a:r>
          </a:p>
        </p:txBody>
      </p:sp>
      <p:sp>
        <p:nvSpPr>
          <p:cNvPr id="4" name="object 4"/>
          <p:cNvSpPr/>
          <p:nvPr/>
        </p:nvSpPr>
        <p:spPr>
          <a:xfrm>
            <a:off x="931602" y="2135453"/>
            <a:ext cx="7776331" cy="377311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1657986" y="6223500"/>
            <a:ext cx="285305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spc="-10" dirty="0">
                <a:latin typeface="Arial"/>
                <a:cs typeface="Arial"/>
              </a:rPr>
              <a:t>2050 </a:t>
            </a:r>
            <a:r>
              <a:rPr sz="1800" dirty="0">
                <a:latin typeface="Arial"/>
                <a:cs typeface="Arial"/>
              </a:rPr>
              <a:t>– </a:t>
            </a:r>
            <a:r>
              <a:rPr sz="1800" spc="-5" dirty="0">
                <a:latin typeface="Arial"/>
                <a:cs typeface="Arial"/>
              </a:rPr>
              <a:t>Quota </a:t>
            </a:r>
            <a:r>
              <a:rPr sz="1800" spc="-10" dirty="0">
                <a:latin typeface="Arial"/>
                <a:cs typeface="Arial"/>
              </a:rPr>
              <a:t>Deduction  2051 </a:t>
            </a:r>
            <a:r>
              <a:rPr sz="1800" dirty="0">
                <a:latin typeface="Arial"/>
                <a:cs typeface="Arial"/>
              </a:rPr>
              <a:t>– </a:t>
            </a:r>
            <a:r>
              <a:rPr sz="1800" spc="-5" dirty="0">
                <a:latin typeface="Arial"/>
                <a:cs typeface="Arial"/>
              </a:rPr>
              <a:t>No Quota</a:t>
            </a:r>
            <a:r>
              <a:rPr sz="1800" spc="-45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Deduction</a:t>
            </a:r>
            <a:endParaRPr sz="18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372046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Attendance IT</a:t>
            </a:r>
            <a:r>
              <a:rPr spc="-110" dirty="0">
                <a:solidFill>
                  <a:schemeClr val="accent1"/>
                </a:solidFill>
              </a:rPr>
              <a:t> </a:t>
            </a:r>
            <a:r>
              <a:rPr spc="-10" dirty="0">
                <a:solidFill>
                  <a:schemeClr val="accent1"/>
                </a:solidFill>
              </a:rPr>
              <a:t>2002</a:t>
            </a:r>
          </a:p>
        </p:txBody>
      </p:sp>
      <p:sp>
        <p:nvSpPr>
          <p:cNvPr id="5" name="object 5"/>
          <p:cNvSpPr txBox="1">
            <a:spLocks noGrp="1"/>
          </p:cNvSpPr>
          <p:nvPr>
            <p:ph type="sldNum" sz="quarter" idx="429496729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5" dirty="0"/>
              <a:t>- </a:t>
            </a:r>
            <a:fld id="{81D60167-4931-47E6-BA6A-407CBD079E47}" type="slidenum">
              <a:rPr spc="-5" dirty="0"/>
              <a:t>76</a:t>
            </a:fld>
            <a:r>
              <a:rPr spc="-100" dirty="0"/>
              <a:t> </a:t>
            </a:r>
            <a:r>
              <a:rPr spc="-5" dirty="0"/>
              <a:t>-</a:t>
            </a:r>
          </a:p>
        </p:txBody>
      </p:sp>
      <p:sp>
        <p:nvSpPr>
          <p:cNvPr id="4" name="object 4"/>
          <p:cNvSpPr/>
          <p:nvPr/>
        </p:nvSpPr>
        <p:spPr>
          <a:xfrm>
            <a:off x="859981" y="1711817"/>
            <a:ext cx="8747028" cy="491754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604583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Time Account </a:t>
            </a:r>
            <a:r>
              <a:rPr dirty="0">
                <a:solidFill>
                  <a:schemeClr val="accent1"/>
                </a:solidFill>
              </a:rPr>
              <a:t>: </a:t>
            </a:r>
            <a:r>
              <a:rPr spc="-5" dirty="0">
                <a:solidFill>
                  <a:schemeClr val="accent1"/>
                </a:solidFill>
              </a:rPr>
              <a:t>Absence</a:t>
            </a:r>
            <a:r>
              <a:rPr spc="-150" dirty="0">
                <a:solidFill>
                  <a:schemeClr val="accent1"/>
                </a:solidFill>
              </a:rPr>
              <a:t> </a:t>
            </a:r>
            <a:r>
              <a:rPr dirty="0">
                <a:solidFill>
                  <a:schemeClr val="accent1"/>
                </a:solidFill>
              </a:rPr>
              <a:t>Quota</a:t>
            </a:r>
          </a:p>
        </p:txBody>
      </p:sp>
      <p:sp>
        <p:nvSpPr>
          <p:cNvPr id="5" name="object 5"/>
          <p:cNvSpPr txBox="1">
            <a:spLocks noGrp="1"/>
          </p:cNvSpPr>
          <p:nvPr>
            <p:ph type="sldNum" sz="quarter" idx="429496729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5" dirty="0"/>
              <a:t>- </a:t>
            </a:r>
            <a:fld id="{81D60167-4931-47E6-BA6A-407CBD079E47}" type="slidenum">
              <a:rPr spc="-5" dirty="0"/>
              <a:t>77</a:t>
            </a:fld>
            <a:r>
              <a:rPr spc="-100" dirty="0"/>
              <a:t> </a:t>
            </a:r>
            <a:r>
              <a:rPr spc="-5" dirty="0"/>
              <a:t>-</a:t>
            </a:r>
          </a:p>
        </p:txBody>
      </p:sp>
      <p:sp>
        <p:nvSpPr>
          <p:cNvPr id="4" name="object 4"/>
          <p:cNvSpPr/>
          <p:nvPr/>
        </p:nvSpPr>
        <p:spPr>
          <a:xfrm>
            <a:off x="1147992" y="1733153"/>
            <a:ext cx="6840656" cy="403217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541337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Define Absence </a:t>
            </a:r>
            <a:r>
              <a:rPr dirty="0">
                <a:solidFill>
                  <a:schemeClr val="accent1"/>
                </a:solidFill>
              </a:rPr>
              <a:t>Quota</a:t>
            </a:r>
            <a:r>
              <a:rPr spc="-145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Type</a:t>
            </a:r>
          </a:p>
        </p:txBody>
      </p:sp>
      <p:sp>
        <p:nvSpPr>
          <p:cNvPr id="6" name="object 6"/>
          <p:cNvSpPr txBox="1">
            <a:spLocks noGrp="1"/>
          </p:cNvSpPr>
          <p:nvPr>
            <p:ph type="sldNum" sz="quarter" idx="429496729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5" dirty="0"/>
              <a:t>- </a:t>
            </a:r>
            <a:fld id="{81D60167-4931-47E6-BA6A-407CBD079E47}" type="slidenum">
              <a:rPr spc="-5" dirty="0"/>
              <a:t>78</a:t>
            </a:fld>
            <a:r>
              <a:rPr spc="-100" dirty="0"/>
              <a:t> </a:t>
            </a:r>
            <a:r>
              <a:rPr spc="-5" dirty="0"/>
              <a:t>-</a:t>
            </a:r>
          </a:p>
        </p:txBody>
      </p:sp>
      <p:sp>
        <p:nvSpPr>
          <p:cNvPr id="3" name="object 3"/>
          <p:cNvSpPr/>
          <p:nvPr/>
        </p:nvSpPr>
        <p:spPr>
          <a:xfrm>
            <a:off x="1147992" y="1804772"/>
            <a:ext cx="7559923" cy="208770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147993" y="3892479"/>
            <a:ext cx="7310208" cy="304172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483235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Permit </a:t>
            </a:r>
            <a:r>
              <a:rPr dirty="0">
                <a:solidFill>
                  <a:schemeClr val="accent1"/>
                </a:solidFill>
              </a:rPr>
              <a:t>Quota</a:t>
            </a:r>
            <a:r>
              <a:rPr spc="-105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Generation</a:t>
            </a:r>
          </a:p>
        </p:txBody>
      </p:sp>
      <p:grpSp>
        <p:nvGrpSpPr>
          <p:cNvPr id="3" name="object 3"/>
          <p:cNvGrpSpPr/>
          <p:nvPr/>
        </p:nvGrpSpPr>
        <p:grpSpPr>
          <a:xfrm>
            <a:off x="463774" y="1804793"/>
            <a:ext cx="9143365" cy="3557270"/>
            <a:chOff x="463774" y="1804793"/>
            <a:chExt cx="9143365" cy="3557270"/>
          </a:xfrm>
        </p:grpSpPr>
        <p:sp>
          <p:nvSpPr>
            <p:cNvPr id="4" name="object 4"/>
            <p:cNvSpPr/>
            <p:nvPr/>
          </p:nvSpPr>
          <p:spPr>
            <a:xfrm>
              <a:off x="1397907" y="3532845"/>
              <a:ext cx="8209114" cy="359633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463774" y="1804793"/>
              <a:ext cx="6299697" cy="1977987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788359" y="3726393"/>
              <a:ext cx="21590" cy="166370"/>
            </a:xfrm>
            <a:custGeom>
              <a:avLst/>
              <a:gdLst/>
              <a:ahLst/>
              <a:cxnLst/>
              <a:rect l="l" t="t" r="r" b="b"/>
              <a:pathLst>
                <a:path w="21590" h="166370">
                  <a:moveTo>
                    <a:pt x="0" y="0"/>
                  </a:moveTo>
                  <a:lnTo>
                    <a:pt x="0" y="166085"/>
                  </a:lnTo>
                  <a:lnTo>
                    <a:pt x="21268" y="166085"/>
                  </a:lnTo>
                  <a:lnTo>
                    <a:pt x="12980" y="130688"/>
                  </a:lnTo>
                  <a:lnTo>
                    <a:pt x="5811" y="87667"/>
                  </a:lnTo>
                  <a:lnTo>
                    <a:pt x="1463" y="440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AE0E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787940" y="2885206"/>
              <a:ext cx="1079500" cy="977265"/>
            </a:xfrm>
            <a:custGeom>
              <a:avLst/>
              <a:gdLst/>
              <a:ahLst/>
              <a:cxnLst/>
              <a:rect l="l" t="t" r="r" b="b"/>
              <a:pathLst>
                <a:path w="1079500" h="977264">
                  <a:moveTo>
                    <a:pt x="1079316" y="0"/>
                  </a:moveTo>
                  <a:lnTo>
                    <a:pt x="1035913" y="595"/>
                  </a:lnTo>
                  <a:lnTo>
                    <a:pt x="992650" y="2476"/>
                  </a:lnTo>
                  <a:lnTo>
                    <a:pt x="949674" y="5786"/>
                  </a:lnTo>
                  <a:lnTo>
                    <a:pt x="907128" y="10668"/>
                  </a:lnTo>
                  <a:lnTo>
                    <a:pt x="854048" y="18434"/>
                  </a:lnTo>
                  <a:lnTo>
                    <a:pt x="802069" y="28117"/>
                  </a:lnTo>
                  <a:lnTo>
                    <a:pt x="751241" y="39663"/>
                  </a:lnTo>
                  <a:lnTo>
                    <a:pt x="701616" y="53015"/>
                  </a:lnTo>
                  <a:lnTo>
                    <a:pt x="653243" y="68119"/>
                  </a:lnTo>
                  <a:lnTo>
                    <a:pt x="606174" y="84918"/>
                  </a:lnTo>
                  <a:lnTo>
                    <a:pt x="560460" y="103357"/>
                  </a:lnTo>
                  <a:lnTo>
                    <a:pt x="516151" y="123382"/>
                  </a:lnTo>
                  <a:lnTo>
                    <a:pt x="473299" y="144935"/>
                  </a:lnTo>
                  <a:lnTo>
                    <a:pt x="431955" y="167963"/>
                  </a:lnTo>
                  <a:lnTo>
                    <a:pt x="392169" y="192408"/>
                  </a:lnTo>
                  <a:lnTo>
                    <a:pt x="353992" y="218217"/>
                  </a:lnTo>
                  <a:lnTo>
                    <a:pt x="317475" y="245333"/>
                  </a:lnTo>
                  <a:lnTo>
                    <a:pt x="282669" y="273701"/>
                  </a:lnTo>
                  <a:lnTo>
                    <a:pt x="249625" y="303266"/>
                  </a:lnTo>
                  <a:lnTo>
                    <a:pt x="218394" y="333971"/>
                  </a:lnTo>
                  <a:lnTo>
                    <a:pt x="189027" y="365762"/>
                  </a:lnTo>
                  <a:lnTo>
                    <a:pt x="161574" y="398584"/>
                  </a:lnTo>
                  <a:lnTo>
                    <a:pt x="136086" y="432379"/>
                  </a:lnTo>
                  <a:lnTo>
                    <a:pt x="112615" y="467094"/>
                  </a:lnTo>
                  <a:lnTo>
                    <a:pt x="91211" y="502673"/>
                  </a:lnTo>
                  <a:lnTo>
                    <a:pt x="71926" y="539060"/>
                  </a:lnTo>
                  <a:lnTo>
                    <a:pt x="54809" y="576199"/>
                  </a:lnTo>
                  <a:lnTo>
                    <a:pt x="39912" y="614036"/>
                  </a:lnTo>
                  <a:lnTo>
                    <a:pt x="27286" y="652515"/>
                  </a:lnTo>
                  <a:lnTo>
                    <a:pt x="16982" y="691580"/>
                  </a:lnTo>
                  <a:lnTo>
                    <a:pt x="9050" y="731175"/>
                  </a:lnTo>
                  <a:lnTo>
                    <a:pt x="3542" y="771247"/>
                  </a:lnTo>
                  <a:lnTo>
                    <a:pt x="508" y="811738"/>
                  </a:lnTo>
                  <a:lnTo>
                    <a:pt x="0" y="852593"/>
                  </a:lnTo>
                  <a:lnTo>
                    <a:pt x="2067" y="893758"/>
                  </a:lnTo>
                  <a:lnTo>
                    <a:pt x="6762" y="935176"/>
                  </a:lnTo>
                  <a:lnTo>
                    <a:pt x="14134" y="976792"/>
                  </a:lnTo>
                  <a:lnTo>
                    <a:pt x="24255" y="935090"/>
                  </a:lnTo>
                  <a:lnTo>
                    <a:pt x="36914" y="894196"/>
                  </a:lnTo>
                  <a:lnTo>
                    <a:pt x="52040" y="854159"/>
                  </a:lnTo>
                  <a:lnTo>
                    <a:pt x="69563" y="815026"/>
                  </a:lnTo>
                  <a:lnTo>
                    <a:pt x="89412" y="776844"/>
                  </a:lnTo>
                  <a:lnTo>
                    <a:pt x="111516" y="739661"/>
                  </a:lnTo>
                  <a:lnTo>
                    <a:pt x="135805" y="703525"/>
                  </a:lnTo>
                  <a:lnTo>
                    <a:pt x="162206" y="668483"/>
                  </a:lnTo>
                  <a:lnTo>
                    <a:pt x="190650" y="634584"/>
                  </a:lnTo>
                  <a:lnTo>
                    <a:pt x="221065" y="601874"/>
                  </a:lnTo>
                  <a:lnTo>
                    <a:pt x="253382" y="570401"/>
                  </a:lnTo>
                  <a:lnTo>
                    <a:pt x="287528" y="540213"/>
                  </a:lnTo>
                  <a:lnTo>
                    <a:pt x="323433" y="511357"/>
                  </a:lnTo>
                  <a:lnTo>
                    <a:pt x="361026" y="483881"/>
                  </a:lnTo>
                  <a:lnTo>
                    <a:pt x="400236" y="457833"/>
                  </a:lnTo>
                  <a:lnTo>
                    <a:pt x="440993" y="433260"/>
                  </a:lnTo>
                  <a:lnTo>
                    <a:pt x="483225" y="410210"/>
                  </a:lnTo>
                  <a:lnTo>
                    <a:pt x="526862" y="388730"/>
                  </a:lnTo>
                  <a:lnTo>
                    <a:pt x="571833" y="368868"/>
                  </a:lnTo>
                  <a:lnTo>
                    <a:pt x="618067" y="350672"/>
                  </a:lnTo>
                  <a:lnTo>
                    <a:pt x="665493" y="334189"/>
                  </a:lnTo>
                  <a:lnTo>
                    <a:pt x="714040" y="319468"/>
                  </a:lnTo>
                  <a:lnTo>
                    <a:pt x="763638" y="306554"/>
                  </a:lnTo>
                  <a:lnTo>
                    <a:pt x="814215" y="295497"/>
                  </a:lnTo>
                  <a:lnTo>
                    <a:pt x="865701" y="286343"/>
                  </a:lnTo>
                  <a:lnTo>
                    <a:pt x="918025" y="279141"/>
                  </a:lnTo>
                  <a:lnTo>
                    <a:pt x="971116" y="273937"/>
                  </a:lnTo>
                  <a:lnTo>
                    <a:pt x="1024903" y="270780"/>
                  </a:lnTo>
                  <a:lnTo>
                    <a:pt x="1079316" y="269717"/>
                  </a:lnTo>
                  <a:lnTo>
                    <a:pt x="1079316" y="0"/>
                  </a:lnTo>
                  <a:close/>
                </a:path>
              </a:pathLst>
            </a:custGeom>
            <a:solidFill>
              <a:srgbClr val="95B3B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774643" y="2873014"/>
              <a:ext cx="1106805" cy="1019810"/>
            </a:xfrm>
            <a:custGeom>
              <a:avLst/>
              <a:gdLst/>
              <a:ahLst/>
              <a:cxnLst/>
              <a:rect l="l" t="t" r="r" b="b"/>
              <a:pathLst>
                <a:path w="1106805" h="1019810">
                  <a:moveTo>
                    <a:pt x="0" y="853379"/>
                  </a:moveTo>
                  <a:lnTo>
                    <a:pt x="0" y="1019464"/>
                  </a:lnTo>
                  <a:lnTo>
                    <a:pt x="21733" y="1019464"/>
                  </a:lnTo>
                  <a:lnTo>
                    <a:pt x="9144" y="961583"/>
                  </a:lnTo>
                  <a:lnTo>
                    <a:pt x="4572" y="926531"/>
                  </a:lnTo>
                  <a:lnTo>
                    <a:pt x="1524" y="889955"/>
                  </a:lnTo>
                  <a:lnTo>
                    <a:pt x="0" y="853379"/>
                  </a:lnTo>
                  <a:close/>
                </a:path>
                <a:path w="1106805" h="1019810">
                  <a:moveTo>
                    <a:pt x="1097185" y="0"/>
                  </a:moveTo>
                  <a:lnTo>
                    <a:pt x="1036237" y="0"/>
                  </a:lnTo>
                  <a:lnTo>
                    <a:pt x="926509" y="9144"/>
                  </a:lnTo>
                  <a:lnTo>
                    <a:pt x="873181" y="16764"/>
                  </a:lnTo>
                  <a:lnTo>
                    <a:pt x="819841" y="25908"/>
                  </a:lnTo>
                  <a:lnTo>
                    <a:pt x="769562" y="38100"/>
                  </a:lnTo>
                  <a:lnTo>
                    <a:pt x="717746" y="51816"/>
                  </a:lnTo>
                  <a:lnTo>
                    <a:pt x="668978" y="67056"/>
                  </a:lnTo>
                  <a:lnTo>
                    <a:pt x="620222" y="83820"/>
                  </a:lnTo>
                  <a:lnTo>
                    <a:pt x="572978" y="102108"/>
                  </a:lnTo>
                  <a:lnTo>
                    <a:pt x="527258" y="123444"/>
                  </a:lnTo>
                  <a:lnTo>
                    <a:pt x="483074" y="144780"/>
                  </a:lnTo>
                  <a:lnTo>
                    <a:pt x="440402" y="169164"/>
                  </a:lnTo>
                  <a:lnTo>
                    <a:pt x="399254" y="193548"/>
                  </a:lnTo>
                  <a:lnTo>
                    <a:pt x="359630" y="220980"/>
                  </a:lnTo>
                  <a:lnTo>
                    <a:pt x="321542" y="248412"/>
                  </a:lnTo>
                  <a:lnTo>
                    <a:pt x="284966" y="278861"/>
                  </a:lnTo>
                  <a:lnTo>
                    <a:pt x="251438" y="309341"/>
                  </a:lnTo>
                  <a:lnTo>
                    <a:pt x="217910" y="341345"/>
                  </a:lnTo>
                  <a:lnTo>
                    <a:pt x="187442" y="374873"/>
                  </a:lnTo>
                  <a:lnTo>
                    <a:pt x="132578" y="444977"/>
                  </a:lnTo>
                  <a:lnTo>
                    <a:pt x="108194" y="483077"/>
                  </a:lnTo>
                  <a:lnTo>
                    <a:pt x="86858" y="519653"/>
                  </a:lnTo>
                  <a:lnTo>
                    <a:pt x="57912" y="579059"/>
                  </a:lnTo>
                  <a:lnTo>
                    <a:pt x="42672" y="618683"/>
                  </a:lnTo>
                  <a:lnTo>
                    <a:pt x="28956" y="659831"/>
                  </a:lnTo>
                  <a:lnTo>
                    <a:pt x="9144" y="745175"/>
                  </a:lnTo>
                  <a:lnTo>
                    <a:pt x="4572" y="787847"/>
                  </a:lnTo>
                  <a:lnTo>
                    <a:pt x="1524" y="809183"/>
                  </a:lnTo>
                  <a:lnTo>
                    <a:pt x="1524" y="832043"/>
                  </a:lnTo>
                  <a:lnTo>
                    <a:pt x="0" y="853379"/>
                  </a:lnTo>
                  <a:lnTo>
                    <a:pt x="1524" y="889955"/>
                  </a:lnTo>
                  <a:lnTo>
                    <a:pt x="4572" y="926531"/>
                  </a:lnTo>
                  <a:lnTo>
                    <a:pt x="9144" y="961583"/>
                  </a:lnTo>
                  <a:lnTo>
                    <a:pt x="21733" y="1019464"/>
                  </a:lnTo>
                  <a:lnTo>
                    <a:pt x="25908" y="1019464"/>
                  </a:lnTo>
                  <a:lnTo>
                    <a:pt x="25908" y="988603"/>
                  </a:lnTo>
                  <a:lnTo>
                    <a:pt x="15240" y="985936"/>
                  </a:lnTo>
                  <a:lnTo>
                    <a:pt x="24384" y="947867"/>
                  </a:lnTo>
                  <a:lnTo>
                    <a:pt x="25908" y="942424"/>
                  </a:lnTo>
                  <a:lnTo>
                    <a:pt x="25908" y="832043"/>
                  </a:lnTo>
                  <a:lnTo>
                    <a:pt x="28956" y="789371"/>
                  </a:lnTo>
                  <a:lnTo>
                    <a:pt x="32004" y="769559"/>
                  </a:lnTo>
                  <a:lnTo>
                    <a:pt x="35052" y="748223"/>
                  </a:lnTo>
                  <a:lnTo>
                    <a:pt x="38100" y="728411"/>
                  </a:lnTo>
                  <a:lnTo>
                    <a:pt x="42672" y="707075"/>
                  </a:lnTo>
                  <a:lnTo>
                    <a:pt x="47244" y="687263"/>
                  </a:lnTo>
                  <a:lnTo>
                    <a:pt x="59436" y="647639"/>
                  </a:lnTo>
                  <a:lnTo>
                    <a:pt x="67056" y="627827"/>
                  </a:lnTo>
                  <a:lnTo>
                    <a:pt x="73142" y="608015"/>
                  </a:lnTo>
                  <a:lnTo>
                    <a:pt x="82286" y="588203"/>
                  </a:lnTo>
                  <a:lnTo>
                    <a:pt x="89906" y="569915"/>
                  </a:lnTo>
                  <a:lnTo>
                    <a:pt x="99050" y="550103"/>
                  </a:lnTo>
                  <a:lnTo>
                    <a:pt x="131054" y="495269"/>
                  </a:lnTo>
                  <a:lnTo>
                    <a:pt x="153914" y="460217"/>
                  </a:lnTo>
                  <a:lnTo>
                    <a:pt x="179822" y="425165"/>
                  </a:lnTo>
                  <a:lnTo>
                    <a:pt x="207254" y="391637"/>
                  </a:lnTo>
                  <a:lnTo>
                    <a:pt x="237722" y="358109"/>
                  </a:lnTo>
                  <a:lnTo>
                    <a:pt x="268202" y="327629"/>
                  </a:lnTo>
                  <a:lnTo>
                    <a:pt x="301730" y="297149"/>
                  </a:lnTo>
                  <a:lnTo>
                    <a:pt x="338306" y="268193"/>
                  </a:lnTo>
                  <a:lnTo>
                    <a:pt x="374870" y="240792"/>
                  </a:lnTo>
                  <a:lnTo>
                    <a:pt x="412970" y="214884"/>
                  </a:lnTo>
                  <a:lnTo>
                    <a:pt x="454118" y="190500"/>
                  </a:lnTo>
                  <a:lnTo>
                    <a:pt x="495266" y="167640"/>
                  </a:lnTo>
                  <a:lnTo>
                    <a:pt x="539450" y="144780"/>
                  </a:lnTo>
                  <a:lnTo>
                    <a:pt x="583646" y="124968"/>
                  </a:lnTo>
                  <a:lnTo>
                    <a:pt x="629366" y="106680"/>
                  </a:lnTo>
                  <a:lnTo>
                    <a:pt x="676598" y="89916"/>
                  </a:lnTo>
                  <a:lnTo>
                    <a:pt x="725366" y="74676"/>
                  </a:lnTo>
                  <a:lnTo>
                    <a:pt x="775658" y="62484"/>
                  </a:lnTo>
                  <a:lnTo>
                    <a:pt x="877753" y="41148"/>
                  </a:lnTo>
                  <a:lnTo>
                    <a:pt x="984421" y="28956"/>
                  </a:lnTo>
                  <a:lnTo>
                    <a:pt x="1037761" y="25908"/>
                  </a:lnTo>
                  <a:lnTo>
                    <a:pt x="1080421" y="24754"/>
                  </a:lnTo>
                  <a:lnTo>
                    <a:pt x="1080421" y="12192"/>
                  </a:lnTo>
                  <a:lnTo>
                    <a:pt x="1106329" y="12192"/>
                  </a:lnTo>
                  <a:lnTo>
                    <a:pt x="1106329" y="7620"/>
                  </a:lnTo>
                  <a:lnTo>
                    <a:pt x="1103281" y="3048"/>
                  </a:lnTo>
                  <a:lnTo>
                    <a:pt x="1098709" y="1524"/>
                  </a:lnTo>
                  <a:lnTo>
                    <a:pt x="1097185" y="0"/>
                  </a:lnTo>
                  <a:close/>
                </a:path>
                <a:path w="1106805" h="1019810">
                  <a:moveTo>
                    <a:pt x="25908" y="988603"/>
                  </a:moveTo>
                  <a:lnTo>
                    <a:pt x="25908" y="1019464"/>
                  </a:lnTo>
                  <a:lnTo>
                    <a:pt x="47382" y="1019464"/>
                  </a:lnTo>
                  <a:lnTo>
                    <a:pt x="41148" y="992032"/>
                  </a:lnTo>
                  <a:lnTo>
                    <a:pt x="39624" y="992032"/>
                  </a:lnTo>
                  <a:lnTo>
                    <a:pt x="25908" y="988603"/>
                  </a:lnTo>
                  <a:close/>
                </a:path>
                <a:path w="1106805" h="1019810">
                  <a:moveTo>
                    <a:pt x="30712" y="925265"/>
                  </a:moveTo>
                  <a:lnTo>
                    <a:pt x="25908" y="942424"/>
                  </a:lnTo>
                  <a:lnTo>
                    <a:pt x="25908" y="988603"/>
                  </a:lnTo>
                  <a:lnTo>
                    <a:pt x="39624" y="992032"/>
                  </a:lnTo>
                  <a:lnTo>
                    <a:pt x="40491" y="988422"/>
                  </a:lnTo>
                  <a:lnTo>
                    <a:pt x="35052" y="958535"/>
                  </a:lnTo>
                  <a:lnTo>
                    <a:pt x="30712" y="925265"/>
                  </a:lnTo>
                  <a:close/>
                </a:path>
                <a:path w="1106805" h="1019810">
                  <a:moveTo>
                    <a:pt x="40491" y="988422"/>
                  </a:moveTo>
                  <a:lnTo>
                    <a:pt x="39624" y="992032"/>
                  </a:lnTo>
                  <a:lnTo>
                    <a:pt x="41148" y="992032"/>
                  </a:lnTo>
                  <a:lnTo>
                    <a:pt x="40491" y="988422"/>
                  </a:lnTo>
                  <a:close/>
                </a:path>
                <a:path w="1106805" h="1019810">
                  <a:moveTo>
                    <a:pt x="25908" y="942424"/>
                  </a:moveTo>
                  <a:lnTo>
                    <a:pt x="24384" y="947867"/>
                  </a:lnTo>
                  <a:lnTo>
                    <a:pt x="15240" y="985936"/>
                  </a:lnTo>
                  <a:lnTo>
                    <a:pt x="25908" y="988603"/>
                  </a:lnTo>
                  <a:lnTo>
                    <a:pt x="25908" y="942424"/>
                  </a:lnTo>
                  <a:close/>
                </a:path>
                <a:path w="1106805" h="1019810">
                  <a:moveTo>
                    <a:pt x="1080421" y="269717"/>
                  </a:moveTo>
                  <a:lnTo>
                    <a:pt x="1043857" y="269717"/>
                  </a:lnTo>
                  <a:lnTo>
                    <a:pt x="995089" y="272765"/>
                  </a:lnTo>
                  <a:lnTo>
                    <a:pt x="946321" y="277337"/>
                  </a:lnTo>
                  <a:lnTo>
                    <a:pt x="897565" y="283433"/>
                  </a:lnTo>
                  <a:lnTo>
                    <a:pt x="850321" y="291053"/>
                  </a:lnTo>
                  <a:lnTo>
                    <a:pt x="803077" y="300197"/>
                  </a:lnTo>
                  <a:lnTo>
                    <a:pt x="757370" y="310865"/>
                  </a:lnTo>
                  <a:lnTo>
                    <a:pt x="711650" y="323057"/>
                  </a:lnTo>
                  <a:lnTo>
                    <a:pt x="667454" y="336773"/>
                  </a:lnTo>
                  <a:lnTo>
                    <a:pt x="624794" y="352013"/>
                  </a:lnTo>
                  <a:lnTo>
                    <a:pt x="582122" y="368777"/>
                  </a:lnTo>
                  <a:lnTo>
                    <a:pt x="540974" y="387065"/>
                  </a:lnTo>
                  <a:lnTo>
                    <a:pt x="499826" y="406877"/>
                  </a:lnTo>
                  <a:lnTo>
                    <a:pt x="461738" y="426689"/>
                  </a:lnTo>
                  <a:lnTo>
                    <a:pt x="423638" y="449549"/>
                  </a:lnTo>
                  <a:lnTo>
                    <a:pt x="387062" y="472409"/>
                  </a:lnTo>
                  <a:lnTo>
                    <a:pt x="352022" y="496793"/>
                  </a:lnTo>
                  <a:lnTo>
                    <a:pt x="316970" y="522701"/>
                  </a:lnTo>
                  <a:lnTo>
                    <a:pt x="284966" y="548579"/>
                  </a:lnTo>
                  <a:lnTo>
                    <a:pt x="254486" y="576011"/>
                  </a:lnTo>
                  <a:lnTo>
                    <a:pt x="224006" y="604967"/>
                  </a:lnTo>
                  <a:lnTo>
                    <a:pt x="196586" y="635447"/>
                  </a:lnTo>
                  <a:lnTo>
                    <a:pt x="169154" y="667451"/>
                  </a:lnTo>
                  <a:lnTo>
                    <a:pt x="144770" y="699455"/>
                  </a:lnTo>
                  <a:lnTo>
                    <a:pt x="121910" y="731459"/>
                  </a:lnTo>
                  <a:lnTo>
                    <a:pt x="100574" y="764987"/>
                  </a:lnTo>
                  <a:lnTo>
                    <a:pt x="82286" y="800039"/>
                  </a:lnTo>
                  <a:lnTo>
                    <a:pt x="64008" y="836615"/>
                  </a:lnTo>
                  <a:lnTo>
                    <a:pt x="48768" y="871667"/>
                  </a:lnTo>
                  <a:lnTo>
                    <a:pt x="35052" y="909767"/>
                  </a:lnTo>
                  <a:lnTo>
                    <a:pt x="30712" y="925265"/>
                  </a:lnTo>
                  <a:lnTo>
                    <a:pt x="35052" y="958535"/>
                  </a:lnTo>
                  <a:lnTo>
                    <a:pt x="40491" y="988422"/>
                  </a:lnTo>
                  <a:lnTo>
                    <a:pt x="48768" y="953963"/>
                  </a:lnTo>
                  <a:lnTo>
                    <a:pt x="59436" y="917387"/>
                  </a:lnTo>
                  <a:lnTo>
                    <a:pt x="86858" y="847283"/>
                  </a:lnTo>
                  <a:lnTo>
                    <a:pt x="103622" y="812231"/>
                  </a:lnTo>
                  <a:lnTo>
                    <a:pt x="121910" y="778703"/>
                  </a:lnTo>
                  <a:lnTo>
                    <a:pt x="143246" y="746699"/>
                  </a:lnTo>
                  <a:lnTo>
                    <a:pt x="188966" y="682691"/>
                  </a:lnTo>
                  <a:lnTo>
                    <a:pt x="242294" y="623255"/>
                  </a:lnTo>
                  <a:lnTo>
                    <a:pt x="271250" y="595823"/>
                  </a:lnTo>
                  <a:lnTo>
                    <a:pt x="301730" y="568391"/>
                  </a:lnTo>
                  <a:lnTo>
                    <a:pt x="332210" y="542483"/>
                  </a:lnTo>
                  <a:lnTo>
                    <a:pt x="365726" y="518129"/>
                  </a:lnTo>
                  <a:lnTo>
                    <a:pt x="400778" y="493745"/>
                  </a:lnTo>
                  <a:lnTo>
                    <a:pt x="435830" y="470885"/>
                  </a:lnTo>
                  <a:lnTo>
                    <a:pt x="473930" y="449549"/>
                  </a:lnTo>
                  <a:lnTo>
                    <a:pt x="550118" y="409925"/>
                  </a:lnTo>
                  <a:lnTo>
                    <a:pt x="591266" y="391637"/>
                  </a:lnTo>
                  <a:lnTo>
                    <a:pt x="632414" y="376397"/>
                  </a:lnTo>
                  <a:lnTo>
                    <a:pt x="675074" y="361157"/>
                  </a:lnTo>
                  <a:lnTo>
                    <a:pt x="719270" y="347441"/>
                  </a:lnTo>
                  <a:lnTo>
                    <a:pt x="763466" y="335249"/>
                  </a:lnTo>
                  <a:lnTo>
                    <a:pt x="807649" y="324581"/>
                  </a:lnTo>
                  <a:lnTo>
                    <a:pt x="853369" y="315437"/>
                  </a:lnTo>
                  <a:lnTo>
                    <a:pt x="900613" y="307817"/>
                  </a:lnTo>
                  <a:lnTo>
                    <a:pt x="995089" y="298673"/>
                  </a:lnTo>
                  <a:lnTo>
                    <a:pt x="1043857" y="295625"/>
                  </a:lnTo>
                  <a:lnTo>
                    <a:pt x="1094137" y="295625"/>
                  </a:lnTo>
                  <a:lnTo>
                    <a:pt x="1100233" y="294101"/>
                  </a:lnTo>
                  <a:lnTo>
                    <a:pt x="1106329" y="289529"/>
                  </a:lnTo>
                  <a:lnTo>
                    <a:pt x="1106329" y="281909"/>
                  </a:lnTo>
                  <a:lnTo>
                    <a:pt x="1080421" y="281909"/>
                  </a:lnTo>
                  <a:lnTo>
                    <a:pt x="1080421" y="269717"/>
                  </a:lnTo>
                  <a:close/>
                </a:path>
                <a:path w="1106805" h="1019810">
                  <a:moveTo>
                    <a:pt x="25908" y="853379"/>
                  </a:moveTo>
                  <a:lnTo>
                    <a:pt x="25908" y="942424"/>
                  </a:lnTo>
                  <a:lnTo>
                    <a:pt x="30712" y="925265"/>
                  </a:lnTo>
                  <a:lnTo>
                    <a:pt x="30480" y="923483"/>
                  </a:lnTo>
                  <a:lnTo>
                    <a:pt x="27432" y="888431"/>
                  </a:lnTo>
                  <a:lnTo>
                    <a:pt x="25908" y="853379"/>
                  </a:lnTo>
                  <a:close/>
                </a:path>
                <a:path w="1106805" h="1019810">
                  <a:moveTo>
                    <a:pt x="1106329" y="12192"/>
                  </a:moveTo>
                  <a:lnTo>
                    <a:pt x="1080421" y="12192"/>
                  </a:lnTo>
                  <a:lnTo>
                    <a:pt x="1088041" y="22860"/>
                  </a:lnTo>
                  <a:lnTo>
                    <a:pt x="1094137" y="24384"/>
                  </a:lnTo>
                  <a:lnTo>
                    <a:pt x="1080421" y="24754"/>
                  </a:lnTo>
                  <a:lnTo>
                    <a:pt x="1080421" y="281909"/>
                  </a:lnTo>
                  <a:lnTo>
                    <a:pt x="1092613" y="269717"/>
                  </a:lnTo>
                  <a:lnTo>
                    <a:pt x="1106329" y="269717"/>
                  </a:lnTo>
                  <a:lnTo>
                    <a:pt x="1106329" y="12192"/>
                  </a:lnTo>
                  <a:close/>
                </a:path>
                <a:path w="1106805" h="1019810">
                  <a:moveTo>
                    <a:pt x="1106329" y="269717"/>
                  </a:moveTo>
                  <a:lnTo>
                    <a:pt x="1092613" y="269717"/>
                  </a:lnTo>
                  <a:lnTo>
                    <a:pt x="1080421" y="281909"/>
                  </a:lnTo>
                  <a:lnTo>
                    <a:pt x="1106329" y="281909"/>
                  </a:lnTo>
                  <a:lnTo>
                    <a:pt x="1106329" y="269717"/>
                  </a:lnTo>
                  <a:close/>
                </a:path>
                <a:path w="1106805" h="1019810">
                  <a:moveTo>
                    <a:pt x="1080421" y="12192"/>
                  </a:moveTo>
                  <a:lnTo>
                    <a:pt x="1080421" y="24754"/>
                  </a:lnTo>
                  <a:lnTo>
                    <a:pt x="1094137" y="24384"/>
                  </a:lnTo>
                  <a:lnTo>
                    <a:pt x="1088041" y="22860"/>
                  </a:lnTo>
                  <a:lnTo>
                    <a:pt x="1080421" y="12192"/>
                  </a:lnTo>
                  <a:close/>
                </a:path>
              </a:pathLst>
            </a:custGeom>
            <a:solidFill>
              <a:srgbClr val="88A3A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397907" y="3892478"/>
              <a:ext cx="8209114" cy="1469023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788359" y="3892479"/>
              <a:ext cx="1079500" cy="1054735"/>
            </a:xfrm>
            <a:custGeom>
              <a:avLst/>
              <a:gdLst/>
              <a:ahLst/>
              <a:cxnLst/>
              <a:rect l="l" t="t" r="r" b="b"/>
              <a:pathLst>
                <a:path w="1079500" h="1054735">
                  <a:moveTo>
                    <a:pt x="21268" y="0"/>
                  </a:moveTo>
                  <a:lnTo>
                    <a:pt x="0" y="0"/>
                  </a:lnTo>
                  <a:lnTo>
                    <a:pt x="0" y="103631"/>
                  </a:lnTo>
                  <a:lnTo>
                    <a:pt x="1463" y="147714"/>
                  </a:lnTo>
                  <a:lnTo>
                    <a:pt x="5811" y="191298"/>
                  </a:lnTo>
                  <a:lnTo>
                    <a:pt x="12980" y="234320"/>
                  </a:lnTo>
                  <a:lnTo>
                    <a:pt x="22906" y="276714"/>
                  </a:lnTo>
                  <a:lnTo>
                    <a:pt x="35524" y="318415"/>
                  </a:lnTo>
                  <a:lnTo>
                    <a:pt x="50771" y="359357"/>
                  </a:lnTo>
                  <a:lnTo>
                    <a:pt x="68582" y="399477"/>
                  </a:lnTo>
                  <a:lnTo>
                    <a:pt x="88894" y="438709"/>
                  </a:lnTo>
                  <a:lnTo>
                    <a:pt x="111643" y="476988"/>
                  </a:lnTo>
                  <a:lnTo>
                    <a:pt x="136765" y="514249"/>
                  </a:lnTo>
                  <a:lnTo>
                    <a:pt x="164195" y="550426"/>
                  </a:lnTo>
                  <a:lnTo>
                    <a:pt x="193870" y="585456"/>
                  </a:lnTo>
                  <a:lnTo>
                    <a:pt x="225725" y="619272"/>
                  </a:lnTo>
                  <a:lnTo>
                    <a:pt x="259697" y="651811"/>
                  </a:lnTo>
                  <a:lnTo>
                    <a:pt x="295722" y="683006"/>
                  </a:lnTo>
                  <a:lnTo>
                    <a:pt x="333736" y="712793"/>
                  </a:lnTo>
                  <a:lnTo>
                    <a:pt x="373674" y="741107"/>
                  </a:lnTo>
                  <a:lnTo>
                    <a:pt x="415474" y="767882"/>
                  </a:lnTo>
                  <a:lnTo>
                    <a:pt x="459069" y="793054"/>
                  </a:lnTo>
                  <a:lnTo>
                    <a:pt x="504398" y="816558"/>
                  </a:lnTo>
                  <a:lnTo>
                    <a:pt x="551395" y="838329"/>
                  </a:lnTo>
                  <a:lnTo>
                    <a:pt x="599997" y="858301"/>
                  </a:lnTo>
                  <a:lnTo>
                    <a:pt x="650140" y="876411"/>
                  </a:lnTo>
                  <a:lnTo>
                    <a:pt x="701760" y="892591"/>
                  </a:lnTo>
                  <a:lnTo>
                    <a:pt x="754792" y="906778"/>
                  </a:lnTo>
                  <a:lnTo>
                    <a:pt x="809173" y="918907"/>
                  </a:lnTo>
                  <a:lnTo>
                    <a:pt x="809173" y="1054531"/>
                  </a:lnTo>
                  <a:lnTo>
                    <a:pt x="1078897" y="810706"/>
                  </a:lnTo>
                  <a:lnTo>
                    <a:pt x="809173" y="513557"/>
                  </a:lnTo>
                  <a:lnTo>
                    <a:pt x="809173" y="649193"/>
                  </a:lnTo>
                  <a:lnTo>
                    <a:pt x="754792" y="637064"/>
                  </a:lnTo>
                  <a:lnTo>
                    <a:pt x="701760" y="622876"/>
                  </a:lnTo>
                  <a:lnTo>
                    <a:pt x="650140" y="606695"/>
                  </a:lnTo>
                  <a:lnTo>
                    <a:pt x="599997" y="588586"/>
                  </a:lnTo>
                  <a:lnTo>
                    <a:pt x="551395" y="568613"/>
                  </a:lnTo>
                  <a:lnTo>
                    <a:pt x="504398" y="546842"/>
                  </a:lnTo>
                  <a:lnTo>
                    <a:pt x="459069" y="523338"/>
                  </a:lnTo>
                  <a:lnTo>
                    <a:pt x="415474" y="498166"/>
                  </a:lnTo>
                  <a:lnTo>
                    <a:pt x="373674" y="471390"/>
                  </a:lnTo>
                  <a:lnTo>
                    <a:pt x="333736" y="443076"/>
                  </a:lnTo>
                  <a:lnTo>
                    <a:pt x="295722" y="413289"/>
                  </a:lnTo>
                  <a:lnTo>
                    <a:pt x="259697" y="382094"/>
                  </a:lnTo>
                  <a:lnTo>
                    <a:pt x="225725" y="349555"/>
                  </a:lnTo>
                  <a:lnTo>
                    <a:pt x="193870" y="315739"/>
                  </a:lnTo>
                  <a:lnTo>
                    <a:pt x="164195" y="280709"/>
                  </a:lnTo>
                  <a:lnTo>
                    <a:pt x="136765" y="244531"/>
                  </a:lnTo>
                  <a:lnTo>
                    <a:pt x="111643" y="207271"/>
                  </a:lnTo>
                  <a:lnTo>
                    <a:pt x="88894" y="168992"/>
                  </a:lnTo>
                  <a:lnTo>
                    <a:pt x="68582" y="129760"/>
                  </a:lnTo>
                  <a:lnTo>
                    <a:pt x="50771" y="89640"/>
                  </a:lnTo>
                  <a:lnTo>
                    <a:pt x="35524" y="48697"/>
                  </a:lnTo>
                  <a:lnTo>
                    <a:pt x="22906" y="6996"/>
                  </a:lnTo>
                  <a:lnTo>
                    <a:pt x="21268" y="0"/>
                  </a:lnTo>
                  <a:close/>
                </a:path>
              </a:pathLst>
            </a:custGeom>
            <a:solidFill>
              <a:srgbClr val="BAE0E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774643" y="3892478"/>
              <a:ext cx="1106805" cy="1068705"/>
            </a:xfrm>
            <a:custGeom>
              <a:avLst/>
              <a:gdLst/>
              <a:ahLst/>
              <a:cxnLst/>
              <a:rect l="l" t="t" r="r" b="b"/>
              <a:pathLst>
                <a:path w="1106805" h="1068704">
                  <a:moveTo>
                    <a:pt x="810697" y="928965"/>
                  </a:moveTo>
                  <a:lnTo>
                    <a:pt x="810697" y="1059103"/>
                  </a:lnTo>
                  <a:lnTo>
                    <a:pt x="813745" y="1063675"/>
                  </a:lnTo>
                  <a:lnTo>
                    <a:pt x="818317" y="1065199"/>
                  </a:lnTo>
                  <a:lnTo>
                    <a:pt x="822889" y="1068247"/>
                  </a:lnTo>
                  <a:lnTo>
                    <a:pt x="827461" y="1066723"/>
                  </a:lnTo>
                  <a:lnTo>
                    <a:pt x="832033" y="1063675"/>
                  </a:lnTo>
                  <a:lnTo>
                    <a:pt x="842149" y="1054531"/>
                  </a:lnTo>
                  <a:lnTo>
                    <a:pt x="836605" y="1054531"/>
                  </a:lnTo>
                  <a:lnTo>
                    <a:pt x="815269" y="1045387"/>
                  </a:lnTo>
                  <a:lnTo>
                    <a:pt x="836605" y="1026100"/>
                  </a:lnTo>
                  <a:lnTo>
                    <a:pt x="836605" y="931099"/>
                  </a:lnTo>
                  <a:lnTo>
                    <a:pt x="821365" y="931099"/>
                  </a:lnTo>
                  <a:lnTo>
                    <a:pt x="810697" y="928965"/>
                  </a:lnTo>
                  <a:close/>
                </a:path>
                <a:path w="1106805" h="1068704">
                  <a:moveTo>
                    <a:pt x="836605" y="1026100"/>
                  </a:moveTo>
                  <a:lnTo>
                    <a:pt x="815269" y="1045387"/>
                  </a:lnTo>
                  <a:lnTo>
                    <a:pt x="836605" y="1054531"/>
                  </a:lnTo>
                  <a:lnTo>
                    <a:pt x="836605" y="1026100"/>
                  </a:lnTo>
                  <a:close/>
                </a:path>
                <a:path w="1106805" h="1068704">
                  <a:moveTo>
                    <a:pt x="1075038" y="810562"/>
                  </a:moveTo>
                  <a:lnTo>
                    <a:pt x="836605" y="1026100"/>
                  </a:lnTo>
                  <a:lnTo>
                    <a:pt x="836605" y="1054531"/>
                  </a:lnTo>
                  <a:lnTo>
                    <a:pt x="842149" y="1054531"/>
                  </a:lnTo>
                  <a:lnTo>
                    <a:pt x="1101757" y="819850"/>
                  </a:lnTo>
                  <a:lnTo>
                    <a:pt x="1083469" y="819850"/>
                  </a:lnTo>
                  <a:lnTo>
                    <a:pt x="1075038" y="810562"/>
                  </a:lnTo>
                  <a:close/>
                </a:path>
                <a:path w="1106805" h="1068704">
                  <a:moveTo>
                    <a:pt x="810697" y="918907"/>
                  </a:moveTo>
                  <a:lnTo>
                    <a:pt x="810697" y="928965"/>
                  </a:lnTo>
                  <a:lnTo>
                    <a:pt x="821365" y="931099"/>
                  </a:lnTo>
                  <a:lnTo>
                    <a:pt x="810697" y="918907"/>
                  </a:lnTo>
                  <a:close/>
                </a:path>
                <a:path w="1106805" h="1068704">
                  <a:moveTo>
                    <a:pt x="836605" y="918907"/>
                  </a:moveTo>
                  <a:lnTo>
                    <a:pt x="810697" y="918907"/>
                  </a:lnTo>
                  <a:lnTo>
                    <a:pt x="821365" y="931099"/>
                  </a:lnTo>
                  <a:lnTo>
                    <a:pt x="836605" y="931099"/>
                  </a:lnTo>
                  <a:lnTo>
                    <a:pt x="836605" y="918907"/>
                  </a:lnTo>
                  <a:close/>
                </a:path>
                <a:path w="1106805" h="1068704">
                  <a:moveTo>
                    <a:pt x="21733" y="0"/>
                  </a:moveTo>
                  <a:lnTo>
                    <a:pt x="0" y="0"/>
                  </a:lnTo>
                  <a:lnTo>
                    <a:pt x="0" y="105155"/>
                  </a:lnTo>
                  <a:lnTo>
                    <a:pt x="4572" y="176783"/>
                  </a:lnTo>
                  <a:lnTo>
                    <a:pt x="24384" y="283433"/>
                  </a:lnTo>
                  <a:lnTo>
                    <a:pt x="47244" y="352013"/>
                  </a:lnTo>
                  <a:lnTo>
                    <a:pt x="77714" y="417545"/>
                  </a:lnTo>
                  <a:lnTo>
                    <a:pt x="94478" y="451073"/>
                  </a:lnTo>
                  <a:lnTo>
                    <a:pt x="134102" y="513557"/>
                  </a:lnTo>
                  <a:lnTo>
                    <a:pt x="179822" y="572993"/>
                  </a:lnTo>
                  <a:lnTo>
                    <a:pt x="230102" y="629381"/>
                  </a:lnTo>
                  <a:lnTo>
                    <a:pt x="288014" y="681166"/>
                  </a:lnTo>
                  <a:lnTo>
                    <a:pt x="318494" y="707074"/>
                  </a:lnTo>
                  <a:lnTo>
                    <a:pt x="350498" y="729934"/>
                  </a:lnTo>
                  <a:lnTo>
                    <a:pt x="384014" y="754318"/>
                  </a:lnTo>
                  <a:lnTo>
                    <a:pt x="417542" y="775654"/>
                  </a:lnTo>
                  <a:lnTo>
                    <a:pt x="454118" y="796990"/>
                  </a:lnTo>
                  <a:lnTo>
                    <a:pt x="490694" y="816802"/>
                  </a:lnTo>
                  <a:lnTo>
                    <a:pt x="527258" y="835087"/>
                  </a:lnTo>
                  <a:lnTo>
                    <a:pt x="566882" y="853375"/>
                  </a:lnTo>
                  <a:lnTo>
                    <a:pt x="606506" y="868615"/>
                  </a:lnTo>
                  <a:lnTo>
                    <a:pt x="647642" y="883855"/>
                  </a:lnTo>
                  <a:lnTo>
                    <a:pt x="732986" y="911287"/>
                  </a:lnTo>
                  <a:lnTo>
                    <a:pt x="775658" y="921955"/>
                  </a:lnTo>
                  <a:lnTo>
                    <a:pt x="810697" y="928965"/>
                  </a:lnTo>
                  <a:lnTo>
                    <a:pt x="810697" y="918907"/>
                  </a:lnTo>
                  <a:lnTo>
                    <a:pt x="836605" y="918907"/>
                  </a:lnTo>
                  <a:lnTo>
                    <a:pt x="836605" y="912811"/>
                  </a:lnTo>
                  <a:lnTo>
                    <a:pt x="832033" y="908239"/>
                  </a:lnTo>
                  <a:lnTo>
                    <a:pt x="825937" y="906715"/>
                  </a:lnTo>
                  <a:lnTo>
                    <a:pt x="781754" y="897571"/>
                  </a:lnTo>
                  <a:lnTo>
                    <a:pt x="696410" y="873187"/>
                  </a:lnTo>
                  <a:lnTo>
                    <a:pt x="655262" y="859471"/>
                  </a:lnTo>
                  <a:lnTo>
                    <a:pt x="615650" y="845755"/>
                  </a:lnTo>
                  <a:lnTo>
                    <a:pt x="576026" y="828994"/>
                  </a:lnTo>
                  <a:lnTo>
                    <a:pt x="537926" y="812230"/>
                  </a:lnTo>
                  <a:lnTo>
                    <a:pt x="501350" y="793942"/>
                  </a:lnTo>
                  <a:lnTo>
                    <a:pt x="464786" y="774130"/>
                  </a:lnTo>
                  <a:lnTo>
                    <a:pt x="431258" y="754318"/>
                  </a:lnTo>
                  <a:lnTo>
                    <a:pt x="397730" y="732982"/>
                  </a:lnTo>
                  <a:lnTo>
                    <a:pt x="364202" y="710122"/>
                  </a:lnTo>
                  <a:lnTo>
                    <a:pt x="303254" y="661354"/>
                  </a:lnTo>
                  <a:lnTo>
                    <a:pt x="248390" y="611093"/>
                  </a:lnTo>
                  <a:lnTo>
                    <a:pt x="198110" y="556229"/>
                  </a:lnTo>
                  <a:lnTo>
                    <a:pt x="153914" y="498317"/>
                  </a:lnTo>
                  <a:lnTo>
                    <a:pt x="115814" y="437357"/>
                  </a:lnTo>
                  <a:lnTo>
                    <a:pt x="83810" y="374873"/>
                  </a:lnTo>
                  <a:lnTo>
                    <a:pt x="59436" y="309341"/>
                  </a:lnTo>
                  <a:lnTo>
                    <a:pt x="41148" y="242285"/>
                  </a:lnTo>
                  <a:lnTo>
                    <a:pt x="30480" y="173735"/>
                  </a:lnTo>
                  <a:lnTo>
                    <a:pt x="25974" y="105155"/>
                  </a:lnTo>
                  <a:lnTo>
                    <a:pt x="25908" y="17199"/>
                  </a:lnTo>
                  <a:lnTo>
                    <a:pt x="24384" y="12191"/>
                  </a:lnTo>
                  <a:lnTo>
                    <a:pt x="21733" y="0"/>
                  </a:lnTo>
                  <a:close/>
                </a:path>
                <a:path w="1106805" h="1068704">
                  <a:moveTo>
                    <a:pt x="1084993" y="801562"/>
                  </a:moveTo>
                  <a:lnTo>
                    <a:pt x="1075038" y="810562"/>
                  </a:lnTo>
                  <a:lnTo>
                    <a:pt x="1083469" y="819850"/>
                  </a:lnTo>
                  <a:lnTo>
                    <a:pt x="1084993" y="801562"/>
                  </a:lnTo>
                  <a:close/>
                </a:path>
                <a:path w="1106805" h="1068704">
                  <a:moveTo>
                    <a:pt x="1103281" y="801562"/>
                  </a:moveTo>
                  <a:lnTo>
                    <a:pt x="1084993" y="801562"/>
                  </a:lnTo>
                  <a:lnTo>
                    <a:pt x="1083469" y="819850"/>
                  </a:lnTo>
                  <a:lnTo>
                    <a:pt x="1101757" y="819850"/>
                  </a:lnTo>
                  <a:lnTo>
                    <a:pt x="1104805" y="818326"/>
                  </a:lnTo>
                  <a:lnTo>
                    <a:pt x="1106329" y="815278"/>
                  </a:lnTo>
                  <a:lnTo>
                    <a:pt x="1106329" y="807658"/>
                  </a:lnTo>
                  <a:lnTo>
                    <a:pt x="1103281" y="801562"/>
                  </a:lnTo>
                  <a:close/>
                </a:path>
                <a:path w="1106805" h="1068704">
                  <a:moveTo>
                    <a:pt x="840510" y="513557"/>
                  </a:moveTo>
                  <a:lnTo>
                    <a:pt x="836605" y="513557"/>
                  </a:lnTo>
                  <a:lnTo>
                    <a:pt x="836605" y="547885"/>
                  </a:lnTo>
                  <a:lnTo>
                    <a:pt x="1075038" y="810562"/>
                  </a:lnTo>
                  <a:lnTo>
                    <a:pt x="1084993" y="801562"/>
                  </a:lnTo>
                  <a:lnTo>
                    <a:pt x="1103281" y="801562"/>
                  </a:lnTo>
                  <a:lnTo>
                    <a:pt x="840510" y="513557"/>
                  </a:lnTo>
                  <a:close/>
                </a:path>
                <a:path w="1106805" h="1068704">
                  <a:moveTo>
                    <a:pt x="47382" y="0"/>
                  </a:moveTo>
                  <a:lnTo>
                    <a:pt x="25908" y="0"/>
                  </a:lnTo>
                  <a:lnTo>
                    <a:pt x="25908" y="17199"/>
                  </a:lnTo>
                  <a:lnTo>
                    <a:pt x="47244" y="80771"/>
                  </a:lnTo>
                  <a:lnTo>
                    <a:pt x="76190" y="147827"/>
                  </a:lnTo>
                  <a:lnTo>
                    <a:pt x="112766" y="211835"/>
                  </a:lnTo>
                  <a:lnTo>
                    <a:pt x="155438" y="272765"/>
                  </a:lnTo>
                  <a:lnTo>
                    <a:pt x="204206" y="330677"/>
                  </a:lnTo>
                  <a:lnTo>
                    <a:pt x="257534" y="385541"/>
                  </a:lnTo>
                  <a:lnTo>
                    <a:pt x="288014" y="411449"/>
                  </a:lnTo>
                  <a:lnTo>
                    <a:pt x="318494" y="435833"/>
                  </a:lnTo>
                  <a:lnTo>
                    <a:pt x="350498" y="460217"/>
                  </a:lnTo>
                  <a:lnTo>
                    <a:pt x="382490" y="483077"/>
                  </a:lnTo>
                  <a:lnTo>
                    <a:pt x="417542" y="505937"/>
                  </a:lnTo>
                  <a:lnTo>
                    <a:pt x="452594" y="527273"/>
                  </a:lnTo>
                  <a:lnTo>
                    <a:pt x="489170" y="547085"/>
                  </a:lnTo>
                  <a:lnTo>
                    <a:pt x="527258" y="565373"/>
                  </a:lnTo>
                  <a:lnTo>
                    <a:pt x="606506" y="598901"/>
                  </a:lnTo>
                  <a:lnTo>
                    <a:pt x="647642" y="614141"/>
                  </a:lnTo>
                  <a:lnTo>
                    <a:pt x="688790" y="627857"/>
                  </a:lnTo>
                  <a:lnTo>
                    <a:pt x="775658" y="652241"/>
                  </a:lnTo>
                  <a:lnTo>
                    <a:pt x="821365" y="661354"/>
                  </a:lnTo>
                  <a:lnTo>
                    <a:pt x="824413" y="662878"/>
                  </a:lnTo>
                  <a:lnTo>
                    <a:pt x="828985" y="661354"/>
                  </a:lnTo>
                  <a:lnTo>
                    <a:pt x="832033" y="658337"/>
                  </a:lnTo>
                  <a:lnTo>
                    <a:pt x="835081" y="656813"/>
                  </a:lnTo>
                  <a:lnTo>
                    <a:pt x="836605" y="652241"/>
                  </a:lnTo>
                  <a:lnTo>
                    <a:pt x="836605" y="649193"/>
                  </a:lnTo>
                  <a:lnTo>
                    <a:pt x="810697" y="649193"/>
                  </a:lnTo>
                  <a:lnTo>
                    <a:pt x="810697" y="633321"/>
                  </a:lnTo>
                  <a:lnTo>
                    <a:pt x="739082" y="615665"/>
                  </a:lnTo>
                  <a:lnTo>
                    <a:pt x="697934" y="603473"/>
                  </a:lnTo>
                  <a:lnTo>
                    <a:pt x="615650" y="576041"/>
                  </a:lnTo>
                  <a:lnTo>
                    <a:pt x="577550" y="559277"/>
                  </a:lnTo>
                  <a:lnTo>
                    <a:pt x="537926" y="542513"/>
                  </a:lnTo>
                  <a:lnTo>
                    <a:pt x="501350" y="524225"/>
                  </a:lnTo>
                  <a:lnTo>
                    <a:pt x="431258" y="484601"/>
                  </a:lnTo>
                  <a:lnTo>
                    <a:pt x="397730" y="463265"/>
                  </a:lnTo>
                  <a:lnTo>
                    <a:pt x="365726" y="440405"/>
                  </a:lnTo>
                  <a:lnTo>
                    <a:pt x="333734" y="416021"/>
                  </a:lnTo>
                  <a:lnTo>
                    <a:pt x="275822" y="367253"/>
                  </a:lnTo>
                  <a:lnTo>
                    <a:pt x="222482" y="313913"/>
                  </a:lnTo>
                  <a:lnTo>
                    <a:pt x="175250" y="257525"/>
                  </a:lnTo>
                  <a:lnTo>
                    <a:pt x="134102" y="198119"/>
                  </a:lnTo>
                  <a:lnTo>
                    <a:pt x="99050" y="137159"/>
                  </a:lnTo>
                  <a:lnTo>
                    <a:pt x="71618" y="73151"/>
                  </a:lnTo>
                  <a:lnTo>
                    <a:pt x="48768" y="6095"/>
                  </a:lnTo>
                  <a:lnTo>
                    <a:pt x="47382" y="0"/>
                  </a:lnTo>
                  <a:close/>
                </a:path>
                <a:path w="1106805" h="1068704">
                  <a:moveTo>
                    <a:pt x="810697" y="633321"/>
                  </a:moveTo>
                  <a:lnTo>
                    <a:pt x="810697" y="649193"/>
                  </a:lnTo>
                  <a:lnTo>
                    <a:pt x="825937" y="637001"/>
                  </a:lnTo>
                  <a:lnTo>
                    <a:pt x="810697" y="633321"/>
                  </a:lnTo>
                  <a:close/>
                </a:path>
                <a:path w="1106805" h="1068704">
                  <a:moveTo>
                    <a:pt x="824413" y="499841"/>
                  </a:moveTo>
                  <a:lnTo>
                    <a:pt x="818317" y="502889"/>
                  </a:lnTo>
                  <a:lnTo>
                    <a:pt x="813745" y="504413"/>
                  </a:lnTo>
                  <a:lnTo>
                    <a:pt x="810697" y="508985"/>
                  </a:lnTo>
                  <a:lnTo>
                    <a:pt x="810697" y="633321"/>
                  </a:lnTo>
                  <a:lnTo>
                    <a:pt x="825937" y="637001"/>
                  </a:lnTo>
                  <a:lnTo>
                    <a:pt x="810697" y="649193"/>
                  </a:lnTo>
                  <a:lnTo>
                    <a:pt x="836605" y="649193"/>
                  </a:lnTo>
                  <a:lnTo>
                    <a:pt x="836605" y="547885"/>
                  </a:lnTo>
                  <a:lnTo>
                    <a:pt x="813745" y="522701"/>
                  </a:lnTo>
                  <a:lnTo>
                    <a:pt x="836605" y="513557"/>
                  </a:lnTo>
                  <a:lnTo>
                    <a:pt x="840510" y="513557"/>
                  </a:lnTo>
                  <a:lnTo>
                    <a:pt x="833557" y="505937"/>
                  </a:lnTo>
                  <a:lnTo>
                    <a:pt x="828985" y="501365"/>
                  </a:lnTo>
                  <a:lnTo>
                    <a:pt x="824413" y="499841"/>
                  </a:lnTo>
                  <a:close/>
                </a:path>
                <a:path w="1106805" h="1068704">
                  <a:moveTo>
                    <a:pt x="836605" y="513557"/>
                  </a:moveTo>
                  <a:lnTo>
                    <a:pt x="813745" y="522701"/>
                  </a:lnTo>
                  <a:lnTo>
                    <a:pt x="836605" y="547885"/>
                  </a:lnTo>
                  <a:lnTo>
                    <a:pt x="836605" y="513557"/>
                  </a:lnTo>
                  <a:close/>
                </a:path>
                <a:path w="1106805" h="1068704">
                  <a:moveTo>
                    <a:pt x="25908" y="0"/>
                  </a:moveTo>
                  <a:lnTo>
                    <a:pt x="21733" y="0"/>
                  </a:lnTo>
                  <a:lnTo>
                    <a:pt x="24384" y="12191"/>
                  </a:lnTo>
                  <a:lnTo>
                    <a:pt x="25908" y="17199"/>
                  </a:lnTo>
                  <a:lnTo>
                    <a:pt x="25908" y="0"/>
                  </a:lnTo>
                  <a:close/>
                </a:path>
              </a:pathLst>
            </a:custGeom>
            <a:solidFill>
              <a:srgbClr val="88A3A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1153577" y="5431096"/>
            <a:ext cx="7237730" cy="13970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Arial"/>
                <a:cs typeface="Arial"/>
              </a:rPr>
              <a:t>For </a:t>
            </a:r>
            <a:r>
              <a:rPr sz="1800" spc="-10" dirty="0">
                <a:latin typeface="Arial"/>
                <a:cs typeface="Arial"/>
              </a:rPr>
              <a:t>quota types </a:t>
            </a:r>
            <a:r>
              <a:rPr sz="1800" spc="-5" dirty="0">
                <a:latin typeface="Arial"/>
                <a:cs typeface="Arial"/>
              </a:rPr>
              <a:t>that </a:t>
            </a:r>
            <a:r>
              <a:rPr sz="1800" spc="-15" dirty="0">
                <a:latin typeface="Arial"/>
                <a:cs typeface="Arial"/>
              </a:rPr>
              <a:t>will </a:t>
            </a:r>
            <a:r>
              <a:rPr sz="1800" spc="-5" dirty="0">
                <a:latin typeface="Arial"/>
                <a:cs typeface="Arial"/>
              </a:rPr>
              <a:t>be </a:t>
            </a:r>
            <a:r>
              <a:rPr sz="1800" spc="-10" dirty="0">
                <a:latin typeface="Arial"/>
                <a:cs typeface="Arial"/>
              </a:rPr>
              <a:t>manually </a:t>
            </a:r>
            <a:r>
              <a:rPr sz="1800" spc="-5" dirty="0">
                <a:latin typeface="Arial"/>
                <a:cs typeface="Arial"/>
              </a:rPr>
              <a:t>accrued </a:t>
            </a:r>
            <a:r>
              <a:rPr sz="1800" spc="-10" dirty="0">
                <a:latin typeface="Arial"/>
                <a:cs typeface="Arial"/>
              </a:rPr>
              <a:t>and </a:t>
            </a:r>
            <a:r>
              <a:rPr sz="1800" spc="-5" dirty="0">
                <a:latin typeface="Arial"/>
                <a:cs typeface="Arial"/>
              </a:rPr>
              <a:t>created, check “No  </a:t>
            </a:r>
            <a:r>
              <a:rPr sz="1800" spc="-10" dirty="0">
                <a:latin typeface="Arial"/>
                <a:cs typeface="Arial"/>
              </a:rPr>
              <a:t>generation.” </a:t>
            </a:r>
            <a:r>
              <a:rPr sz="1800" spc="-5" dirty="0">
                <a:latin typeface="Arial"/>
                <a:cs typeface="Arial"/>
              </a:rPr>
              <a:t>For </a:t>
            </a:r>
            <a:r>
              <a:rPr sz="1800" spc="-10" dirty="0">
                <a:latin typeface="Arial"/>
                <a:cs typeface="Arial"/>
              </a:rPr>
              <a:t>quota types </a:t>
            </a:r>
            <a:r>
              <a:rPr sz="1800" spc="-5" dirty="0">
                <a:latin typeface="Arial"/>
                <a:cs typeface="Arial"/>
              </a:rPr>
              <a:t>that </a:t>
            </a:r>
            <a:r>
              <a:rPr sz="1800" spc="-15" dirty="0">
                <a:latin typeface="Arial"/>
                <a:cs typeface="Arial"/>
              </a:rPr>
              <a:t>will </a:t>
            </a:r>
            <a:r>
              <a:rPr sz="1800" spc="-5" dirty="0">
                <a:latin typeface="Arial"/>
                <a:cs typeface="Arial"/>
              </a:rPr>
              <a:t>be automatically accrued (by time  </a:t>
            </a:r>
            <a:r>
              <a:rPr sz="1800" spc="-10" dirty="0">
                <a:latin typeface="Arial"/>
                <a:cs typeface="Arial"/>
              </a:rPr>
              <a:t>evaluation </a:t>
            </a:r>
            <a:r>
              <a:rPr sz="1800" spc="-5" dirty="0">
                <a:latin typeface="Arial"/>
                <a:cs typeface="Arial"/>
              </a:rPr>
              <a:t>or the </a:t>
            </a:r>
            <a:r>
              <a:rPr sz="1800" spc="-10" dirty="0">
                <a:latin typeface="Arial"/>
                <a:cs typeface="Arial"/>
              </a:rPr>
              <a:t>generation </a:t>
            </a:r>
            <a:r>
              <a:rPr sz="1800" spc="-5" dirty="0">
                <a:latin typeface="Arial"/>
                <a:cs typeface="Arial"/>
              </a:rPr>
              <a:t>program), check “Increase” or “Replace.” </a:t>
            </a:r>
            <a:r>
              <a:rPr sz="1800" dirty="0">
                <a:latin typeface="Arial"/>
                <a:cs typeface="Arial"/>
              </a:rPr>
              <a:t>If  </a:t>
            </a:r>
            <a:r>
              <a:rPr sz="1800" spc="-5" dirty="0">
                <a:latin typeface="Arial"/>
                <a:cs typeface="Arial"/>
              </a:rPr>
              <a:t>“increase” is selected, each accrual </a:t>
            </a:r>
            <a:r>
              <a:rPr sz="1800" spc="-10" dirty="0">
                <a:latin typeface="Arial"/>
                <a:cs typeface="Arial"/>
              </a:rPr>
              <a:t>amount </a:t>
            </a:r>
            <a:r>
              <a:rPr sz="1800" spc="-5" dirty="0">
                <a:latin typeface="Arial"/>
                <a:cs typeface="Arial"/>
              </a:rPr>
              <a:t>transferred </a:t>
            </a:r>
            <a:r>
              <a:rPr sz="1800" spc="-15" dirty="0">
                <a:latin typeface="Arial"/>
                <a:cs typeface="Arial"/>
              </a:rPr>
              <a:t>will </a:t>
            </a:r>
            <a:r>
              <a:rPr sz="1800" spc="-10" dirty="0">
                <a:latin typeface="Arial"/>
                <a:cs typeface="Arial"/>
              </a:rPr>
              <a:t>add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5" dirty="0">
                <a:latin typeface="Arial"/>
                <a:cs typeface="Arial"/>
              </a:rPr>
              <a:t>the  </a:t>
            </a:r>
            <a:r>
              <a:rPr sz="1800" spc="-10" dirty="0">
                <a:latin typeface="Arial"/>
                <a:cs typeface="Arial"/>
              </a:rPr>
              <a:t>existing </a:t>
            </a:r>
            <a:r>
              <a:rPr sz="1800" spc="-5" dirty="0">
                <a:latin typeface="Arial"/>
                <a:cs typeface="Arial"/>
              </a:rPr>
              <a:t>entitlement. </a:t>
            </a:r>
            <a:r>
              <a:rPr sz="1800" spc="-10" dirty="0">
                <a:latin typeface="Arial"/>
                <a:cs typeface="Arial"/>
              </a:rPr>
              <a:t>“Replace” </a:t>
            </a:r>
            <a:r>
              <a:rPr sz="1800" spc="-15" dirty="0">
                <a:latin typeface="Arial"/>
                <a:cs typeface="Arial"/>
              </a:rPr>
              <a:t>will </a:t>
            </a:r>
            <a:r>
              <a:rPr sz="1800" spc="-10" dirty="0">
                <a:latin typeface="Arial"/>
                <a:cs typeface="Arial"/>
              </a:rPr>
              <a:t>overwrite </a:t>
            </a:r>
            <a:r>
              <a:rPr sz="1800" spc="-5" dirty="0">
                <a:latin typeface="Arial"/>
                <a:cs typeface="Arial"/>
              </a:rPr>
              <a:t>the existing</a:t>
            </a:r>
            <a:r>
              <a:rPr sz="1800" spc="220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entitlement</a:t>
            </a:r>
            <a:endParaRPr sz="18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153577" y="6802576"/>
            <a:ext cx="310769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20" dirty="0">
                <a:latin typeface="Arial"/>
                <a:cs typeface="Arial"/>
              </a:rPr>
              <a:t>when </a:t>
            </a:r>
            <a:r>
              <a:rPr sz="1800" spc="-5" dirty="0">
                <a:latin typeface="Arial"/>
                <a:cs typeface="Arial"/>
              </a:rPr>
              <a:t>accruals are</a:t>
            </a:r>
            <a:r>
              <a:rPr sz="1800" spc="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transferred.</a:t>
            </a:r>
            <a:endParaRPr sz="18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387367"/>
            <a:ext cx="3859529" cy="99770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Public Holidays</a:t>
            </a:r>
            <a:r>
              <a:rPr spc="-145" dirty="0">
                <a:solidFill>
                  <a:schemeClr val="accent1"/>
                </a:solidFill>
                <a:latin typeface="Liberation Sans Narrow"/>
                <a:cs typeface="Liberation Sans Narrow"/>
              </a:rPr>
              <a:t> </a:t>
            </a:r>
            <a:r>
              <a:rPr dirty="0">
                <a:latin typeface="Liberation Sans Narrow"/>
                <a:cs typeface="Liberation Sans Narrow"/>
              </a:rPr>
              <a:t>Classe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923477" y="2383334"/>
            <a:ext cx="225234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Public Holiday Class</a:t>
            </a:r>
            <a:r>
              <a:rPr sz="1800" spc="-20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Blank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463440" y="2383334"/>
            <a:ext cx="8826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Liberation Sans Narrow"/>
                <a:cs typeface="Liberation Sans Narrow"/>
              </a:rPr>
              <a:t>-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258909" y="2383334"/>
            <a:ext cx="106235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Working</a:t>
            </a:r>
            <a:r>
              <a:rPr sz="1800" spc="-80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day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923477" y="3037071"/>
            <a:ext cx="188976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Public Holiday Class</a:t>
            </a:r>
            <a:r>
              <a:rPr sz="1800" spc="-25" dirty="0">
                <a:latin typeface="Liberation Sans Narrow"/>
                <a:cs typeface="Liberation Sans Narrow"/>
              </a:rPr>
              <a:t> </a:t>
            </a:r>
            <a:r>
              <a:rPr sz="1800" dirty="0">
                <a:latin typeface="Liberation Sans Narrow"/>
                <a:cs typeface="Liberation Sans Narrow"/>
              </a:rPr>
              <a:t>1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464943" y="3037071"/>
            <a:ext cx="8826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Liberation Sans Narrow"/>
                <a:cs typeface="Liberation Sans Narrow"/>
              </a:rPr>
              <a:t>-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260412" y="3037071"/>
            <a:ext cx="1920239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Full day Public</a:t>
            </a:r>
            <a:r>
              <a:rPr sz="1800" spc="-20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Holiday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923477" y="3799017"/>
            <a:ext cx="188976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Public Holiday Class</a:t>
            </a:r>
            <a:r>
              <a:rPr sz="1800" spc="-25" dirty="0">
                <a:latin typeface="Liberation Sans Narrow"/>
                <a:cs typeface="Liberation Sans Narrow"/>
              </a:rPr>
              <a:t> </a:t>
            </a:r>
            <a:r>
              <a:rPr sz="1800" dirty="0">
                <a:latin typeface="Liberation Sans Narrow"/>
                <a:cs typeface="Liberation Sans Narrow"/>
              </a:rPr>
              <a:t>2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464955" y="3799017"/>
            <a:ext cx="8826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Liberation Sans Narrow"/>
                <a:cs typeface="Liberation Sans Narrow"/>
              </a:rPr>
              <a:t>-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5260420" y="3799017"/>
            <a:ext cx="210947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Half </a:t>
            </a:r>
            <a:r>
              <a:rPr sz="1800" dirty="0">
                <a:latin typeface="Liberation Sans Narrow"/>
                <a:cs typeface="Liberation Sans Narrow"/>
              </a:rPr>
              <a:t>a </a:t>
            </a:r>
            <a:r>
              <a:rPr sz="1800" spc="-5" dirty="0">
                <a:latin typeface="Liberation Sans Narrow"/>
                <a:cs typeface="Liberation Sans Narrow"/>
              </a:rPr>
              <a:t>day Public</a:t>
            </a:r>
            <a:r>
              <a:rPr sz="1800" spc="-15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Holiday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923477" y="4530474"/>
            <a:ext cx="216090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Public Holiday Class </a:t>
            </a:r>
            <a:r>
              <a:rPr sz="1800" dirty="0">
                <a:latin typeface="Liberation Sans Narrow"/>
                <a:cs typeface="Liberation Sans Narrow"/>
              </a:rPr>
              <a:t>3 -</a:t>
            </a:r>
            <a:r>
              <a:rPr sz="1800" spc="-30" dirty="0">
                <a:latin typeface="Liberation Sans Narrow"/>
                <a:cs typeface="Liberation Sans Narrow"/>
              </a:rPr>
              <a:t> </a:t>
            </a:r>
            <a:r>
              <a:rPr sz="1800" dirty="0">
                <a:latin typeface="Liberation Sans Narrow"/>
                <a:cs typeface="Liberation Sans Narrow"/>
              </a:rPr>
              <a:t>9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370047" y="4530474"/>
            <a:ext cx="8826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Liberation Sans Narrow"/>
                <a:cs typeface="Liberation Sans Narrow"/>
              </a:rPr>
              <a:t>-</a:t>
            </a:r>
            <a:endParaRPr sz="1800">
              <a:latin typeface="Liberation Sans Narrow"/>
              <a:cs typeface="Liberation Sans Narrow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5269560" y="4530474"/>
            <a:ext cx="154559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Liberation Sans Narrow"/>
                <a:cs typeface="Liberation Sans Narrow"/>
              </a:rPr>
              <a:t>Customer</a:t>
            </a:r>
            <a:r>
              <a:rPr sz="1800" spc="-35" dirty="0">
                <a:latin typeface="Liberation Sans Narrow"/>
                <a:cs typeface="Liberation Sans Narrow"/>
              </a:rPr>
              <a:t> </a:t>
            </a:r>
            <a:r>
              <a:rPr sz="1800" spc="-5" dirty="0">
                <a:latin typeface="Liberation Sans Narrow"/>
                <a:cs typeface="Liberation Sans Narrow"/>
              </a:rPr>
              <a:t>Specific</a:t>
            </a:r>
            <a:endParaRPr sz="1800">
              <a:latin typeface="Liberation Sans Narrow"/>
              <a:cs typeface="Liberation Sans Narrow"/>
            </a:endParaRPr>
          </a:p>
        </p:txBody>
      </p:sp>
    </p:spTree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47277" y="708599"/>
            <a:ext cx="315976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Generation</a:t>
            </a:r>
            <a:r>
              <a:rPr spc="-10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Rul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847277" y="1682360"/>
            <a:ext cx="8065770" cy="3622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spc="-5" dirty="0">
                <a:latin typeface="Liberation Sans Narrow"/>
                <a:cs typeface="Liberation Sans Narrow"/>
              </a:rPr>
              <a:t>Generate Rule</a:t>
            </a:r>
            <a:r>
              <a:rPr sz="2000" spc="-45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incorporates</a:t>
            </a:r>
            <a:endParaRPr sz="2000">
              <a:latin typeface="Liberation Sans Narrow"/>
              <a:cs typeface="Liberation Sans Narrow"/>
            </a:endParaRPr>
          </a:p>
          <a:p>
            <a:pPr marL="86360" indent="-74295">
              <a:lnSpc>
                <a:spcPct val="100000"/>
              </a:lnSpc>
              <a:spcBef>
                <a:spcPts val="1920"/>
              </a:spcBef>
              <a:buSzPct val="95000"/>
              <a:buChar char="•"/>
              <a:tabLst>
                <a:tab pos="86995" algn="l"/>
              </a:tabLst>
            </a:pPr>
            <a:r>
              <a:rPr sz="2000" spc="-5" dirty="0">
                <a:latin typeface="Liberation Sans Narrow"/>
                <a:cs typeface="Liberation Sans Narrow"/>
              </a:rPr>
              <a:t>Base</a:t>
            </a:r>
            <a:r>
              <a:rPr sz="2000" spc="-10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Entitlements</a:t>
            </a:r>
            <a:endParaRPr sz="2000">
              <a:latin typeface="Liberation Sans Narrow"/>
              <a:cs typeface="Liberation Sans Narrow"/>
            </a:endParaRPr>
          </a:p>
          <a:p>
            <a:pPr marL="86360" indent="-74295">
              <a:lnSpc>
                <a:spcPct val="100000"/>
              </a:lnSpc>
              <a:spcBef>
                <a:spcPts val="1920"/>
              </a:spcBef>
              <a:buSzPct val="95000"/>
              <a:buChar char="•"/>
              <a:tabLst>
                <a:tab pos="86995" algn="l"/>
              </a:tabLst>
            </a:pPr>
            <a:r>
              <a:rPr sz="2000" spc="-5" dirty="0">
                <a:latin typeface="Liberation Sans Narrow"/>
                <a:cs typeface="Liberation Sans Narrow"/>
              </a:rPr>
              <a:t>Reduction</a:t>
            </a:r>
            <a:r>
              <a:rPr sz="2000" spc="-20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Rule</a:t>
            </a:r>
            <a:endParaRPr sz="2000">
              <a:latin typeface="Liberation Sans Narrow"/>
              <a:cs typeface="Liberation Sans Narrow"/>
            </a:endParaRPr>
          </a:p>
          <a:p>
            <a:pPr marL="140335" indent="-128270">
              <a:lnSpc>
                <a:spcPct val="100000"/>
              </a:lnSpc>
              <a:spcBef>
                <a:spcPts val="1920"/>
              </a:spcBef>
              <a:buSzPct val="95000"/>
              <a:buChar char="•"/>
              <a:tabLst>
                <a:tab pos="140970" algn="l"/>
              </a:tabLst>
            </a:pPr>
            <a:r>
              <a:rPr sz="2000" spc="-5" dirty="0">
                <a:latin typeface="Liberation Sans Narrow"/>
                <a:cs typeface="Liberation Sans Narrow"/>
              </a:rPr>
              <a:t>Rounding</a:t>
            </a:r>
            <a:r>
              <a:rPr sz="2000" spc="-10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Rule</a:t>
            </a:r>
            <a:endParaRPr sz="2000">
              <a:latin typeface="Liberation Sans Narrow"/>
              <a:cs typeface="Liberation Sans Narrow"/>
            </a:endParaRPr>
          </a:p>
          <a:p>
            <a:pPr marL="140335" indent="-128270">
              <a:lnSpc>
                <a:spcPct val="100000"/>
              </a:lnSpc>
              <a:spcBef>
                <a:spcPts val="1920"/>
              </a:spcBef>
              <a:buSzPct val="95000"/>
              <a:buChar char="•"/>
              <a:tabLst>
                <a:tab pos="140970" algn="l"/>
              </a:tabLst>
            </a:pPr>
            <a:r>
              <a:rPr sz="2000" spc="-5" dirty="0">
                <a:latin typeface="Liberation Sans Narrow"/>
                <a:cs typeface="Liberation Sans Narrow"/>
              </a:rPr>
              <a:t>Based on Challenge percentage of employee different generation rules can be</a:t>
            </a:r>
            <a:r>
              <a:rPr sz="2000" spc="25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framed</a:t>
            </a:r>
            <a:endParaRPr sz="2000">
              <a:latin typeface="Liberation Sans Narrow"/>
              <a:cs typeface="Liberation Sans Narrow"/>
            </a:endParaRPr>
          </a:p>
          <a:p>
            <a:pPr marL="140335" indent="-128270">
              <a:lnSpc>
                <a:spcPct val="100000"/>
              </a:lnSpc>
              <a:spcBef>
                <a:spcPts val="1920"/>
              </a:spcBef>
              <a:buSzPct val="95000"/>
              <a:buChar char="•"/>
              <a:tabLst>
                <a:tab pos="140970" algn="l"/>
              </a:tabLst>
            </a:pPr>
            <a:r>
              <a:rPr sz="2000" spc="-5" dirty="0">
                <a:latin typeface="Liberation Sans Narrow"/>
                <a:cs typeface="Liberation Sans Narrow"/>
              </a:rPr>
              <a:t>Based on date of </a:t>
            </a:r>
            <a:r>
              <a:rPr sz="2000" spc="-25" dirty="0">
                <a:latin typeface="Liberation Sans Narrow"/>
                <a:cs typeface="Liberation Sans Narrow"/>
              </a:rPr>
              <a:t>entry, </a:t>
            </a:r>
            <a:r>
              <a:rPr sz="2000" spc="-5" dirty="0">
                <a:latin typeface="Liberation Sans Narrow"/>
                <a:cs typeface="Liberation Sans Narrow"/>
              </a:rPr>
              <a:t>different generation rules can be</a:t>
            </a:r>
            <a:r>
              <a:rPr sz="2000" spc="10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framed</a:t>
            </a:r>
            <a:endParaRPr sz="2000">
              <a:latin typeface="Liberation Sans Narrow"/>
              <a:cs typeface="Liberation Sans Narrow"/>
            </a:endParaRPr>
          </a:p>
          <a:p>
            <a:pPr marL="86360" indent="-74295">
              <a:lnSpc>
                <a:spcPct val="100000"/>
              </a:lnSpc>
              <a:spcBef>
                <a:spcPts val="1920"/>
              </a:spcBef>
              <a:buSzPct val="95000"/>
              <a:buChar char="•"/>
              <a:tabLst>
                <a:tab pos="86995" algn="l"/>
              </a:tabLst>
            </a:pPr>
            <a:r>
              <a:rPr sz="2000" dirty="0">
                <a:latin typeface="Liberation Sans Narrow"/>
                <a:cs typeface="Liberation Sans Narrow"/>
              </a:rPr>
              <a:t>The </a:t>
            </a:r>
            <a:r>
              <a:rPr sz="2000" spc="-5" dirty="0">
                <a:latin typeface="Liberation Sans Narrow"/>
                <a:cs typeface="Liberation Sans Narrow"/>
              </a:rPr>
              <a:t>maximum entitlement can be restricted in the generation</a:t>
            </a:r>
            <a:r>
              <a:rPr sz="2000" spc="-80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rule</a:t>
            </a:r>
            <a:endParaRPr sz="2000">
              <a:latin typeface="Liberation Sans Narrow"/>
              <a:cs typeface="Liberation Sans Narrow"/>
            </a:endParaRPr>
          </a:p>
        </p:txBody>
      </p:sp>
    </p:spTree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724217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Rules For Generating Absence</a:t>
            </a:r>
            <a:r>
              <a:rPr spc="-135" dirty="0">
                <a:solidFill>
                  <a:schemeClr val="accent1"/>
                </a:solidFill>
              </a:rPr>
              <a:t> </a:t>
            </a:r>
            <a:r>
              <a:rPr dirty="0">
                <a:solidFill>
                  <a:schemeClr val="accent1"/>
                </a:solidFill>
              </a:rPr>
              <a:t>Quota</a:t>
            </a:r>
          </a:p>
        </p:txBody>
      </p:sp>
      <p:grpSp>
        <p:nvGrpSpPr>
          <p:cNvPr id="3" name="object 3"/>
          <p:cNvGrpSpPr/>
          <p:nvPr/>
        </p:nvGrpSpPr>
        <p:grpSpPr>
          <a:xfrm>
            <a:off x="859981" y="1588382"/>
            <a:ext cx="6983912" cy="5327468"/>
            <a:chOff x="859981" y="1588382"/>
            <a:chExt cx="6983912" cy="5327468"/>
          </a:xfrm>
        </p:grpSpPr>
        <p:sp>
          <p:nvSpPr>
            <p:cNvPr id="4" name="object 4"/>
            <p:cNvSpPr/>
            <p:nvPr/>
          </p:nvSpPr>
          <p:spPr>
            <a:xfrm>
              <a:off x="859981" y="1588382"/>
              <a:ext cx="6983912" cy="2304096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3307323" y="3852854"/>
              <a:ext cx="635" cy="40005"/>
            </a:xfrm>
            <a:custGeom>
              <a:avLst/>
              <a:gdLst/>
              <a:ahLst/>
              <a:cxnLst/>
              <a:rect l="l" t="t" r="r" b="b"/>
              <a:pathLst>
                <a:path w="635" h="40004">
                  <a:moveTo>
                    <a:pt x="0" y="0"/>
                  </a:moveTo>
                  <a:lnTo>
                    <a:pt x="0" y="39624"/>
                  </a:lnTo>
                  <a:lnTo>
                    <a:pt x="318" y="396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AE0E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3307699" y="2092787"/>
              <a:ext cx="792480" cy="1800225"/>
            </a:xfrm>
            <a:custGeom>
              <a:avLst/>
              <a:gdLst/>
              <a:ahLst/>
              <a:cxnLst/>
              <a:rect l="l" t="t" r="r" b="b"/>
              <a:pathLst>
                <a:path w="792479" h="1800225">
                  <a:moveTo>
                    <a:pt x="792043" y="0"/>
                  </a:moveTo>
                  <a:lnTo>
                    <a:pt x="747847" y="3048"/>
                  </a:lnTo>
                  <a:lnTo>
                    <a:pt x="690169" y="14903"/>
                  </a:lnTo>
                  <a:lnTo>
                    <a:pt x="633853" y="35617"/>
                  </a:lnTo>
                  <a:lnTo>
                    <a:pt x="579034" y="64855"/>
                  </a:lnTo>
                  <a:lnTo>
                    <a:pt x="525845" y="102281"/>
                  </a:lnTo>
                  <a:lnTo>
                    <a:pt x="474421" y="147562"/>
                  </a:lnTo>
                  <a:lnTo>
                    <a:pt x="424895" y="200361"/>
                  </a:lnTo>
                  <a:lnTo>
                    <a:pt x="377401" y="260345"/>
                  </a:lnTo>
                  <a:lnTo>
                    <a:pt x="354458" y="292927"/>
                  </a:lnTo>
                  <a:lnTo>
                    <a:pt x="332074" y="327179"/>
                  </a:lnTo>
                  <a:lnTo>
                    <a:pt x="310265" y="363060"/>
                  </a:lnTo>
                  <a:lnTo>
                    <a:pt x="289048" y="400528"/>
                  </a:lnTo>
                  <a:lnTo>
                    <a:pt x="268439" y="439541"/>
                  </a:lnTo>
                  <a:lnTo>
                    <a:pt x="248456" y="480057"/>
                  </a:lnTo>
                  <a:lnTo>
                    <a:pt x="229115" y="522035"/>
                  </a:lnTo>
                  <a:lnTo>
                    <a:pt x="210433" y="565432"/>
                  </a:lnTo>
                  <a:lnTo>
                    <a:pt x="192426" y="610207"/>
                  </a:lnTo>
                  <a:lnTo>
                    <a:pt x="175112" y="656318"/>
                  </a:lnTo>
                  <a:lnTo>
                    <a:pt x="158508" y="703723"/>
                  </a:lnTo>
                  <a:lnTo>
                    <a:pt x="142629" y="752380"/>
                  </a:lnTo>
                  <a:lnTo>
                    <a:pt x="127493" y="802247"/>
                  </a:lnTo>
                  <a:lnTo>
                    <a:pt x="113116" y="853283"/>
                  </a:lnTo>
                  <a:lnTo>
                    <a:pt x="99516" y="905445"/>
                  </a:lnTo>
                  <a:lnTo>
                    <a:pt x="86708" y="958693"/>
                  </a:lnTo>
                  <a:lnTo>
                    <a:pt x="74711" y="1012983"/>
                  </a:lnTo>
                  <a:lnTo>
                    <a:pt x="63539" y="1068274"/>
                  </a:lnTo>
                  <a:lnTo>
                    <a:pt x="53212" y="1124525"/>
                  </a:lnTo>
                  <a:lnTo>
                    <a:pt x="43744" y="1181693"/>
                  </a:lnTo>
                  <a:lnTo>
                    <a:pt x="35152" y="1239737"/>
                  </a:lnTo>
                  <a:lnTo>
                    <a:pt x="27455" y="1298614"/>
                  </a:lnTo>
                  <a:lnTo>
                    <a:pt x="20667" y="1358284"/>
                  </a:lnTo>
                  <a:lnTo>
                    <a:pt x="14807" y="1418703"/>
                  </a:lnTo>
                  <a:lnTo>
                    <a:pt x="9890" y="1479831"/>
                  </a:lnTo>
                  <a:lnTo>
                    <a:pt x="5934" y="1541625"/>
                  </a:lnTo>
                  <a:lnTo>
                    <a:pt x="2938" y="1604590"/>
                  </a:lnTo>
                  <a:lnTo>
                    <a:pt x="970" y="1667092"/>
                  </a:lnTo>
                  <a:lnTo>
                    <a:pt x="0" y="1730375"/>
                  </a:lnTo>
                  <a:lnTo>
                    <a:pt x="50" y="1794400"/>
                  </a:lnTo>
                  <a:lnTo>
                    <a:pt x="136" y="1799691"/>
                  </a:lnTo>
                  <a:lnTo>
                    <a:pt x="3188" y="1799691"/>
                  </a:lnTo>
                  <a:lnTo>
                    <a:pt x="3370" y="1794400"/>
                  </a:lnTo>
                  <a:lnTo>
                    <a:pt x="6621" y="1730375"/>
                  </a:lnTo>
                  <a:lnTo>
                    <a:pt x="10887" y="1667045"/>
                  </a:lnTo>
                  <a:lnTo>
                    <a:pt x="16192" y="1604044"/>
                  </a:lnTo>
                  <a:lnTo>
                    <a:pt x="22362" y="1542909"/>
                  </a:lnTo>
                  <a:lnTo>
                    <a:pt x="29542" y="1482089"/>
                  </a:lnTo>
                  <a:lnTo>
                    <a:pt x="37655" y="1422168"/>
                  </a:lnTo>
                  <a:lnTo>
                    <a:pt x="46684" y="1363187"/>
                  </a:lnTo>
                  <a:lnTo>
                    <a:pt x="56610" y="1305184"/>
                  </a:lnTo>
                  <a:lnTo>
                    <a:pt x="67413" y="1248201"/>
                  </a:lnTo>
                  <a:lnTo>
                    <a:pt x="79075" y="1192276"/>
                  </a:lnTo>
                  <a:lnTo>
                    <a:pt x="91577" y="1137448"/>
                  </a:lnTo>
                  <a:lnTo>
                    <a:pt x="104899" y="1083758"/>
                  </a:lnTo>
                  <a:lnTo>
                    <a:pt x="119023" y="1031244"/>
                  </a:lnTo>
                  <a:lnTo>
                    <a:pt x="133929" y="979947"/>
                  </a:lnTo>
                  <a:lnTo>
                    <a:pt x="149599" y="929906"/>
                  </a:lnTo>
                  <a:lnTo>
                    <a:pt x="166014" y="881161"/>
                  </a:lnTo>
                  <a:lnTo>
                    <a:pt x="183155" y="833751"/>
                  </a:lnTo>
                  <a:lnTo>
                    <a:pt x="201002" y="787715"/>
                  </a:lnTo>
                  <a:lnTo>
                    <a:pt x="219537" y="743093"/>
                  </a:lnTo>
                  <a:lnTo>
                    <a:pt x="238741" y="699926"/>
                  </a:lnTo>
                  <a:lnTo>
                    <a:pt x="258595" y="658252"/>
                  </a:lnTo>
                  <a:lnTo>
                    <a:pt x="279080" y="618110"/>
                  </a:lnTo>
                  <a:lnTo>
                    <a:pt x="300177" y="579541"/>
                  </a:lnTo>
                  <a:lnTo>
                    <a:pt x="321866" y="542585"/>
                  </a:lnTo>
                  <a:lnTo>
                    <a:pt x="344130" y="507279"/>
                  </a:lnTo>
                  <a:lnTo>
                    <a:pt x="366949" y="473665"/>
                  </a:lnTo>
                  <a:lnTo>
                    <a:pt x="390303" y="441782"/>
                  </a:lnTo>
                  <a:lnTo>
                    <a:pt x="414175" y="411669"/>
                  </a:lnTo>
                  <a:lnTo>
                    <a:pt x="463394" y="356912"/>
                  </a:lnTo>
                  <a:lnTo>
                    <a:pt x="514453" y="309711"/>
                  </a:lnTo>
                  <a:lnTo>
                    <a:pt x="567200" y="270382"/>
                  </a:lnTo>
                  <a:lnTo>
                    <a:pt x="621485" y="239242"/>
                  </a:lnTo>
                  <a:lnTo>
                    <a:pt x="677155" y="216607"/>
                  </a:lnTo>
                  <a:lnTo>
                    <a:pt x="734058" y="202794"/>
                  </a:lnTo>
                  <a:lnTo>
                    <a:pt x="792043" y="198120"/>
                  </a:lnTo>
                  <a:lnTo>
                    <a:pt x="792043" y="0"/>
                  </a:lnTo>
                  <a:close/>
                </a:path>
              </a:pathLst>
            </a:custGeom>
            <a:solidFill>
              <a:srgbClr val="95B3B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295132" y="2080595"/>
              <a:ext cx="818515" cy="1812289"/>
            </a:xfrm>
            <a:custGeom>
              <a:avLst/>
              <a:gdLst/>
              <a:ahLst/>
              <a:cxnLst/>
              <a:rect l="l" t="t" r="r" b="b"/>
              <a:pathLst>
                <a:path w="818514" h="1812289">
                  <a:moveTo>
                    <a:pt x="0" y="1772259"/>
                  </a:moveTo>
                  <a:lnTo>
                    <a:pt x="0" y="1811883"/>
                  </a:lnTo>
                  <a:lnTo>
                    <a:pt x="808" y="1811883"/>
                  </a:lnTo>
                  <a:lnTo>
                    <a:pt x="0" y="1772259"/>
                  </a:lnTo>
                  <a:close/>
                </a:path>
                <a:path w="818514" h="1812289">
                  <a:moveTo>
                    <a:pt x="807659" y="0"/>
                  </a:moveTo>
                  <a:lnTo>
                    <a:pt x="804611" y="0"/>
                  </a:lnTo>
                  <a:lnTo>
                    <a:pt x="761939" y="3048"/>
                  </a:lnTo>
                  <a:lnTo>
                    <a:pt x="720791" y="9144"/>
                  </a:lnTo>
                  <a:lnTo>
                    <a:pt x="679643" y="21336"/>
                  </a:lnTo>
                  <a:lnTo>
                    <a:pt x="640019" y="36576"/>
                  </a:lnTo>
                  <a:lnTo>
                    <a:pt x="600395" y="57912"/>
                  </a:lnTo>
                  <a:lnTo>
                    <a:pt x="562295" y="82296"/>
                  </a:lnTo>
                  <a:lnTo>
                    <a:pt x="524225" y="109728"/>
                  </a:lnTo>
                  <a:lnTo>
                    <a:pt x="487649" y="141732"/>
                  </a:lnTo>
                  <a:lnTo>
                    <a:pt x="452597" y="178308"/>
                  </a:lnTo>
                  <a:lnTo>
                    <a:pt x="417545" y="217932"/>
                  </a:lnTo>
                  <a:lnTo>
                    <a:pt x="384017" y="260604"/>
                  </a:lnTo>
                  <a:lnTo>
                    <a:pt x="352013" y="306324"/>
                  </a:lnTo>
                  <a:lnTo>
                    <a:pt x="320009" y="356585"/>
                  </a:lnTo>
                  <a:lnTo>
                    <a:pt x="289529" y="408401"/>
                  </a:lnTo>
                  <a:lnTo>
                    <a:pt x="260573" y="464789"/>
                  </a:lnTo>
                  <a:lnTo>
                    <a:pt x="233141" y="522701"/>
                  </a:lnTo>
                  <a:lnTo>
                    <a:pt x="207233" y="585185"/>
                  </a:lnTo>
                  <a:lnTo>
                    <a:pt x="181325" y="649163"/>
                  </a:lnTo>
                  <a:lnTo>
                    <a:pt x="158465" y="716219"/>
                  </a:lnTo>
                  <a:lnTo>
                    <a:pt x="135605" y="784799"/>
                  </a:lnTo>
                  <a:lnTo>
                    <a:pt x="115824" y="856427"/>
                  </a:lnTo>
                  <a:lnTo>
                    <a:pt x="96012" y="931103"/>
                  </a:lnTo>
                  <a:lnTo>
                    <a:pt x="79248" y="1007303"/>
                  </a:lnTo>
                  <a:lnTo>
                    <a:pt x="62484" y="1084996"/>
                  </a:lnTo>
                  <a:lnTo>
                    <a:pt x="48768" y="1165768"/>
                  </a:lnTo>
                  <a:lnTo>
                    <a:pt x="36576" y="1246540"/>
                  </a:lnTo>
                  <a:lnTo>
                    <a:pt x="25908" y="1330330"/>
                  </a:lnTo>
                  <a:lnTo>
                    <a:pt x="16764" y="1417198"/>
                  </a:lnTo>
                  <a:lnTo>
                    <a:pt x="9144" y="1504066"/>
                  </a:lnTo>
                  <a:lnTo>
                    <a:pt x="4572" y="1592458"/>
                  </a:lnTo>
                  <a:lnTo>
                    <a:pt x="1524" y="1680850"/>
                  </a:lnTo>
                  <a:lnTo>
                    <a:pt x="0" y="1772259"/>
                  </a:lnTo>
                  <a:lnTo>
                    <a:pt x="808" y="1811883"/>
                  </a:lnTo>
                  <a:lnTo>
                    <a:pt x="3573" y="1811883"/>
                  </a:lnTo>
                  <a:lnTo>
                    <a:pt x="4572" y="1782927"/>
                  </a:lnTo>
                  <a:lnTo>
                    <a:pt x="9144" y="1697614"/>
                  </a:lnTo>
                  <a:lnTo>
                    <a:pt x="16764" y="1613794"/>
                  </a:lnTo>
                  <a:lnTo>
                    <a:pt x="25908" y="1529974"/>
                  </a:lnTo>
                  <a:lnTo>
                    <a:pt x="35052" y="1449202"/>
                  </a:lnTo>
                  <a:lnTo>
                    <a:pt x="44375" y="1388600"/>
                  </a:lnTo>
                  <a:lnTo>
                    <a:pt x="50292" y="1333378"/>
                  </a:lnTo>
                  <a:lnTo>
                    <a:pt x="60960" y="1251112"/>
                  </a:lnTo>
                  <a:lnTo>
                    <a:pt x="73152" y="1168816"/>
                  </a:lnTo>
                  <a:lnTo>
                    <a:pt x="88392" y="1089568"/>
                  </a:lnTo>
                  <a:lnTo>
                    <a:pt x="103632" y="1011875"/>
                  </a:lnTo>
                  <a:lnTo>
                    <a:pt x="120365" y="935675"/>
                  </a:lnTo>
                  <a:lnTo>
                    <a:pt x="140177" y="862523"/>
                  </a:lnTo>
                  <a:lnTo>
                    <a:pt x="159989" y="792419"/>
                  </a:lnTo>
                  <a:lnTo>
                    <a:pt x="182849" y="723839"/>
                  </a:lnTo>
                  <a:lnTo>
                    <a:pt x="205709" y="656783"/>
                  </a:lnTo>
                  <a:lnTo>
                    <a:pt x="230093" y="594329"/>
                  </a:lnTo>
                  <a:lnTo>
                    <a:pt x="256001" y="533369"/>
                  </a:lnTo>
                  <a:lnTo>
                    <a:pt x="283433" y="475457"/>
                  </a:lnTo>
                  <a:lnTo>
                    <a:pt x="312389" y="420593"/>
                  </a:lnTo>
                  <a:lnTo>
                    <a:pt x="342869" y="368777"/>
                  </a:lnTo>
                  <a:lnTo>
                    <a:pt x="373349" y="320040"/>
                  </a:lnTo>
                  <a:lnTo>
                    <a:pt x="405353" y="274320"/>
                  </a:lnTo>
                  <a:lnTo>
                    <a:pt x="437357" y="233172"/>
                  </a:lnTo>
                  <a:lnTo>
                    <a:pt x="470885" y="195072"/>
                  </a:lnTo>
                  <a:lnTo>
                    <a:pt x="505937" y="160020"/>
                  </a:lnTo>
                  <a:lnTo>
                    <a:pt x="540989" y="129540"/>
                  </a:lnTo>
                  <a:lnTo>
                    <a:pt x="577535" y="102108"/>
                  </a:lnTo>
                  <a:lnTo>
                    <a:pt x="614111" y="79248"/>
                  </a:lnTo>
                  <a:lnTo>
                    <a:pt x="650687" y="59436"/>
                  </a:lnTo>
                  <a:lnTo>
                    <a:pt x="688787" y="44196"/>
                  </a:lnTo>
                  <a:lnTo>
                    <a:pt x="726887" y="33528"/>
                  </a:lnTo>
                  <a:lnTo>
                    <a:pt x="766511" y="27432"/>
                  </a:lnTo>
                  <a:lnTo>
                    <a:pt x="792419" y="26435"/>
                  </a:lnTo>
                  <a:lnTo>
                    <a:pt x="792419" y="12192"/>
                  </a:lnTo>
                  <a:lnTo>
                    <a:pt x="818327" y="12192"/>
                  </a:lnTo>
                  <a:lnTo>
                    <a:pt x="818327" y="9144"/>
                  </a:lnTo>
                  <a:lnTo>
                    <a:pt x="816803" y="6096"/>
                  </a:lnTo>
                  <a:lnTo>
                    <a:pt x="813755" y="3048"/>
                  </a:lnTo>
                  <a:lnTo>
                    <a:pt x="807659" y="0"/>
                  </a:lnTo>
                  <a:close/>
                </a:path>
                <a:path w="818514" h="1812289">
                  <a:moveTo>
                    <a:pt x="44375" y="1388600"/>
                  </a:moveTo>
                  <a:lnTo>
                    <a:pt x="35052" y="1449202"/>
                  </a:lnTo>
                  <a:lnTo>
                    <a:pt x="25908" y="1529974"/>
                  </a:lnTo>
                  <a:lnTo>
                    <a:pt x="16764" y="1613794"/>
                  </a:lnTo>
                  <a:lnTo>
                    <a:pt x="9144" y="1697614"/>
                  </a:lnTo>
                  <a:lnTo>
                    <a:pt x="4572" y="1782927"/>
                  </a:lnTo>
                  <a:lnTo>
                    <a:pt x="3573" y="1811883"/>
                  </a:lnTo>
                  <a:lnTo>
                    <a:pt x="25908" y="1811883"/>
                  </a:lnTo>
                  <a:lnTo>
                    <a:pt x="25908" y="1772259"/>
                  </a:lnTo>
                  <a:lnTo>
                    <a:pt x="27432" y="1682374"/>
                  </a:lnTo>
                  <a:lnTo>
                    <a:pt x="30480" y="1592458"/>
                  </a:lnTo>
                  <a:lnTo>
                    <a:pt x="35052" y="1505590"/>
                  </a:lnTo>
                  <a:lnTo>
                    <a:pt x="41148" y="1418722"/>
                  </a:lnTo>
                  <a:lnTo>
                    <a:pt x="44375" y="1388600"/>
                  </a:lnTo>
                  <a:close/>
                </a:path>
                <a:path w="818514" h="1812289">
                  <a:moveTo>
                    <a:pt x="25908" y="1772259"/>
                  </a:moveTo>
                  <a:lnTo>
                    <a:pt x="25908" y="1811883"/>
                  </a:lnTo>
                  <a:lnTo>
                    <a:pt x="26716" y="1811883"/>
                  </a:lnTo>
                  <a:lnTo>
                    <a:pt x="25908" y="1772259"/>
                  </a:lnTo>
                  <a:close/>
                </a:path>
                <a:path w="818514" h="1812289">
                  <a:moveTo>
                    <a:pt x="792419" y="198588"/>
                  </a:moveTo>
                  <a:lnTo>
                    <a:pt x="725363" y="205740"/>
                  </a:lnTo>
                  <a:lnTo>
                    <a:pt x="685739" y="216408"/>
                  </a:lnTo>
                  <a:lnTo>
                    <a:pt x="646115" y="231648"/>
                  </a:lnTo>
                  <a:lnTo>
                    <a:pt x="609539" y="249936"/>
                  </a:lnTo>
                  <a:lnTo>
                    <a:pt x="571439" y="272796"/>
                  </a:lnTo>
                  <a:lnTo>
                    <a:pt x="534893" y="300228"/>
                  </a:lnTo>
                  <a:lnTo>
                    <a:pt x="499841" y="329184"/>
                  </a:lnTo>
                  <a:lnTo>
                    <a:pt x="464789" y="362681"/>
                  </a:lnTo>
                  <a:lnTo>
                    <a:pt x="431261" y="399257"/>
                  </a:lnTo>
                  <a:lnTo>
                    <a:pt x="397733" y="438881"/>
                  </a:lnTo>
                  <a:lnTo>
                    <a:pt x="365729" y="483077"/>
                  </a:lnTo>
                  <a:lnTo>
                    <a:pt x="335249" y="528797"/>
                  </a:lnTo>
                  <a:lnTo>
                    <a:pt x="306293" y="579089"/>
                  </a:lnTo>
                  <a:lnTo>
                    <a:pt x="277337" y="630875"/>
                  </a:lnTo>
                  <a:lnTo>
                    <a:pt x="249905" y="685739"/>
                  </a:lnTo>
                  <a:lnTo>
                    <a:pt x="223997" y="743651"/>
                  </a:lnTo>
                  <a:lnTo>
                    <a:pt x="198089" y="804611"/>
                  </a:lnTo>
                  <a:lnTo>
                    <a:pt x="173705" y="867095"/>
                  </a:lnTo>
                  <a:lnTo>
                    <a:pt x="152369" y="932627"/>
                  </a:lnTo>
                  <a:lnTo>
                    <a:pt x="131033" y="999683"/>
                  </a:lnTo>
                  <a:lnTo>
                    <a:pt x="111252" y="1069756"/>
                  </a:lnTo>
                  <a:lnTo>
                    <a:pt x="92964" y="1141384"/>
                  </a:lnTo>
                  <a:lnTo>
                    <a:pt x="76200" y="1216060"/>
                  </a:lnTo>
                  <a:lnTo>
                    <a:pt x="60960" y="1292260"/>
                  </a:lnTo>
                  <a:lnTo>
                    <a:pt x="47244" y="1369954"/>
                  </a:lnTo>
                  <a:lnTo>
                    <a:pt x="41148" y="1418722"/>
                  </a:lnTo>
                  <a:lnTo>
                    <a:pt x="35052" y="1505590"/>
                  </a:lnTo>
                  <a:lnTo>
                    <a:pt x="30480" y="1592458"/>
                  </a:lnTo>
                  <a:lnTo>
                    <a:pt x="27432" y="1682374"/>
                  </a:lnTo>
                  <a:lnTo>
                    <a:pt x="25908" y="1772259"/>
                  </a:lnTo>
                  <a:lnTo>
                    <a:pt x="26716" y="1811883"/>
                  </a:lnTo>
                  <a:lnTo>
                    <a:pt x="29517" y="1811883"/>
                  </a:lnTo>
                  <a:lnTo>
                    <a:pt x="30480" y="1784451"/>
                  </a:lnTo>
                  <a:lnTo>
                    <a:pt x="35052" y="1700662"/>
                  </a:lnTo>
                  <a:lnTo>
                    <a:pt x="41148" y="1616842"/>
                  </a:lnTo>
                  <a:lnTo>
                    <a:pt x="50292" y="1534546"/>
                  </a:lnTo>
                  <a:lnTo>
                    <a:pt x="60960" y="1453774"/>
                  </a:lnTo>
                  <a:lnTo>
                    <a:pt x="73152" y="1374526"/>
                  </a:lnTo>
                  <a:lnTo>
                    <a:pt x="85344" y="1296832"/>
                  </a:lnTo>
                  <a:lnTo>
                    <a:pt x="100584" y="1220632"/>
                  </a:lnTo>
                  <a:lnTo>
                    <a:pt x="117348" y="1147480"/>
                  </a:lnTo>
                  <a:lnTo>
                    <a:pt x="135605" y="1075852"/>
                  </a:lnTo>
                  <a:lnTo>
                    <a:pt x="155417" y="1007303"/>
                  </a:lnTo>
                  <a:lnTo>
                    <a:pt x="176753" y="940247"/>
                  </a:lnTo>
                  <a:lnTo>
                    <a:pt x="198089" y="876239"/>
                  </a:lnTo>
                  <a:lnTo>
                    <a:pt x="220949" y="813755"/>
                  </a:lnTo>
                  <a:lnTo>
                    <a:pt x="246857" y="754319"/>
                  </a:lnTo>
                  <a:lnTo>
                    <a:pt x="272765" y="696407"/>
                  </a:lnTo>
                  <a:lnTo>
                    <a:pt x="298673" y="643067"/>
                  </a:lnTo>
                  <a:lnTo>
                    <a:pt x="327629" y="591281"/>
                  </a:lnTo>
                  <a:lnTo>
                    <a:pt x="356585" y="542513"/>
                  </a:lnTo>
                  <a:lnTo>
                    <a:pt x="387065" y="498317"/>
                  </a:lnTo>
                  <a:lnTo>
                    <a:pt x="417545" y="455645"/>
                  </a:lnTo>
                  <a:lnTo>
                    <a:pt x="449549" y="416021"/>
                  </a:lnTo>
                  <a:lnTo>
                    <a:pt x="483077" y="380969"/>
                  </a:lnTo>
                  <a:lnTo>
                    <a:pt x="515081" y="348965"/>
                  </a:lnTo>
                  <a:lnTo>
                    <a:pt x="550103" y="320040"/>
                  </a:lnTo>
                  <a:lnTo>
                    <a:pt x="585155" y="295656"/>
                  </a:lnTo>
                  <a:lnTo>
                    <a:pt x="620207" y="272796"/>
                  </a:lnTo>
                  <a:lnTo>
                    <a:pt x="655259" y="256032"/>
                  </a:lnTo>
                  <a:lnTo>
                    <a:pt x="691835" y="242316"/>
                  </a:lnTo>
                  <a:lnTo>
                    <a:pt x="729935" y="231648"/>
                  </a:lnTo>
                  <a:lnTo>
                    <a:pt x="806135" y="224028"/>
                  </a:lnTo>
                  <a:lnTo>
                    <a:pt x="812231" y="222504"/>
                  </a:lnTo>
                  <a:lnTo>
                    <a:pt x="818327" y="217932"/>
                  </a:lnTo>
                  <a:lnTo>
                    <a:pt x="818327" y="210312"/>
                  </a:lnTo>
                  <a:lnTo>
                    <a:pt x="792419" y="210312"/>
                  </a:lnTo>
                  <a:lnTo>
                    <a:pt x="792419" y="198588"/>
                  </a:lnTo>
                  <a:close/>
                </a:path>
                <a:path w="818514" h="1812289">
                  <a:moveTo>
                    <a:pt x="804611" y="198120"/>
                  </a:moveTo>
                  <a:lnTo>
                    <a:pt x="792419" y="198588"/>
                  </a:lnTo>
                  <a:lnTo>
                    <a:pt x="792419" y="210312"/>
                  </a:lnTo>
                  <a:lnTo>
                    <a:pt x="804611" y="198120"/>
                  </a:lnTo>
                  <a:close/>
                </a:path>
                <a:path w="818514" h="1812289">
                  <a:moveTo>
                    <a:pt x="818327" y="198120"/>
                  </a:moveTo>
                  <a:lnTo>
                    <a:pt x="804611" y="198120"/>
                  </a:lnTo>
                  <a:lnTo>
                    <a:pt x="792419" y="210312"/>
                  </a:lnTo>
                  <a:lnTo>
                    <a:pt x="818327" y="210312"/>
                  </a:lnTo>
                  <a:lnTo>
                    <a:pt x="818327" y="198120"/>
                  </a:lnTo>
                  <a:close/>
                </a:path>
                <a:path w="818514" h="1812289">
                  <a:moveTo>
                    <a:pt x="818327" y="12192"/>
                  </a:moveTo>
                  <a:lnTo>
                    <a:pt x="792419" y="12192"/>
                  </a:lnTo>
                  <a:lnTo>
                    <a:pt x="806135" y="25908"/>
                  </a:lnTo>
                  <a:lnTo>
                    <a:pt x="792419" y="26435"/>
                  </a:lnTo>
                  <a:lnTo>
                    <a:pt x="792419" y="198588"/>
                  </a:lnTo>
                  <a:lnTo>
                    <a:pt x="804611" y="198120"/>
                  </a:lnTo>
                  <a:lnTo>
                    <a:pt x="818327" y="198120"/>
                  </a:lnTo>
                  <a:lnTo>
                    <a:pt x="818327" y="12192"/>
                  </a:lnTo>
                  <a:close/>
                </a:path>
                <a:path w="818514" h="1812289">
                  <a:moveTo>
                    <a:pt x="792419" y="12192"/>
                  </a:moveTo>
                  <a:lnTo>
                    <a:pt x="792419" y="26435"/>
                  </a:lnTo>
                  <a:lnTo>
                    <a:pt x="806135" y="25908"/>
                  </a:lnTo>
                  <a:lnTo>
                    <a:pt x="792419" y="12192"/>
                  </a:lnTo>
                  <a:close/>
                </a:path>
              </a:pathLst>
            </a:custGeom>
            <a:solidFill>
              <a:srgbClr val="88A3A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859981" y="3892478"/>
              <a:ext cx="6983912" cy="487649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4316120" y="4325267"/>
              <a:ext cx="3485083" cy="2590583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307323" y="3892479"/>
              <a:ext cx="792480" cy="1961514"/>
            </a:xfrm>
            <a:custGeom>
              <a:avLst/>
              <a:gdLst/>
              <a:ahLst/>
              <a:cxnLst/>
              <a:rect l="l" t="t" r="r" b="b"/>
              <a:pathLst>
                <a:path w="792479" h="1961514">
                  <a:moveTo>
                    <a:pt x="318" y="0"/>
                  </a:moveTo>
                  <a:lnTo>
                    <a:pt x="0" y="0"/>
                  </a:lnTo>
                  <a:lnTo>
                    <a:pt x="0" y="158495"/>
                  </a:lnTo>
                  <a:lnTo>
                    <a:pt x="507" y="221559"/>
                  </a:lnTo>
                  <a:lnTo>
                    <a:pt x="2018" y="284162"/>
                  </a:lnTo>
                  <a:lnTo>
                    <a:pt x="4517" y="346259"/>
                  </a:lnTo>
                  <a:lnTo>
                    <a:pt x="7989" y="407807"/>
                  </a:lnTo>
                  <a:lnTo>
                    <a:pt x="12419" y="468763"/>
                  </a:lnTo>
                  <a:lnTo>
                    <a:pt x="17791" y="529083"/>
                  </a:lnTo>
                  <a:lnTo>
                    <a:pt x="24089" y="588722"/>
                  </a:lnTo>
                  <a:lnTo>
                    <a:pt x="31298" y="647639"/>
                  </a:lnTo>
                  <a:lnTo>
                    <a:pt x="39402" y="705788"/>
                  </a:lnTo>
                  <a:lnTo>
                    <a:pt x="48387" y="763127"/>
                  </a:lnTo>
                  <a:lnTo>
                    <a:pt x="58235" y="819611"/>
                  </a:lnTo>
                  <a:lnTo>
                    <a:pt x="68933" y="875197"/>
                  </a:lnTo>
                  <a:lnTo>
                    <a:pt x="80465" y="929841"/>
                  </a:lnTo>
                  <a:lnTo>
                    <a:pt x="92814" y="983500"/>
                  </a:lnTo>
                  <a:lnTo>
                    <a:pt x="105965" y="1036130"/>
                  </a:lnTo>
                  <a:lnTo>
                    <a:pt x="119904" y="1087687"/>
                  </a:lnTo>
                  <a:lnTo>
                    <a:pt x="134614" y="1138127"/>
                  </a:lnTo>
                  <a:lnTo>
                    <a:pt x="150080" y="1187408"/>
                  </a:lnTo>
                  <a:lnTo>
                    <a:pt x="166287" y="1235485"/>
                  </a:lnTo>
                  <a:lnTo>
                    <a:pt x="183219" y="1282315"/>
                  </a:lnTo>
                  <a:lnTo>
                    <a:pt x="200860" y="1327853"/>
                  </a:lnTo>
                  <a:lnTo>
                    <a:pt x="219195" y="1372057"/>
                  </a:lnTo>
                  <a:lnTo>
                    <a:pt x="238208" y="1414883"/>
                  </a:lnTo>
                  <a:lnTo>
                    <a:pt x="257885" y="1456286"/>
                  </a:lnTo>
                  <a:lnTo>
                    <a:pt x="278209" y="1496224"/>
                  </a:lnTo>
                  <a:lnTo>
                    <a:pt x="299165" y="1534653"/>
                  </a:lnTo>
                  <a:lnTo>
                    <a:pt x="320738" y="1571529"/>
                  </a:lnTo>
                  <a:lnTo>
                    <a:pt x="342912" y="1606808"/>
                  </a:lnTo>
                  <a:lnTo>
                    <a:pt x="365671" y="1640447"/>
                  </a:lnTo>
                  <a:lnTo>
                    <a:pt x="389001" y="1672402"/>
                  </a:lnTo>
                  <a:lnTo>
                    <a:pt x="412885" y="1702629"/>
                  </a:lnTo>
                  <a:lnTo>
                    <a:pt x="462254" y="1757726"/>
                  </a:lnTo>
                  <a:lnTo>
                    <a:pt x="513656" y="1805389"/>
                  </a:lnTo>
                  <a:lnTo>
                    <a:pt x="566967" y="1845269"/>
                  </a:lnTo>
                  <a:lnTo>
                    <a:pt x="594299" y="1862181"/>
                  </a:lnTo>
                  <a:lnTo>
                    <a:pt x="594299" y="1961229"/>
                  </a:lnTo>
                  <a:lnTo>
                    <a:pt x="792419" y="1819509"/>
                  </a:lnTo>
                  <a:lnTo>
                    <a:pt x="594299" y="1565025"/>
                  </a:lnTo>
                  <a:lnTo>
                    <a:pt x="594299" y="1664073"/>
                  </a:lnTo>
                  <a:lnTo>
                    <a:pt x="566967" y="1647162"/>
                  </a:lnTo>
                  <a:lnTo>
                    <a:pt x="513656" y="1607284"/>
                  </a:lnTo>
                  <a:lnTo>
                    <a:pt x="462254" y="1559621"/>
                  </a:lnTo>
                  <a:lnTo>
                    <a:pt x="412885" y="1504525"/>
                  </a:lnTo>
                  <a:lnTo>
                    <a:pt x="389001" y="1474298"/>
                  </a:lnTo>
                  <a:lnTo>
                    <a:pt x="365671" y="1442343"/>
                  </a:lnTo>
                  <a:lnTo>
                    <a:pt x="342912" y="1408704"/>
                  </a:lnTo>
                  <a:lnTo>
                    <a:pt x="320738" y="1373425"/>
                  </a:lnTo>
                  <a:lnTo>
                    <a:pt x="299165" y="1336550"/>
                  </a:lnTo>
                  <a:lnTo>
                    <a:pt x="278209" y="1298121"/>
                  </a:lnTo>
                  <a:lnTo>
                    <a:pt x="257885" y="1258183"/>
                  </a:lnTo>
                  <a:lnTo>
                    <a:pt x="238208" y="1216779"/>
                  </a:lnTo>
                  <a:lnTo>
                    <a:pt x="219195" y="1173953"/>
                  </a:lnTo>
                  <a:lnTo>
                    <a:pt x="200860" y="1129749"/>
                  </a:lnTo>
                  <a:lnTo>
                    <a:pt x="183219" y="1084210"/>
                  </a:lnTo>
                  <a:lnTo>
                    <a:pt x="166287" y="1037380"/>
                  </a:lnTo>
                  <a:lnTo>
                    <a:pt x="150080" y="989303"/>
                  </a:lnTo>
                  <a:lnTo>
                    <a:pt x="134614" y="940022"/>
                  </a:lnTo>
                  <a:lnTo>
                    <a:pt x="119904" y="889581"/>
                  </a:lnTo>
                  <a:lnTo>
                    <a:pt x="105965" y="838023"/>
                  </a:lnTo>
                  <a:lnTo>
                    <a:pt x="92814" y="785393"/>
                  </a:lnTo>
                  <a:lnTo>
                    <a:pt x="80465" y="731733"/>
                  </a:lnTo>
                  <a:lnTo>
                    <a:pt x="68933" y="677088"/>
                  </a:lnTo>
                  <a:lnTo>
                    <a:pt x="58235" y="621502"/>
                  </a:lnTo>
                  <a:lnTo>
                    <a:pt x="48387" y="565017"/>
                  </a:lnTo>
                  <a:lnTo>
                    <a:pt x="39402" y="507677"/>
                  </a:lnTo>
                  <a:lnTo>
                    <a:pt x="31298" y="449527"/>
                  </a:lnTo>
                  <a:lnTo>
                    <a:pt x="24089" y="390610"/>
                  </a:lnTo>
                  <a:lnTo>
                    <a:pt x="17791" y="330969"/>
                  </a:lnTo>
                  <a:lnTo>
                    <a:pt x="12419" y="270648"/>
                  </a:lnTo>
                  <a:lnTo>
                    <a:pt x="7989" y="209692"/>
                  </a:lnTo>
                  <a:lnTo>
                    <a:pt x="4517" y="148142"/>
                  </a:lnTo>
                  <a:lnTo>
                    <a:pt x="2018" y="86044"/>
                  </a:lnTo>
                  <a:lnTo>
                    <a:pt x="507" y="23440"/>
                  </a:lnTo>
                  <a:lnTo>
                    <a:pt x="318" y="0"/>
                  </a:lnTo>
                  <a:close/>
                </a:path>
              </a:pathLst>
            </a:custGeom>
            <a:solidFill>
              <a:srgbClr val="BAE0E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3307836" y="3892479"/>
              <a:ext cx="3175" cy="59690"/>
            </a:xfrm>
            <a:custGeom>
              <a:avLst/>
              <a:gdLst/>
              <a:ahLst/>
              <a:cxnLst/>
              <a:rect l="l" t="t" r="r" b="b"/>
              <a:pathLst>
                <a:path w="3175" h="59689">
                  <a:moveTo>
                    <a:pt x="3052" y="0"/>
                  </a:moveTo>
                  <a:lnTo>
                    <a:pt x="0" y="0"/>
                  </a:lnTo>
                  <a:lnTo>
                    <a:pt x="1011" y="59435"/>
                  </a:lnTo>
                  <a:lnTo>
                    <a:pt x="3052" y="0"/>
                  </a:lnTo>
                  <a:close/>
                </a:path>
              </a:pathLst>
            </a:custGeom>
            <a:solidFill>
              <a:srgbClr val="95B3B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3295132" y="3892479"/>
              <a:ext cx="818515" cy="1975485"/>
            </a:xfrm>
            <a:custGeom>
              <a:avLst/>
              <a:gdLst/>
              <a:ahLst/>
              <a:cxnLst/>
              <a:rect l="l" t="t" r="r" b="b"/>
              <a:pathLst>
                <a:path w="818514" h="1975485">
                  <a:moveTo>
                    <a:pt x="594299" y="1869075"/>
                  </a:moveTo>
                  <a:lnTo>
                    <a:pt x="594299" y="1965801"/>
                  </a:lnTo>
                  <a:lnTo>
                    <a:pt x="597347" y="1970373"/>
                  </a:lnTo>
                  <a:lnTo>
                    <a:pt x="601919" y="1971897"/>
                  </a:lnTo>
                  <a:lnTo>
                    <a:pt x="604967" y="1974945"/>
                  </a:lnTo>
                  <a:lnTo>
                    <a:pt x="611063" y="1973421"/>
                  </a:lnTo>
                  <a:lnTo>
                    <a:pt x="614111" y="1971897"/>
                  </a:lnTo>
                  <a:lnTo>
                    <a:pt x="628865" y="1961229"/>
                  </a:lnTo>
                  <a:lnTo>
                    <a:pt x="620207" y="1961229"/>
                  </a:lnTo>
                  <a:lnTo>
                    <a:pt x="598871" y="1950561"/>
                  </a:lnTo>
                  <a:lnTo>
                    <a:pt x="620207" y="1935299"/>
                  </a:lnTo>
                  <a:lnTo>
                    <a:pt x="620207" y="1872849"/>
                  </a:lnTo>
                  <a:lnTo>
                    <a:pt x="600395" y="1872849"/>
                  </a:lnTo>
                  <a:lnTo>
                    <a:pt x="594299" y="1869075"/>
                  </a:lnTo>
                  <a:close/>
                </a:path>
                <a:path w="818514" h="1975485">
                  <a:moveTo>
                    <a:pt x="620207" y="1935299"/>
                  </a:moveTo>
                  <a:lnTo>
                    <a:pt x="598871" y="1950561"/>
                  </a:lnTo>
                  <a:lnTo>
                    <a:pt x="620207" y="1961229"/>
                  </a:lnTo>
                  <a:lnTo>
                    <a:pt x="620207" y="1935299"/>
                  </a:lnTo>
                  <a:close/>
                </a:path>
                <a:path w="818514" h="1975485">
                  <a:moveTo>
                    <a:pt x="786867" y="1816083"/>
                  </a:moveTo>
                  <a:lnTo>
                    <a:pt x="620207" y="1935299"/>
                  </a:lnTo>
                  <a:lnTo>
                    <a:pt x="620207" y="1961229"/>
                  </a:lnTo>
                  <a:lnTo>
                    <a:pt x="628865" y="1961229"/>
                  </a:lnTo>
                  <a:lnTo>
                    <a:pt x="812231" y="1828653"/>
                  </a:lnTo>
                  <a:lnTo>
                    <a:pt x="815279" y="1827129"/>
                  </a:lnTo>
                  <a:lnTo>
                    <a:pt x="795467" y="1827129"/>
                  </a:lnTo>
                  <a:lnTo>
                    <a:pt x="786867" y="1816083"/>
                  </a:lnTo>
                  <a:close/>
                </a:path>
                <a:path w="818514" h="1975485">
                  <a:moveTo>
                    <a:pt x="594299" y="1862181"/>
                  </a:moveTo>
                  <a:lnTo>
                    <a:pt x="594299" y="1869075"/>
                  </a:lnTo>
                  <a:lnTo>
                    <a:pt x="600395" y="1872849"/>
                  </a:lnTo>
                  <a:lnTo>
                    <a:pt x="594299" y="1862181"/>
                  </a:lnTo>
                  <a:close/>
                </a:path>
                <a:path w="818514" h="1975485">
                  <a:moveTo>
                    <a:pt x="620207" y="1862181"/>
                  </a:moveTo>
                  <a:lnTo>
                    <a:pt x="594299" y="1862181"/>
                  </a:lnTo>
                  <a:lnTo>
                    <a:pt x="600395" y="1872849"/>
                  </a:lnTo>
                  <a:lnTo>
                    <a:pt x="620207" y="1872849"/>
                  </a:lnTo>
                  <a:lnTo>
                    <a:pt x="620207" y="1862181"/>
                  </a:lnTo>
                  <a:close/>
                </a:path>
                <a:path w="818514" h="1975485">
                  <a:moveTo>
                    <a:pt x="808" y="0"/>
                  </a:moveTo>
                  <a:lnTo>
                    <a:pt x="0" y="0"/>
                  </a:lnTo>
                  <a:lnTo>
                    <a:pt x="0" y="158495"/>
                  </a:lnTo>
                  <a:lnTo>
                    <a:pt x="3048" y="307817"/>
                  </a:lnTo>
                  <a:lnTo>
                    <a:pt x="12192" y="454121"/>
                  </a:lnTo>
                  <a:lnTo>
                    <a:pt x="25908" y="597377"/>
                  </a:lnTo>
                  <a:lnTo>
                    <a:pt x="44196" y="737554"/>
                  </a:lnTo>
                  <a:lnTo>
                    <a:pt x="68580" y="871663"/>
                  </a:lnTo>
                  <a:lnTo>
                    <a:pt x="96012" y="999667"/>
                  </a:lnTo>
                  <a:lnTo>
                    <a:pt x="112776" y="1062151"/>
                  </a:lnTo>
                  <a:lnTo>
                    <a:pt x="129509" y="1123099"/>
                  </a:lnTo>
                  <a:lnTo>
                    <a:pt x="147797" y="1182535"/>
                  </a:lnTo>
                  <a:lnTo>
                    <a:pt x="167609" y="1240435"/>
                  </a:lnTo>
                  <a:lnTo>
                    <a:pt x="187421" y="1295299"/>
                  </a:lnTo>
                  <a:lnTo>
                    <a:pt x="208757" y="1350163"/>
                  </a:lnTo>
                  <a:lnTo>
                    <a:pt x="230093" y="1401967"/>
                  </a:lnTo>
                  <a:lnTo>
                    <a:pt x="254477" y="1452259"/>
                  </a:lnTo>
                  <a:lnTo>
                    <a:pt x="303245" y="1546737"/>
                  </a:lnTo>
                  <a:lnTo>
                    <a:pt x="329153" y="1589409"/>
                  </a:lnTo>
                  <a:lnTo>
                    <a:pt x="356585" y="1630557"/>
                  </a:lnTo>
                  <a:lnTo>
                    <a:pt x="384017" y="1670169"/>
                  </a:lnTo>
                  <a:lnTo>
                    <a:pt x="412973" y="1706745"/>
                  </a:lnTo>
                  <a:lnTo>
                    <a:pt x="441929" y="1741797"/>
                  </a:lnTo>
                  <a:lnTo>
                    <a:pt x="472409" y="1773801"/>
                  </a:lnTo>
                  <a:lnTo>
                    <a:pt x="502889" y="1802745"/>
                  </a:lnTo>
                  <a:lnTo>
                    <a:pt x="534893" y="1828653"/>
                  </a:lnTo>
                  <a:lnTo>
                    <a:pt x="568391" y="1853037"/>
                  </a:lnTo>
                  <a:lnTo>
                    <a:pt x="594299" y="1869075"/>
                  </a:lnTo>
                  <a:lnTo>
                    <a:pt x="594299" y="1862181"/>
                  </a:lnTo>
                  <a:lnTo>
                    <a:pt x="620207" y="1862181"/>
                  </a:lnTo>
                  <a:lnTo>
                    <a:pt x="620207" y="1857609"/>
                  </a:lnTo>
                  <a:lnTo>
                    <a:pt x="617159" y="1853037"/>
                  </a:lnTo>
                  <a:lnTo>
                    <a:pt x="614111" y="1851513"/>
                  </a:lnTo>
                  <a:lnTo>
                    <a:pt x="580583" y="1830177"/>
                  </a:lnTo>
                  <a:lnTo>
                    <a:pt x="519653" y="1782945"/>
                  </a:lnTo>
                  <a:lnTo>
                    <a:pt x="489173" y="1755513"/>
                  </a:lnTo>
                  <a:lnTo>
                    <a:pt x="460217" y="1723509"/>
                  </a:lnTo>
                  <a:lnTo>
                    <a:pt x="431261" y="1689981"/>
                  </a:lnTo>
                  <a:lnTo>
                    <a:pt x="403829" y="1654941"/>
                  </a:lnTo>
                  <a:lnTo>
                    <a:pt x="376397" y="1616841"/>
                  </a:lnTo>
                  <a:lnTo>
                    <a:pt x="350489" y="1575693"/>
                  </a:lnTo>
                  <a:lnTo>
                    <a:pt x="324581" y="1533021"/>
                  </a:lnTo>
                  <a:lnTo>
                    <a:pt x="300197" y="1487311"/>
                  </a:lnTo>
                  <a:lnTo>
                    <a:pt x="277337" y="1440067"/>
                  </a:lnTo>
                  <a:lnTo>
                    <a:pt x="254477" y="1391299"/>
                  </a:lnTo>
                  <a:lnTo>
                    <a:pt x="231617" y="1339495"/>
                  </a:lnTo>
                  <a:lnTo>
                    <a:pt x="210281" y="1286155"/>
                  </a:lnTo>
                  <a:lnTo>
                    <a:pt x="190469" y="1231291"/>
                  </a:lnTo>
                  <a:lnTo>
                    <a:pt x="172181" y="1174915"/>
                  </a:lnTo>
                  <a:lnTo>
                    <a:pt x="153893" y="1115479"/>
                  </a:lnTo>
                  <a:lnTo>
                    <a:pt x="137129" y="1056055"/>
                  </a:lnTo>
                  <a:lnTo>
                    <a:pt x="120365" y="993571"/>
                  </a:lnTo>
                  <a:lnTo>
                    <a:pt x="92964" y="865567"/>
                  </a:lnTo>
                  <a:lnTo>
                    <a:pt x="68580" y="732982"/>
                  </a:lnTo>
                  <a:lnTo>
                    <a:pt x="50292" y="594329"/>
                  </a:lnTo>
                  <a:lnTo>
                    <a:pt x="45561" y="545452"/>
                  </a:lnTo>
                  <a:lnTo>
                    <a:pt x="44196" y="537941"/>
                  </a:lnTo>
                  <a:lnTo>
                    <a:pt x="25908" y="399257"/>
                  </a:lnTo>
                  <a:lnTo>
                    <a:pt x="12192" y="256001"/>
                  </a:lnTo>
                  <a:lnTo>
                    <a:pt x="3048" y="109727"/>
                  </a:lnTo>
                  <a:lnTo>
                    <a:pt x="2021" y="59435"/>
                  </a:lnTo>
                  <a:lnTo>
                    <a:pt x="1524" y="59435"/>
                  </a:lnTo>
                  <a:lnTo>
                    <a:pt x="1836" y="50369"/>
                  </a:lnTo>
                  <a:lnTo>
                    <a:pt x="808" y="0"/>
                  </a:lnTo>
                  <a:close/>
                </a:path>
                <a:path w="818514" h="1975485">
                  <a:moveTo>
                    <a:pt x="796991" y="1808841"/>
                  </a:moveTo>
                  <a:lnTo>
                    <a:pt x="786867" y="1816083"/>
                  </a:lnTo>
                  <a:lnTo>
                    <a:pt x="795467" y="1827129"/>
                  </a:lnTo>
                  <a:lnTo>
                    <a:pt x="796991" y="1808841"/>
                  </a:lnTo>
                  <a:close/>
                </a:path>
                <a:path w="818514" h="1975485">
                  <a:moveTo>
                    <a:pt x="814085" y="1808841"/>
                  </a:moveTo>
                  <a:lnTo>
                    <a:pt x="796991" y="1808841"/>
                  </a:lnTo>
                  <a:lnTo>
                    <a:pt x="795467" y="1827129"/>
                  </a:lnTo>
                  <a:lnTo>
                    <a:pt x="815279" y="1827129"/>
                  </a:lnTo>
                  <a:lnTo>
                    <a:pt x="818327" y="1821033"/>
                  </a:lnTo>
                  <a:lnTo>
                    <a:pt x="818327" y="1816461"/>
                  </a:lnTo>
                  <a:lnTo>
                    <a:pt x="815279" y="1810365"/>
                  </a:lnTo>
                  <a:lnTo>
                    <a:pt x="814085" y="1808841"/>
                  </a:lnTo>
                  <a:close/>
                </a:path>
                <a:path w="818514" h="1975485">
                  <a:moveTo>
                    <a:pt x="623127" y="1565025"/>
                  </a:moveTo>
                  <a:lnTo>
                    <a:pt x="620207" y="1565025"/>
                  </a:lnTo>
                  <a:lnTo>
                    <a:pt x="620207" y="1602009"/>
                  </a:lnTo>
                  <a:lnTo>
                    <a:pt x="786867" y="1816083"/>
                  </a:lnTo>
                  <a:lnTo>
                    <a:pt x="796991" y="1808841"/>
                  </a:lnTo>
                  <a:lnTo>
                    <a:pt x="814085" y="1808841"/>
                  </a:lnTo>
                  <a:lnTo>
                    <a:pt x="623127" y="1565025"/>
                  </a:lnTo>
                  <a:close/>
                </a:path>
                <a:path w="818514" h="1975485">
                  <a:moveTo>
                    <a:pt x="26716" y="0"/>
                  </a:moveTo>
                  <a:lnTo>
                    <a:pt x="25908" y="0"/>
                  </a:lnTo>
                  <a:lnTo>
                    <a:pt x="25908" y="158495"/>
                  </a:lnTo>
                  <a:lnTo>
                    <a:pt x="28956" y="306293"/>
                  </a:lnTo>
                  <a:lnTo>
                    <a:pt x="36576" y="452597"/>
                  </a:lnTo>
                  <a:lnTo>
                    <a:pt x="45561" y="545452"/>
                  </a:lnTo>
                  <a:lnTo>
                    <a:pt x="68580" y="672022"/>
                  </a:lnTo>
                  <a:lnTo>
                    <a:pt x="96012" y="801562"/>
                  </a:lnTo>
                  <a:lnTo>
                    <a:pt x="112776" y="864043"/>
                  </a:lnTo>
                  <a:lnTo>
                    <a:pt x="129509" y="925003"/>
                  </a:lnTo>
                  <a:lnTo>
                    <a:pt x="147797" y="984427"/>
                  </a:lnTo>
                  <a:lnTo>
                    <a:pt x="167609" y="1042339"/>
                  </a:lnTo>
                  <a:lnTo>
                    <a:pt x="187421" y="1097191"/>
                  </a:lnTo>
                  <a:lnTo>
                    <a:pt x="208757" y="1152055"/>
                  </a:lnTo>
                  <a:lnTo>
                    <a:pt x="230093" y="1203871"/>
                  </a:lnTo>
                  <a:lnTo>
                    <a:pt x="277337" y="1301395"/>
                  </a:lnTo>
                  <a:lnTo>
                    <a:pt x="303245" y="1347115"/>
                  </a:lnTo>
                  <a:lnTo>
                    <a:pt x="329153" y="1391299"/>
                  </a:lnTo>
                  <a:lnTo>
                    <a:pt x="356585" y="1432447"/>
                  </a:lnTo>
                  <a:lnTo>
                    <a:pt x="384017" y="1472071"/>
                  </a:lnTo>
                  <a:lnTo>
                    <a:pt x="412973" y="1508647"/>
                  </a:lnTo>
                  <a:lnTo>
                    <a:pt x="441929" y="1543689"/>
                  </a:lnTo>
                  <a:lnTo>
                    <a:pt x="502889" y="1604649"/>
                  </a:lnTo>
                  <a:lnTo>
                    <a:pt x="534893" y="1630557"/>
                  </a:lnTo>
                  <a:lnTo>
                    <a:pt x="566867" y="1653417"/>
                  </a:lnTo>
                  <a:lnTo>
                    <a:pt x="600395" y="1674741"/>
                  </a:lnTo>
                  <a:lnTo>
                    <a:pt x="603443" y="1677789"/>
                  </a:lnTo>
                  <a:lnTo>
                    <a:pt x="609539" y="1677789"/>
                  </a:lnTo>
                  <a:lnTo>
                    <a:pt x="612587" y="1674741"/>
                  </a:lnTo>
                  <a:lnTo>
                    <a:pt x="617159" y="1673217"/>
                  </a:lnTo>
                  <a:lnTo>
                    <a:pt x="620207" y="1668645"/>
                  </a:lnTo>
                  <a:lnTo>
                    <a:pt x="620207" y="1664073"/>
                  </a:lnTo>
                  <a:lnTo>
                    <a:pt x="594299" y="1664073"/>
                  </a:lnTo>
                  <a:lnTo>
                    <a:pt x="594299" y="1641153"/>
                  </a:lnTo>
                  <a:lnTo>
                    <a:pt x="550103" y="1610745"/>
                  </a:lnTo>
                  <a:lnTo>
                    <a:pt x="519653" y="1584837"/>
                  </a:lnTo>
                  <a:lnTo>
                    <a:pt x="490697" y="1557405"/>
                  </a:lnTo>
                  <a:lnTo>
                    <a:pt x="460217" y="1526925"/>
                  </a:lnTo>
                  <a:lnTo>
                    <a:pt x="432785" y="1493407"/>
                  </a:lnTo>
                  <a:lnTo>
                    <a:pt x="403829" y="1456831"/>
                  </a:lnTo>
                  <a:lnTo>
                    <a:pt x="377921" y="1418731"/>
                  </a:lnTo>
                  <a:lnTo>
                    <a:pt x="350489" y="1379107"/>
                  </a:lnTo>
                  <a:lnTo>
                    <a:pt x="326105" y="1334923"/>
                  </a:lnTo>
                  <a:lnTo>
                    <a:pt x="300197" y="1290727"/>
                  </a:lnTo>
                  <a:lnTo>
                    <a:pt x="277337" y="1243483"/>
                  </a:lnTo>
                  <a:lnTo>
                    <a:pt x="231617" y="1142911"/>
                  </a:lnTo>
                  <a:lnTo>
                    <a:pt x="210281" y="1089571"/>
                  </a:lnTo>
                  <a:lnTo>
                    <a:pt x="190469" y="1033195"/>
                  </a:lnTo>
                  <a:lnTo>
                    <a:pt x="172181" y="976807"/>
                  </a:lnTo>
                  <a:lnTo>
                    <a:pt x="153893" y="918907"/>
                  </a:lnTo>
                  <a:lnTo>
                    <a:pt x="120365" y="796990"/>
                  </a:lnTo>
                  <a:lnTo>
                    <a:pt x="92964" y="668974"/>
                  </a:lnTo>
                  <a:lnTo>
                    <a:pt x="68580" y="534893"/>
                  </a:lnTo>
                  <a:lnTo>
                    <a:pt x="50292" y="397733"/>
                  </a:lnTo>
                  <a:lnTo>
                    <a:pt x="36576" y="254477"/>
                  </a:lnTo>
                  <a:lnTo>
                    <a:pt x="28956" y="109727"/>
                  </a:lnTo>
                  <a:lnTo>
                    <a:pt x="27929" y="59435"/>
                  </a:lnTo>
                  <a:lnTo>
                    <a:pt x="27432" y="59435"/>
                  </a:lnTo>
                  <a:lnTo>
                    <a:pt x="27744" y="50369"/>
                  </a:lnTo>
                  <a:lnTo>
                    <a:pt x="26716" y="0"/>
                  </a:lnTo>
                  <a:close/>
                </a:path>
                <a:path w="818514" h="1975485">
                  <a:moveTo>
                    <a:pt x="594299" y="1641153"/>
                  </a:moveTo>
                  <a:lnTo>
                    <a:pt x="594299" y="1664073"/>
                  </a:lnTo>
                  <a:lnTo>
                    <a:pt x="614111" y="1653417"/>
                  </a:lnTo>
                  <a:lnTo>
                    <a:pt x="594299" y="1641153"/>
                  </a:lnTo>
                  <a:close/>
                </a:path>
                <a:path w="818514" h="1975485">
                  <a:moveTo>
                    <a:pt x="608015" y="1551309"/>
                  </a:moveTo>
                  <a:lnTo>
                    <a:pt x="603443" y="1552833"/>
                  </a:lnTo>
                  <a:lnTo>
                    <a:pt x="597347" y="1554357"/>
                  </a:lnTo>
                  <a:lnTo>
                    <a:pt x="594299" y="1558929"/>
                  </a:lnTo>
                  <a:lnTo>
                    <a:pt x="594299" y="1641153"/>
                  </a:lnTo>
                  <a:lnTo>
                    <a:pt x="614111" y="1653417"/>
                  </a:lnTo>
                  <a:lnTo>
                    <a:pt x="594299" y="1664073"/>
                  </a:lnTo>
                  <a:lnTo>
                    <a:pt x="620207" y="1664073"/>
                  </a:lnTo>
                  <a:lnTo>
                    <a:pt x="620207" y="1602009"/>
                  </a:lnTo>
                  <a:lnTo>
                    <a:pt x="597347" y="1572645"/>
                  </a:lnTo>
                  <a:lnTo>
                    <a:pt x="620207" y="1565025"/>
                  </a:lnTo>
                  <a:lnTo>
                    <a:pt x="623127" y="1565025"/>
                  </a:lnTo>
                  <a:lnTo>
                    <a:pt x="617159" y="1557405"/>
                  </a:lnTo>
                  <a:lnTo>
                    <a:pt x="614111" y="1552833"/>
                  </a:lnTo>
                  <a:lnTo>
                    <a:pt x="608015" y="1551309"/>
                  </a:lnTo>
                  <a:close/>
                </a:path>
                <a:path w="818514" h="1975485">
                  <a:moveTo>
                    <a:pt x="620207" y="1565025"/>
                  </a:moveTo>
                  <a:lnTo>
                    <a:pt x="597347" y="1572645"/>
                  </a:lnTo>
                  <a:lnTo>
                    <a:pt x="620207" y="1602009"/>
                  </a:lnTo>
                  <a:lnTo>
                    <a:pt x="620207" y="1565025"/>
                  </a:lnTo>
                  <a:close/>
                </a:path>
                <a:path w="818514" h="1975485">
                  <a:moveTo>
                    <a:pt x="25908" y="0"/>
                  </a:moveTo>
                  <a:lnTo>
                    <a:pt x="3573" y="0"/>
                  </a:lnTo>
                  <a:lnTo>
                    <a:pt x="1838" y="50468"/>
                  </a:lnTo>
                  <a:lnTo>
                    <a:pt x="3048" y="109727"/>
                  </a:lnTo>
                  <a:lnTo>
                    <a:pt x="12192" y="256001"/>
                  </a:lnTo>
                  <a:lnTo>
                    <a:pt x="25908" y="399257"/>
                  </a:lnTo>
                  <a:lnTo>
                    <a:pt x="44196" y="537941"/>
                  </a:lnTo>
                  <a:lnTo>
                    <a:pt x="45561" y="545452"/>
                  </a:lnTo>
                  <a:lnTo>
                    <a:pt x="36576" y="452597"/>
                  </a:lnTo>
                  <a:lnTo>
                    <a:pt x="28956" y="306293"/>
                  </a:lnTo>
                  <a:lnTo>
                    <a:pt x="25908" y="158495"/>
                  </a:lnTo>
                  <a:lnTo>
                    <a:pt x="25908" y="0"/>
                  </a:lnTo>
                  <a:close/>
                </a:path>
                <a:path w="818514" h="1975485">
                  <a:moveTo>
                    <a:pt x="1836" y="50369"/>
                  </a:moveTo>
                  <a:lnTo>
                    <a:pt x="1524" y="59435"/>
                  </a:lnTo>
                  <a:lnTo>
                    <a:pt x="2021" y="59435"/>
                  </a:lnTo>
                  <a:lnTo>
                    <a:pt x="1836" y="50369"/>
                  </a:lnTo>
                  <a:close/>
                </a:path>
                <a:path w="818514" h="1975485">
                  <a:moveTo>
                    <a:pt x="27746" y="50468"/>
                  </a:moveTo>
                  <a:lnTo>
                    <a:pt x="27432" y="59435"/>
                  </a:lnTo>
                  <a:lnTo>
                    <a:pt x="27929" y="59435"/>
                  </a:lnTo>
                  <a:lnTo>
                    <a:pt x="27746" y="50468"/>
                  </a:lnTo>
                  <a:close/>
                </a:path>
                <a:path w="818514" h="1975485">
                  <a:moveTo>
                    <a:pt x="29517" y="0"/>
                  </a:moveTo>
                  <a:lnTo>
                    <a:pt x="26716" y="0"/>
                  </a:lnTo>
                  <a:lnTo>
                    <a:pt x="27746" y="50468"/>
                  </a:lnTo>
                  <a:lnTo>
                    <a:pt x="29517" y="0"/>
                  </a:lnTo>
                  <a:close/>
                </a:path>
                <a:path w="818514" h="1975485">
                  <a:moveTo>
                    <a:pt x="3573" y="0"/>
                  </a:moveTo>
                  <a:lnTo>
                    <a:pt x="808" y="0"/>
                  </a:lnTo>
                  <a:lnTo>
                    <a:pt x="1836" y="50369"/>
                  </a:lnTo>
                  <a:lnTo>
                    <a:pt x="3573" y="0"/>
                  </a:lnTo>
                  <a:close/>
                </a:path>
              </a:pathLst>
            </a:custGeom>
            <a:solidFill>
              <a:srgbClr val="88A3A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331851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Base</a:t>
            </a:r>
            <a:r>
              <a:rPr spc="-10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Entitlement</a:t>
            </a:r>
          </a:p>
        </p:txBody>
      </p:sp>
      <p:grpSp>
        <p:nvGrpSpPr>
          <p:cNvPr id="3" name="object 3"/>
          <p:cNvGrpSpPr/>
          <p:nvPr/>
        </p:nvGrpSpPr>
        <p:grpSpPr>
          <a:xfrm>
            <a:off x="643591" y="1804787"/>
            <a:ext cx="8785225" cy="2087880"/>
            <a:chOff x="643591" y="1804787"/>
            <a:chExt cx="8785225" cy="2087880"/>
          </a:xfrm>
        </p:grpSpPr>
        <p:sp>
          <p:nvSpPr>
            <p:cNvPr id="4" name="object 4"/>
            <p:cNvSpPr/>
            <p:nvPr/>
          </p:nvSpPr>
          <p:spPr>
            <a:xfrm>
              <a:off x="643591" y="1804787"/>
              <a:ext cx="7372502" cy="1904841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3092439" y="1864205"/>
              <a:ext cx="6336273" cy="2028273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/>
          <p:nvPr/>
        </p:nvSpPr>
        <p:spPr>
          <a:xfrm>
            <a:off x="3092439" y="3892479"/>
            <a:ext cx="5899161" cy="297156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423989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Based on seniority </a:t>
            </a:r>
            <a:r>
              <a:rPr dirty="0">
                <a:solidFill>
                  <a:schemeClr val="accent1"/>
                </a:solidFill>
              </a:rPr>
              <a:t>-</a:t>
            </a:r>
            <a:r>
              <a:rPr spc="-125" dirty="0">
                <a:solidFill>
                  <a:schemeClr val="accent1"/>
                </a:solidFill>
              </a:rPr>
              <a:t> </a:t>
            </a:r>
            <a:r>
              <a:rPr dirty="0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4" name="object 4"/>
          <p:cNvSpPr/>
          <p:nvPr/>
        </p:nvSpPr>
        <p:spPr>
          <a:xfrm>
            <a:off x="2278706" y="1445139"/>
            <a:ext cx="5514898" cy="489621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423989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Based on seniority </a:t>
            </a:r>
            <a:r>
              <a:rPr dirty="0">
                <a:solidFill>
                  <a:schemeClr val="accent1"/>
                </a:solidFill>
              </a:rPr>
              <a:t>-</a:t>
            </a:r>
            <a:r>
              <a:rPr spc="-125" dirty="0">
                <a:solidFill>
                  <a:schemeClr val="accent1"/>
                </a:solidFill>
              </a:rPr>
              <a:t> </a:t>
            </a:r>
            <a:r>
              <a:rPr dirty="0">
                <a:solidFill>
                  <a:schemeClr val="accent1"/>
                </a:solidFill>
              </a:rPr>
              <a:t>2</a:t>
            </a:r>
          </a:p>
        </p:txBody>
      </p:sp>
      <p:sp>
        <p:nvSpPr>
          <p:cNvPr id="4" name="object 4"/>
          <p:cNvSpPr/>
          <p:nvPr/>
        </p:nvSpPr>
        <p:spPr>
          <a:xfrm>
            <a:off x="2207084" y="1435998"/>
            <a:ext cx="5658154" cy="491449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423989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Based on seniority </a:t>
            </a:r>
            <a:r>
              <a:rPr dirty="0">
                <a:solidFill>
                  <a:schemeClr val="accent1"/>
                </a:solidFill>
              </a:rPr>
              <a:t>-</a:t>
            </a:r>
            <a:r>
              <a:rPr spc="-125" dirty="0">
                <a:solidFill>
                  <a:schemeClr val="accent1"/>
                </a:solidFill>
              </a:rPr>
              <a:t> </a:t>
            </a:r>
            <a:r>
              <a:rPr dirty="0">
                <a:solidFill>
                  <a:schemeClr val="accent1"/>
                </a:solidFill>
              </a:rPr>
              <a:t>3</a:t>
            </a:r>
          </a:p>
        </p:txBody>
      </p:sp>
      <p:sp>
        <p:nvSpPr>
          <p:cNvPr id="3" name="object 3"/>
          <p:cNvSpPr/>
          <p:nvPr/>
        </p:nvSpPr>
        <p:spPr>
          <a:xfrm>
            <a:off x="716737" y="1588382"/>
            <a:ext cx="7486802" cy="252050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1081960" y="4279039"/>
            <a:ext cx="8011159" cy="24942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Arial"/>
                <a:cs typeface="Arial"/>
              </a:rPr>
              <a:t>It </a:t>
            </a:r>
            <a:r>
              <a:rPr sz="1800" spc="-10" dirty="0">
                <a:latin typeface="Arial"/>
                <a:cs typeface="Arial"/>
              </a:rPr>
              <a:t>defines </a:t>
            </a:r>
            <a:r>
              <a:rPr sz="1800" spc="-5" dirty="0">
                <a:latin typeface="Arial"/>
                <a:cs typeface="Arial"/>
              </a:rPr>
              <a:t>the constant </a:t>
            </a:r>
            <a:r>
              <a:rPr sz="1800" spc="-10" dirty="0">
                <a:latin typeface="Arial"/>
                <a:cs typeface="Arial"/>
              </a:rPr>
              <a:t>amount </a:t>
            </a:r>
            <a:r>
              <a:rPr sz="1800" spc="-5" dirty="0">
                <a:latin typeface="Arial"/>
                <a:cs typeface="Arial"/>
              </a:rPr>
              <a:t>for the </a:t>
            </a:r>
            <a:r>
              <a:rPr sz="1800" spc="-10" dirty="0">
                <a:latin typeface="Arial"/>
                <a:cs typeface="Arial"/>
              </a:rPr>
              <a:t>quota based </a:t>
            </a:r>
            <a:r>
              <a:rPr sz="1800" spc="-5" dirty="0">
                <a:latin typeface="Arial"/>
                <a:cs typeface="Arial"/>
              </a:rPr>
              <a:t>on </a:t>
            </a:r>
            <a:r>
              <a:rPr sz="1800" spc="-20" dirty="0">
                <a:latin typeface="Arial"/>
                <a:cs typeface="Arial"/>
              </a:rPr>
              <a:t>seniority. </a:t>
            </a:r>
            <a:r>
              <a:rPr sz="1800" dirty="0">
                <a:latin typeface="Arial"/>
                <a:cs typeface="Arial"/>
              </a:rPr>
              <a:t>In </a:t>
            </a:r>
            <a:r>
              <a:rPr sz="1800" spc="-5" dirty="0">
                <a:latin typeface="Arial"/>
                <a:cs typeface="Arial"/>
              </a:rPr>
              <a:t>the first  screen, that the </a:t>
            </a:r>
            <a:r>
              <a:rPr sz="1800" spc="-10" dirty="0">
                <a:latin typeface="Arial"/>
                <a:cs typeface="Arial"/>
              </a:rPr>
              <a:t>Sequential Number </a:t>
            </a:r>
            <a:r>
              <a:rPr sz="1800" spc="-5" dirty="0">
                <a:latin typeface="Arial"/>
                <a:cs typeface="Arial"/>
              </a:rPr>
              <a:t>is </a:t>
            </a:r>
            <a:r>
              <a:rPr sz="1800" spc="-10" dirty="0">
                <a:latin typeface="Arial"/>
                <a:cs typeface="Arial"/>
              </a:rPr>
              <a:t>001, </a:t>
            </a:r>
            <a:r>
              <a:rPr sz="1800" spc="-5" dirty="0">
                <a:latin typeface="Arial"/>
                <a:cs typeface="Arial"/>
              </a:rPr>
              <a:t>the Seniority is </a:t>
            </a:r>
            <a:r>
              <a:rPr sz="1800" spc="-10" dirty="0">
                <a:latin typeface="Arial"/>
                <a:cs typeface="Arial"/>
              </a:rPr>
              <a:t>000-003 years, and  </a:t>
            </a:r>
            <a:r>
              <a:rPr sz="1800" spc="-5" dirty="0">
                <a:latin typeface="Arial"/>
                <a:cs typeface="Arial"/>
              </a:rPr>
              <a:t>the </a:t>
            </a:r>
            <a:r>
              <a:rPr sz="1800" spc="-10" dirty="0">
                <a:latin typeface="Arial"/>
                <a:cs typeface="Arial"/>
              </a:rPr>
              <a:t>Constant </a:t>
            </a:r>
            <a:r>
              <a:rPr sz="1800" spc="-5" dirty="0">
                <a:latin typeface="Arial"/>
                <a:cs typeface="Arial"/>
              </a:rPr>
              <a:t>is </a:t>
            </a:r>
            <a:r>
              <a:rPr sz="1800" spc="-10" dirty="0">
                <a:latin typeface="Arial"/>
                <a:cs typeface="Arial"/>
              </a:rPr>
              <a:t>80.00 </a:t>
            </a:r>
            <a:r>
              <a:rPr sz="1800" spc="-5" dirty="0">
                <a:latin typeface="Arial"/>
                <a:cs typeface="Arial"/>
              </a:rPr>
              <a:t>hours. </a:t>
            </a:r>
            <a:r>
              <a:rPr sz="1800" dirty="0">
                <a:latin typeface="Arial"/>
                <a:cs typeface="Arial"/>
              </a:rPr>
              <a:t>In </a:t>
            </a:r>
            <a:r>
              <a:rPr sz="1800" spc="-5" dirty="0">
                <a:latin typeface="Arial"/>
                <a:cs typeface="Arial"/>
              </a:rPr>
              <a:t>the second screen, the </a:t>
            </a:r>
            <a:r>
              <a:rPr sz="1800" spc="-10" dirty="0">
                <a:latin typeface="Arial"/>
                <a:cs typeface="Arial"/>
              </a:rPr>
              <a:t>Sequential Number </a:t>
            </a:r>
            <a:r>
              <a:rPr sz="1800" spc="-5" dirty="0">
                <a:latin typeface="Arial"/>
                <a:cs typeface="Arial"/>
              </a:rPr>
              <a:t>is  </a:t>
            </a:r>
            <a:r>
              <a:rPr sz="1800" spc="-10" dirty="0">
                <a:latin typeface="Arial"/>
                <a:cs typeface="Arial"/>
              </a:rPr>
              <a:t>002, </a:t>
            </a:r>
            <a:r>
              <a:rPr sz="1800" spc="-5" dirty="0">
                <a:latin typeface="Arial"/>
                <a:cs typeface="Arial"/>
              </a:rPr>
              <a:t>the Seniority is </a:t>
            </a:r>
            <a:r>
              <a:rPr sz="1800" spc="-10" dirty="0">
                <a:latin typeface="Arial"/>
                <a:cs typeface="Arial"/>
              </a:rPr>
              <a:t>004-006 years, and </a:t>
            </a:r>
            <a:r>
              <a:rPr sz="1800" spc="-5" dirty="0">
                <a:latin typeface="Arial"/>
                <a:cs typeface="Arial"/>
              </a:rPr>
              <a:t>the </a:t>
            </a:r>
            <a:r>
              <a:rPr sz="1800" spc="-10" dirty="0">
                <a:latin typeface="Arial"/>
                <a:cs typeface="Arial"/>
              </a:rPr>
              <a:t>Constant </a:t>
            </a:r>
            <a:r>
              <a:rPr sz="1800" spc="-5" dirty="0">
                <a:latin typeface="Arial"/>
                <a:cs typeface="Arial"/>
              </a:rPr>
              <a:t>is </a:t>
            </a:r>
            <a:r>
              <a:rPr sz="1800" spc="-10" dirty="0">
                <a:latin typeface="Arial"/>
                <a:cs typeface="Arial"/>
              </a:rPr>
              <a:t>120.00 </a:t>
            </a:r>
            <a:r>
              <a:rPr sz="1800" spc="-5" dirty="0">
                <a:latin typeface="Arial"/>
                <a:cs typeface="Arial"/>
              </a:rPr>
              <a:t>hours. </a:t>
            </a:r>
            <a:r>
              <a:rPr sz="1800" dirty="0">
                <a:latin typeface="Arial"/>
                <a:cs typeface="Arial"/>
              </a:rPr>
              <a:t>In </a:t>
            </a:r>
            <a:r>
              <a:rPr sz="1800" spc="-5" dirty="0">
                <a:latin typeface="Arial"/>
                <a:cs typeface="Arial"/>
              </a:rPr>
              <a:t>the  third screen, the </a:t>
            </a:r>
            <a:r>
              <a:rPr sz="1800" spc="-10" dirty="0">
                <a:latin typeface="Arial"/>
                <a:cs typeface="Arial"/>
              </a:rPr>
              <a:t>Sequential Number </a:t>
            </a:r>
            <a:r>
              <a:rPr sz="1800" spc="-5" dirty="0">
                <a:latin typeface="Arial"/>
                <a:cs typeface="Arial"/>
              </a:rPr>
              <a:t>is </a:t>
            </a:r>
            <a:r>
              <a:rPr sz="1800" spc="-10" dirty="0">
                <a:latin typeface="Arial"/>
                <a:cs typeface="Arial"/>
              </a:rPr>
              <a:t>003, </a:t>
            </a:r>
            <a:r>
              <a:rPr sz="1800" spc="-5" dirty="0">
                <a:latin typeface="Arial"/>
                <a:cs typeface="Arial"/>
              </a:rPr>
              <a:t>the Seniority is </a:t>
            </a:r>
            <a:r>
              <a:rPr sz="1800" spc="-10" dirty="0">
                <a:latin typeface="Arial"/>
                <a:cs typeface="Arial"/>
              </a:rPr>
              <a:t>007-999 years, and  </a:t>
            </a:r>
            <a:r>
              <a:rPr sz="1800" spc="-5" dirty="0">
                <a:latin typeface="Arial"/>
                <a:cs typeface="Arial"/>
              </a:rPr>
              <a:t>the </a:t>
            </a:r>
            <a:r>
              <a:rPr sz="1800" spc="-10" dirty="0">
                <a:latin typeface="Arial"/>
                <a:cs typeface="Arial"/>
              </a:rPr>
              <a:t>Constant </a:t>
            </a:r>
            <a:r>
              <a:rPr sz="1800" spc="-5" dirty="0">
                <a:latin typeface="Arial"/>
                <a:cs typeface="Arial"/>
              </a:rPr>
              <a:t>is </a:t>
            </a:r>
            <a:r>
              <a:rPr sz="1800" spc="-10" dirty="0">
                <a:latin typeface="Arial"/>
                <a:cs typeface="Arial"/>
              </a:rPr>
              <a:t>200.00</a:t>
            </a:r>
            <a:r>
              <a:rPr sz="1800" spc="30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hours.</a:t>
            </a:r>
            <a:endParaRPr sz="1800">
              <a:latin typeface="Arial"/>
              <a:cs typeface="Arial"/>
            </a:endParaRPr>
          </a:p>
          <a:p>
            <a:pPr marL="12700" marR="48260">
              <a:lnSpc>
                <a:spcPts val="2160"/>
              </a:lnSpc>
              <a:spcBef>
                <a:spcPts val="70"/>
              </a:spcBef>
            </a:pPr>
            <a:r>
              <a:rPr sz="1800" dirty="0">
                <a:latin typeface="Arial"/>
                <a:cs typeface="Arial"/>
              </a:rPr>
              <a:t>In </a:t>
            </a:r>
            <a:r>
              <a:rPr sz="1800" spc="-5" dirty="0">
                <a:latin typeface="Arial"/>
                <a:cs typeface="Arial"/>
              </a:rPr>
              <a:t>the </a:t>
            </a:r>
            <a:r>
              <a:rPr sz="1800" spc="-10" dirty="0">
                <a:latin typeface="Arial"/>
                <a:cs typeface="Arial"/>
              </a:rPr>
              <a:t>Related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10" dirty="0">
                <a:latin typeface="Arial"/>
                <a:cs typeface="Arial"/>
              </a:rPr>
              <a:t>period </a:t>
            </a:r>
            <a:r>
              <a:rPr sz="1800" spc="-5" dirty="0">
                <a:latin typeface="Arial"/>
                <a:cs typeface="Arial"/>
              </a:rPr>
              <a:t>section, the </a:t>
            </a:r>
            <a:r>
              <a:rPr sz="1800" spc="-10" dirty="0">
                <a:latin typeface="Arial"/>
                <a:cs typeface="Arial"/>
              </a:rPr>
              <a:t>period </a:t>
            </a:r>
            <a:r>
              <a:rPr sz="1800" spc="-5" dirty="0">
                <a:latin typeface="Arial"/>
                <a:cs typeface="Arial"/>
              </a:rPr>
              <a:t>is set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10" dirty="0">
                <a:latin typeface="Arial"/>
                <a:cs typeface="Arial"/>
              </a:rPr>
              <a:t>Calendar </a:t>
            </a:r>
            <a:r>
              <a:rPr sz="1800" spc="-30" dirty="0">
                <a:latin typeface="Arial"/>
                <a:cs typeface="Arial"/>
              </a:rPr>
              <a:t>year. </a:t>
            </a:r>
            <a:r>
              <a:rPr sz="1800" dirty="0">
                <a:latin typeface="Arial"/>
                <a:cs typeface="Arial"/>
              </a:rPr>
              <a:t>This </a:t>
            </a:r>
            <a:r>
              <a:rPr sz="1800" spc="-10" dirty="0">
                <a:latin typeface="Arial"/>
                <a:cs typeface="Arial"/>
              </a:rPr>
              <a:t>means  </a:t>
            </a:r>
            <a:r>
              <a:rPr sz="1800" spc="-5" dirty="0">
                <a:latin typeface="Arial"/>
                <a:cs typeface="Arial"/>
              </a:rPr>
              <a:t>that the constant </a:t>
            </a:r>
            <a:r>
              <a:rPr sz="1800" spc="-10" dirty="0">
                <a:latin typeface="Arial"/>
                <a:cs typeface="Arial"/>
              </a:rPr>
              <a:t>entitlement amounts </a:t>
            </a:r>
            <a:r>
              <a:rPr sz="1800" spc="-5" dirty="0">
                <a:latin typeface="Arial"/>
                <a:cs typeface="Arial"/>
              </a:rPr>
              <a:t>are for the </a:t>
            </a:r>
            <a:r>
              <a:rPr sz="1800" spc="-10" dirty="0">
                <a:latin typeface="Arial"/>
                <a:cs typeface="Arial"/>
              </a:rPr>
              <a:t>calendar </a:t>
            </a:r>
            <a:r>
              <a:rPr sz="1800" spc="-30" dirty="0">
                <a:latin typeface="Arial"/>
                <a:cs typeface="Arial"/>
              </a:rPr>
              <a:t>year, </a:t>
            </a:r>
            <a:r>
              <a:rPr sz="1800" spc="-5" dirty="0">
                <a:latin typeface="Arial"/>
                <a:cs typeface="Arial"/>
              </a:rPr>
              <a:t>ie. </a:t>
            </a:r>
            <a:r>
              <a:rPr sz="1800" spc="-10" dirty="0">
                <a:latin typeface="Arial"/>
                <a:cs typeface="Arial"/>
              </a:rPr>
              <a:t>200 hours  per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spc="-30" dirty="0">
                <a:latin typeface="Arial"/>
                <a:cs typeface="Arial"/>
              </a:rPr>
              <a:t>year.</a:t>
            </a:r>
            <a:endParaRPr sz="18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812236" y="3856919"/>
            <a:ext cx="617156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>
                <a:solidFill>
                  <a:srgbClr val="FF0000"/>
                </a:solidFill>
                <a:latin typeface="Liberation Sans Narrow"/>
                <a:cs typeface="Liberation Sans Narrow"/>
              </a:rPr>
              <a:t>Validity Interval and Deduction</a:t>
            </a:r>
            <a:r>
              <a:rPr spc="-204" dirty="0">
                <a:solidFill>
                  <a:srgbClr val="FF0000"/>
                </a:solidFill>
                <a:latin typeface="Liberation Sans Narrow"/>
                <a:cs typeface="Liberation Sans Narrow"/>
              </a:rPr>
              <a:t> </a:t>
            </a:r>
            <a:r>
              <a:rPr dirty="0">
                <a:solidFill>
                  <a:srgbClr val="FF0000"/>
                </a:solidFill>
                <a:latin typeface="Liberation Sans Narrow"/>
                <a:cs typeface="Liberation Sans Narrow"/>
              </a:rPr>
              <a:t>Interval</a:t>
            </a:r>
          </a:p>
        </p:txBody>
      </p:sp>
    </p:spTree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47077" y="708599"/>
            <a:ext cx="302514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Validity</a:t>
            </a:r>
            <a:r>
              <a:rPr spc="-9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Interval</a:t>
            </a:r>
          </a:p>
        </p:txBody>
      </p:sp>
      <p:sp>
        <p:nvSpPr>
          <p:cNvPr id="4" name="object 4"/>
          <p:cNvSpPr/>
          <p:nvPr/>
        </p:nvSpPr>
        <p:spPr>
          <a:xfrm>
            <a:off x="463771" y="3892479"/>
            <a:ext cx="8756429" cy="3041721"/>
          </a:xfrm>
          <a:custGeom>
            <a:avLst/>
            <a:gdLst/>
            <a:ahLst/>
            <a:cxnLst/>
            <a:rect l="l" t="t" r="r" b="b"/>
            <a:pathLst>
              <a:path w="9143365" h="3429000">
                <a:moveTo>
                  <a:pt x="0" y="3428722"/>
                </a:moveTo>
                <a:lnTo>
                  <a:pt x="9143238" y="3428722"/>
                </a:lnTo>
                <a:lnTo>
                  <a:pt x="9143238" y="0"/>
                </a:lnTo>
                <a:lnTo>
                  <a:pt x="0" y="0"/>
                </a:lnTo>
                <a:lnTo>
                  <a:pt x="0" y="342872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938717" y="2217233"/>
            <a:ext cx="7761605" cy="31349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40335" indent="-128270">
              <a:lnSpc>
                <a:spcPct val="100000"/>
              </a:lnSpc>
              <a:spcBef>
                <a:spcPts val="100"/>
              </a:spcBef>
              <a:buChar char="•"/>
              <a:tabLst>
                <a:tab pos="140970" algn="l"/>
              </a:tabLst>
            </a:pPr>
            <a:r>
              <a:rPr sz="2000" spc="-20" dirty="0">
                <a:latin typeface="Liberation Sans Narrow"/>
                <a:cs typeface="Liberation Sans Narrow"/>
              </a:rPr>
              <a:t>Validity </a:t>
            </a:r>
            <a:r>
              <a:rPr sz="2000" spc="-5" dirty="0">
                <a:latin typeface="Liberation Sans Narrow"/>
                <a:cs typeface="Liberation Sans Narrow"/>
              </a:rPr>
              <a:t>Interval is the period for which the quota is to be</a:t>
            </a:r>
            <a:r>
              <a:rPr sz="2000" spc="-20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accrued.</a:t>
            </a:r>
            <a:endParaRPr sz="2000">
              <a:latin typeface="Liberation Sans Narrow"/>
              <a:cs typeface="Liberation Sans Narrow"/>
            </a:endParaRPr>
          </a:p>
          <a:p>
            <a:pPr>
              <a:lnSpc>
                <a:spcPct val="100000"/>
              </a:lnSpc>
              <a:buFont typeface="Liberation Sans Narrow"/>
              <a:buChar char="•"/>
            </a:pPr>
            <a:endParaRPr sz="2300">
              <a:latin typeface="Liberation Sans Narrow"/>
              <a:cs typeface="Liberation Sans Narrow"/>
            </a:endParaRPr>
          </a:p>
          <a:p>
            <a:pPr>
              <a:lnSpc>
                <a:spcPct val="100000"/>
              </a:lnSpc>
              <a:buFont typeface="Liberation Sans Narrow"/>
              <a:buChar char="•"/>
            </a:pPr>
            <a:endParaRPr sz="2300">
              <a:latin typeface="Liberation Sans Narrow"/>
              <a:cs typeface="Liberation Sans Narrow"/>
            </a:endParaRPr>
          </a:p>
          <a:p>
            <a:pPr marL="12700" marR="5080">
              <a:lnSpc>
                <a:spcPct val="120000"/>
              </a:lnSpc>
              <a:spcBef>
                <a:spcPts val="5"/>
              </a:spcBef>
              <a:buChar char="•"/>
              <a:tabLst>
                <a:tab pos="140970" algn="l"/>
              </a:tabLst>
            </a:pPr>
            <a:r>
              <a:rPr sz="2000" spc="-15" dirty="0">
                <a:latin typeface="Liberation Sans Narrow"/>
                <a:cs typeface="Liberation Sans Narrow"/>
              </a:rPr>
              <a:t>We </a:t>
            </a:r>
            <a:r>
              <a:rPr sz="2000" spc="-5" dirty="0">
                <a:latin typeface="Liberation Sans Narrow"/>
                <a:cs typeface="Liberation Sans Narrow"/>
              </a:rPr>
              <a:t>may specify </a:t>
            </a:r>
            <a:r>
              <a:rPr sz="2000" spc="-10" dirty="0">
                <a:latin typeface="Liberation Sans Narrow"/>
                <a:cs typeface="Liberation Sans Narrow"/>
              </a:rPr>
              <a:t>validity </a:t>
            </a:r>
            <a:r>
              <a:rPr sz="2000" spc="-5" dirty="0">
                <a:latin typeface="Liberation Sans Narrow"/>
                <a:cs typeface="Liberation Sans Narrow"/>
              </a:rPr>
              <a:t>interval as start of calendar year to end of calendar year or  </a:t>
            </a:r>
            <a:r>
              <a:rPr sz="2000" spc="-15" dirty="0">
                <a:latin typeface="Liberation Sans Narrow"/>
                <a:cs typeface="Liberation Sans Narrow"/>
              </a:rPr>
              <a:t>alternatively, </a:t>
            </a:r>
            <a:r>
              <a:rPr sz="2000" spc="-5" dirty="0">
                <a:latin typeface="Liberation Sans Narrow"/>
                <a:cs typeface="Liberation Sans Narrow"/>
              </a:rPr>
              <a:t>other periods can also be </a:t>
            </a:r>
            <a:r>
              <a:rPr sz="2000" spc="-10" dirty="0">
                <a:latin typeface="Liberation Sans Narrow"/>
                <a:cs typeface="Liberation Sans Narrow"/>
              </a:rPr>
              <a:t>specified </a:t>
            </a:r>
            <a:r>
              <a:rPr sz="2000" spc="-5" dirty="0">
                <a:latin typeface="Liberation Sans Narrow"/>
                <a:cs typeface="Liberation Sans Narrow"/>
              </a:rPr>
              <a:t>as </a:t>
            </a:r>
            <a:r>
              <a:rPr sz="2000" spc="-10" dirty="0">
                <a:latin typeface="Liberation Sans Narrow"/>
                <a:cs typeface="Liberation Sans Narrow"/>
              </a:rPr>
              <a:t>validity</a:t>
            </a:r>
            <a:r>
              <a:rPr sz="2000" spc="55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interval.</a:t>
            </a:r>
            <a:endParaRPr sz="2000">
              <a:latin typeface="Liberation Sans Narrow"/>
              <a:cs typeface="Liberation Sans Narrow"/>
            </a:endParaRPr>
          </a:p>
          <a:p>
            <a:pPr>
              <a:lnSpc>
                <a:spcPct val="100000"/>
              </a:lnSpc>
              <a:buFont typeface="Liberation Sans Narrow"/>
              <a:buChar char="•"/>
            </a:pPr>
            <a:endParaRPr sz="2300">
              <a:latin typeface="Liberation Sans Narrow"/>
              <a:cs typeface="Liberation Sans Narrow"/>
            </a:endParaRPr>
          </a:p>
          <a:p>
            <a:pPr>
              <a:lnSpc>
                <a:spcPct val="100000"/>
              </a:lnSpc>
              <a:buFont typeface="Liberation Sans Narrow"/>
              <a:buChar char="•"/>
            </a:pPr>
            <a:endParaRPr sz="2300">
              <a:latin typeface="Liberation Sans Narrow"/>
              <a:cs typeface="Liberation Sans Narrow"/>
            </a:endParaRPr>
          </a:p>
          <a:p>
            <a:pPr marL="12700" marR="340995">
              <a:lnSpc>
                <a:spcPct val="120000"/>
              </a:lnSpc>
              <a:buChar char="•"/>
              <a:tabLst>
                <a:tab pos="140970" algn="l"/>
              </a:tabLst>
            </a:pPr>
            <a:r>
              <a:rPr sz="2000" spc="-5" dirty="0">
                <a:latin typeface="Liberation Sans Narrow"/>
                <a:cs typeface="Liberation Sans Narrow"/>
              </a:rPr>
              <a:t>While </a:t>
            </a:r>
            <a:r>
              <a:rPr sz="2000" spc="-10" dirty="0">
                <a:latin typeface="Liberation Sans Narrow"/>
                <a:cs typeface="Liberation Sans Narrow"/>
              </a:rPr>
              <a:t>giving </a:t>
            </a:r>
            <a:r>
              <a:rPr sz="2000" spc="-5" dirty="0">
                <a:latin typeface="Liberation Sans Narrow"/>
                <a:cs typeface="Liberation Sans Narrow"/>
              </a:rPr>
              <a:t>the </a:t>
            </a:r>
            <a:r>
              <a:rPr sz="2000" spc="-10" dirty="0">
                <a:latin typeface="Liberation Sans Narrow"/>
                <a:cs typeface="Liberation Sans Narrow"/>
              </a:rPr>
              <a:t>validity </a:t>
            </a:r>
            <a:r>
              <a:rPr sz="2000" spc="-5" dirty="0">
                <a:latin typeface="Liberation Sans Narrow"/>
                <a:cs typeface="Liberation Sans Narrow"/>
              </a:rPr>
              <a:t>interval, the quota type </a:t>
            </a:r>
            <a:r>
              <a:rPr sz="2000" spc="-10" dirty="0">
                <a:latin typeface="Liberation Sans Narrow"/>
                <a:cs typeface="Liberation Sans Narrow"/>
              </a:rPr>
              <a:t>selection </a:t>
            </a:r>
            <a:r>
              <a:rPr sz="2000" spc="-5" dirty="0">
                <a:latin typeface="Liberation Sans Narrow"/>
                <a:cs typeface="Liberation Sans Narrow"/>
              </a:rPr>
              <a:t>rule group will also be  </a:t>
            </a:r>
            <a:r>
              <a:rPr sz="2000" spc="-10" dirty="0">
                <a:latin typeface="Liberation Sans Narrow"/>
                <a:cs typeface="Liberation Sans Narrow"/>
              </a:rPr>
              <a:t>specified.</a:t>
            </a:r>
            <a:endParaRPr sz="2000">
              <a:latin typeface="Liberation Sans Narrow"/>
              <a:cs typeface="Liberation Sans Narrow"/>
            </a:endParaRPr>
          </a:p>
        </p:txBody>
      </p:sp>
    </p:spTree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47277" y="734507"/>
            <a:ext cx="3564254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Deduction</a:t>
            </a:r>
            <a:r>
              <a:rPr spc="-105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Interval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081960" y="2119710"/>
            <a:ext cx="5647055" cy="12452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40335" indent="-128270">
              <a:lnSpc>
                <a:spcPct val="100000"/>
              </a:lnSpc>
              <a:spcBef>
                <a:spcPts val="100"/>
              </a:spcBef>
              <a:buChar char="•"/>
              <a:tabLst>
                <a:tab pos="140970" algn="l"/>
              </a:tabLst>
            </a:pPr>
            <a:r>
              <a:rPr sz="2000" spc="-5" dirty="0">
                <a:latin typeface="Liberation Sans Narrow"/>
                <a:cs typeface="Liberation Sans Narrow"/>
              </a:rPr>
              <a:t>Deduction interval is the period in which quota can be</a:t>
            </a:r>
            <a:r>
              <a:rPr sz="2000" spc="-20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used.</a:t>
            </a:r>
            <a:endParaRPr sz="2000">
              <a:latin typeface="Liberation Sans Narrow"/>
              <a:cs typeface="Liberation Sans Narrow"/>
            </a:endParaRPr>
          </a:p>
          <a:p>
            <a:pPr>
              <a:lnSpc>
                <a:spcPct val="100000"/>
              </a:lnSpc>
              <a:buFont typeface="Liberation Sans Narrow"/>
              <a:buChar char="•"/>
            </a:pPr>
            <a:endParaRPr sz="2300">
              <a:latin typeface="Liberation Sans Narrow"/>
              <a:cs typeface="Liberation Sans Narrow"/>
            </a:endParaRPr>
          </a:p>
          <a:p>
            <a:pPr>
              <a:lnSpc>
                <a:spcPct val="100000"/>
              </a:lnSpc>
              <a:spcBef>
                <a:spcPts val="40"/>
              </a:spcBef>
              <a:buFont typeface="Liberation Sans Narrow"/>
              <a:buChar char="•"/>
            </a:pPr>
            <a:endParaRPr sz="1850">
              <a:latin typeface="Liberation Sans Narrow"/>
              <a:cs typeface="Liberation Sans Narrow"/>
            </a:endParaRPr>
          </a:p>
          <a:p>
            <a:pPr marL="140335" indent="-128270">
              <a:lnSpc>
                <a:spcPct val="100000"/>
              </a:lnSpc>
              <a:buChar char="•"/>
              <a:tabLst>
                <a:tab pos="140970" algn="l"/>
              </a:tabLst>
            </a:pPr>
            <a:r>
              <a:rPr sz="2000" spc="-5" dirty="0">
                <a:latin typeface="Liberation Sans Narrow"/>
                <a:cs typeface="Liberation Sans Narrow"/>
              </a:rPr>
              <a:t>Different quotas can have different deduction</a:t>
            </a:r>
            <a:r>
              <a:rPr sz="2000" spc="-65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intervals</a:t>
            </a:r>
            <a:endParaRPr sz="2000">
              <a:latin typeface="Liberation Sans Narrow"/>
              <a:cs typeface="Liberation Sans Narrow"/>
            </a:endParaRPr>
          </a:p>
        </p:txBody>
      </p:sp>
    </p:spTree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384025"/>
            <a:ext cx="4401185" cy="10013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Determine Validity</a:t>
            </a:r>
            <a:r>
              <a:rPr spc="-95" dirty="0"/>
              <a:t> </a:t>
            </a:r>
            <a:r>
              <a:rPr spc="-5" dirty="0"/>
              <a:t>and  </a:t>
            </a:r>
            <a:r>
              <a:rPr spc="-5" dirty="0">
                <a:solidFill>
                  <a:schemeClr val="accent1"/>
                </a:solidFill>
              </a:rPr>
              <a:t>Deduction</a:t>
            </a:r>
            <a:r>
              <a:rPr spc="-6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Periods</a:t>
            </a:r>
          </a:p>
        </p:txBody>
      </p:sp>
      <p:grpSp>
        <p:nvGrpSpPr>
          <p:cNvPr id="3" name="object 3"/>
          <p:cNvGrpSpPr/>
          <p:nvPr/>
        </p:nvGrpSpPr>
        <p:grpSpPr>
          <a:xfrm>
            <a:off x="716737" y="1949540"/>
            <a:ext cx="7066208" cy="5028791"/>
            <a:chOff x="716737" y="1949540"/>
            <a:chExt cx="7066208" cy="5028791"/>
          </a:xfrm>
        </p:grpSpPr>
        <p:sp>
          <p:nvSpPr>
            <p:cNvPr id="4" name="object 4"/>
            <p:cNvSpPr/>
            <p:nvPr/>
          </p:nvSpPr>
          <p:spPr>
            <a:xfrm>
              <a:off x="716737" y="1949540"/>
              <a:ext cx="7066208" cy="1589400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864043" y="2813578"/>
              <a:ext cx="429259" cy="1079500"/>
            </a:xfrm>
            <a:custGeom>
              <a:avLst/>
              <a:gdLst/>
              <a:ahLst/>
              <a:cxnLst/>
              <a:rect l="l" t="t" r="r" b="b"/>
              <a:pathLst>
                <a:path w="429259" h="1079500">
                  <a:moveTo>
                    <a:pt x="428714" y="0"/>
                  </a:moveTo>
                  <a:lnTo>
                    <a:pt x="408902" y="0"/>
                  </a:lnTo>
                  <a:lnTo>
                    <a:pt x="385313" y="4875"/>
                  </a:lnTo>
                  <a:lnTo>
                    <a:pt x="339326" y="25292"/>
                  </a:lnTo>
                  <a:lnTo>
                    <a:pt x="295135" y="59269"/>
                  </a:lnTo>
                  <a:lnTo>
                    <a:pt x="252989" y="106012"/>
                  </a:lnTo>
                  <a:lnTo>
                    <a:pt x="213138" y="164728"/>
                  </a:lnTo>
                  <a:lnTo>
                    <a:pt x="194151" y="198328"/>
                  </a:lnTo>
                  <a:lnTo>
                    <a:pt x="175831" y="234624"/>
                  </a:lnTo>
                  <a:lnTo>
                    <a:pt x="158209" y="273516"/>
                  </a:lnTo>
                  <a:lnTo>
                    <a:pt x="141316" y="314905"/>
                  </a:lnTo>
                  <a:lnTo>
                    <a:pt x="125184" y="358692"/>
                  </a:lnTo>
                  <a:lnTo>
                    <a:pt x="109844" y="404778"/>
                  </a:lnTo>
                  <a:lnTo>
                    <a:pt x="95327" y="453063"/>
                  </a:lnTo>
                  <a:lnTo>
                    <a:pt x="81663" y="503449"/>
                  </a:lnTo>
                  <a:lnTo>
                    <a:pt x="68885" y="555835"/>
                  </a:lnTo>
                  <a:lnTo>
                    <a:pt x="57024" y="610124"/>
                  </a:lnTo>
                  <a:lnTo>
                    <a:pt x="46109" y="666216"/>
                  </a:lnTo>
                  <a:lnTo>
                    <a:pt x="36174" y="724010"/>
                  </a:lnTo>
                  <a:lnTo>
                    <a:pt x="27248" y="783410"/>
                  </a:lnTo>
                  <a:lnTo>
                    <a:pt x="19363" y="844314"/>
                  </a:lnTo>
                  <a:lnTo>
                    <a:pt x="12550" y="906624"/>
                  </a:lnTo>
                  <a:lnTo>
                    <a:pt x="6841" y="970241"/>
                  </a:lnTo>
                  <a:lnTo>
                    <a:pt x="2266" y="1035065"/>
                  </a:lnTo>
                  <a:lnTo>
                    <a:pt x="0" y="1078900"/>
                  </a:lnTo>
                  <a:lnTo>
                    <a:pt x="6759" y="1078900"/>
                  </a:lnTo>
                  <a:lnTo>
                    <a:pt x="10248" y="1036725"/>
                  </a:lnTo>
                  <a:lnTo>
                    <a:pt x="16778" y="973033"/>
                  </a:lnTo>
                  <a:lnTo>
                    <a:pt x="24420" y="910826"/>
                  </a:lnTo>
                  <a:lnTo>
                    <a:pt x="33140" y="850200"/>
                  </a:lnTo>
                  <a:lnTo>
                    <a:pt x="42904" y="791249"/>
                  </a:lnTo>
                  <a:lnTo>
                    <a:pt x="53679" y="734068"/>
                  </a:lnTo>
                  <a:lnTo>
                    <a:pt x="65429" y="678752"/>
                  </a:lnTo>
                  <a:lnTo>
                    <a:pt x="78121" y="625396"/>
                  </a:lnTo>
                  <a:lnTo>
                    <a:pt x="91720" y="574094"/>
                  </a:lnTo>
                  <a:lnTo>
                    <a:pt x="106193" y="524942"/>
                  </a:lnTo>
                  <a:lnTo>
                    <a:pt x="121505" y="478034"/>
                  </a:lnTo>
                  <a:lnTo>
                    <a:pt x="137623" y="433464"/>
                  </a:lnTo>
                  <a:lnTo>
                    <a:pt x="154512" y="391329"/>
                  </a:lnTo>
                  <a:lnTo>
                    <a:pt x="172137" y="351723"/>
                  </a:lnTo>
                  <a:lnTo>
                    <a:pt x="190466" y="314740"/>
                  </a:lnTo>
                  <a:lnTo>
                    <a:pt x="209463" y="280475"/>
                  </a:lnTo>
                  <a:lnTo>
                    <a:pt x="249328" y="220480"/>
                  </a:lnTo>
                  <a:lnTo>
                    <a:pt x="291458" y="172497"/>
                  </a:lnTo>
                  <a:lnTo>
                    <a:pt x="335581" y="137284"/>
                  </a:lnTo>
                  <a:lnTo>
                    <a:pt x="381424" y="115600"/>
                  </a:lnTo>
                  <a:lnTo>
                    <a:pt x="428714" y="108204"/>
                  </a:lnTo>
                  <a:lnTo>
                    <a:pt x="428714" y="0"/>
                  </a:lnTo>
                  <a:close/>
                </a:path>
              </a:pathLst>
            </a:custGeom>
            <a:solidFill>
              <a:srgbClr val="95B3B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851414" y="2799862"/>
              <a:ext cx="454025" cy="1092835"/>
            </a:xfrm>
            <a:custGeom>
              <a:avLst/>
              <a:gdLst/>
              <a:ahLst/>
              <a:cxnLst/>
              <a:rect l="l" t="t" r="r" b="b"/>
              <a:pathLst>
                <a:path w="454025" h="1092835">
                  <a:moveTo>
                    <a:pt x="444390" y="0"/>
                  </a:moveTo>
                  <a:lnTo>
                    <a:pt x="439818" y="0"/>
                  </a:lnTo>
                  <a:lnTo>
                    <a:pt x="415447" y="3048"/>
                  </a:lnTo>
                  <a:lnTo>
                    <a:pt x="404779" y="4572"/>
                  </a:lnTo>
                  <a:lnTo>
                    <a:pt x="392587" y="7620"/>
                  </a:lnTo>
                  <a:lnTo>
                    <a:pt x="380395" y="12192"/>
                  </a:lnTo>
                  <a:lnTo>
                    <a:pt x="369727" y="16764"/>
                  </a:lnTo>
                  <a:lnTo>
                    <a:pt x="357535" y="21336"/>
                  </a:lnTo>
                  <a:lnTo>
                    <a:pt x="346867" y="27432"/>
                  </a:lnTo>
                  <a:lnTo>
                    <a:pt x="325531" y="42672"/>
                  </a:lnTo>
                  <a:lnTo>
                    <a:pt x="313339" y="51816"/>
                  </a:lnTo>
                  <a:lnTo>
                    <a:pt x="304195" y="60960"/>
                  </a:lnTo>
                  <a:lnTo>
                    <a:pt x="293527" y="70104"/>
                  </a:lnTo>
                  <a:lnTo>
                    <a:pt x="272203" y="91440"/>
                  </a:lnTo>
                  <a:lnTo>
                    <a:pt x="263059" y="103632"/>
                  </a:lnTo>
                  <a:lnTo>
                    <a:pt x="252391" y="115824"/>
                  </a:lnTo>
                  <a:lnTo>
                    <a:pt x="243247" y="129540"/>
                  </a:lnTo>
                  <a:lnTo>
                    <a:pt x="232579" y="143256"/>
                  </a:lnTo>
                  <a:lnTo>
                    <a:pt x="223435" y="156972"/>
                  </a:lnTo>
                  <a:lnTo>
                    <a:pt x="214291" y="172212"/>
                  </a:lnTo>
                  <a:lnTo>
                    <a:pt x="205147" y="188976"/>
                  </a:lnTo>
                  <a:lnTo>
                    <a:pt x="196003" y="204216"/>
                  </a:lnTo>
                  <a:lnTo>
                    <a:pt x="188383" y="220980"/>
                  </a:lnTo>
                  <a:lnTo>
                    <a:pt x="170095" y="257556"/>
                  </a:lnTo>
                  <a:lnTo>
                    <a:pt x="153331" y="294132"/>
                  </a:lnTo>
                  <a:lnTo>
                    <a:pt x="138091" y="333725"/>
                  </a:lnTo>
                  <a:lnTo>
                    <a:pt x="122863" y="376397"/>
                  </a:lnTo>
                  <a:lnTo>
                    <a:pt x="109147" y="419069"/>
                  </a:lnTo>
                  <a:lnTo>
                    <a:pt x="95431" y="464789"/>
                  </a:lnTo>
                  <a:lnTo>
                    <a:pt x="81715" y="513557"/>
                  </a:lnTo>
                  <a:lnTo>
                    <a:pt x="69523" y="562325"/>
                  </a:lnTo>
                  <a:lnTo>
                    <a:pt x="58855" y="612587"/>
                  </a:lnTo>
                  <a:lnTo>
                    <a:pt x="48187" y="665927"/>
                  </a:lnTo>
                  <a:lnTo>
                    <a:pt x="29899" y="775655"/>
                  </a:lnTo>
                  <a:lnTo>
                    <a:pt x="14659" y="891479"/>
                  </a:lnTo>
                  <a:lnTo>
                    <a:pt x="10087" y="950915"/>
                  </a:lnTo>
                  <a:lnTo>
                    <a:pt x="3991" y="1011875"/>
                  </a:lnTo>
                  <a:lnTo>
                    <a:pt x="798" y="1075852"/>
                  </a:lnTo>
                  <a:lnTo>
                    <a:pt x="0" y="1092616"/>
                  </a:lnTo>
                  <a:lnTo>
                    <a:pt x="7039" y="1092616"/>
                  </a:lnTo>
                  <a:lnTo>
                    <a:pt x="8563" y="1072804"/>
                  </a:lnTo>
                  <a:lnTo>
                    <a:pt x="13135" y="1014923"/>
                  </a:lnTo>
                  <a:lnTo>
                    <a:pt x="20755" y="957011"/>
                  </a:lnTo>
                  <a:lnTo>
                    <a:pt x="26851" y="902147"/>
                  </a:lnTo>
                  <a:lnTo>
                    <a:pt x="35995" y="847283"/>
                  </a:lnTo>
                  <a:lnTo>
                    <a:pt x="45139" y="793943"/>
                  </a:lnTo>
                  <a:lnTo>
                    <a:pt x="54283" y="742127"/>
                  </a:lnTo>
                  <a:lnTo>
                    <a:pt x="64951" y="691835"/>
                  </a:lnTo>
                  <a:lnTo>
                    <a:pt x="77143" y="641543"/>
                  </a:lnTo>
                  <a:lnTo>
                    <a:pt x="83239" y="618683"/>
                  </a:lnTo>
                  <a:lnTo>
                    <a:pt x="95431" y="568421"/>
                  </a:lnTo>
                  <a:lnTo>
                    <a:pt x="106099" y="519653"/>
                  </a:lnTo>
                  <a:lnTo>
                    <a:pt x="119815" y="472409"/>
                  </a:lnTo>
                  <a:lnTo>
                    <a:pt x="133531" y="426689"/>
                  </a:lnTo>
                  <a:lnTo>
                    <a:pt x="147235" y="384017"/>
                  </a:lnTo>
                  <a:lnTo>
                    <a:pt x="162475" y="342869"/>
                  </a:lnTo>
                  <a:lnTo>
                    <a:pt x="177715" y="303276"/>
                  </a:lnTo>
                  <a:lnTo>
                    <a:pt x="194479" y="266700"/>
                  </a:lnTo>
                  <a:lnTo>
                    <a:pt x="209719" y="233172"/>
                  </a:lnTo>
                  <a:lnTo>
                    <a:pt x="218863" y="216408"/>
                  </a:lnTo>
                  <a:lnTo>
                    <a:pt x="237151" y="185928"/>
                  </a:lnTo>
                  <a:lnTo>
                    <a:pt x="244771" y="170688"/>
                  </a:lnTo>
                  <a:lnTo>
                    <a:pt x="263059" y="143256"/>
                  </a:lnTo>
                  <a:lnTo>
                    <a:pt x="273727" y="131064"/>
                  </a:lnTo>
                  <a:lnTo>
                    <a:pt x="282859" y="118872"/>
                  </a:lnTo>
                  <a:lnTo>
                    <a:pt x="301147" y="97536"/>
                  </a:lnTo>
                  <a:lnTo>
                    <a:pt x="311815" y="88392"/>
                  </a:lnTo>
                  <a:lnTo>
                    <a:pt x="330103" y="70104"/>
                  </a:lnTo>
                  <a:lnTo>
                    <a:pt x="340771" y="62484"/>
                  </a:lnTo>
                  <a:lnTo>
                    <a:pt x="349915" y="56388"/>
                  </a:lnTo>
                  <a:lnTo>
                    <a:pt x="360583" y="50292"/>
                  </a:lnTo>
                  <a:lnTo>
                    <a:pt x="369727" y="44196"/>
                  </a:lnTo>
                  <a:lnTo>
                    <a:pt x="410875" y="28956"/>
                  </a:lnTo>
                  <a:lnTo>
                    <a:pt x="427626" y="26343"/>
                  </a:lnTo>
                  <a:lnTo>
                    <a:pt x="427626" y="13716"/>
                  </a:lnTo>
                  <a:lnTo>
                    <a:pt x="453534" y="13716"/>
                  </a:lnTo>
                  <a:lnTo>
                    <a:pt x="453534" y="10668"/>
                  </a:lnTo>
                  <a:lnTo>
                    <a:pt x="452010" y="6096"/>
                  </a:lnTo>
                  <a:lnTo>
                    <a:pt x="448962" y="4572"/>
                  </a:lnTo>
                  <a:lnTo>
                    <a:pt x="447438" y="1524"/>
                  </a:lnTo>
                  <a:lnTo>
                    <a:pt x="444390" y="0"/>
                  </a:lnTo>
                  <a:close/>
                </a:path>
                <a:path w="454025" h="1092835">
                  <a:moveTo>
                    <a:pt x="83232" y="618716"/>
                  </a:moveTo>
                  <a:lnTo>
                    <a:pt x="64951" y="691835"/>
                  </a:lnTo>
                  <a:lnTo>
                    <a:pt x="54283" y="742127"/>
                  </a:lnTo>
                  <a:lnTo>
                    <a:pt x="45139" y="793943"/>
                  </a:lnTo>
                  <a:lnTo>
                    <a:pt x="35995" y="847283"/>
                  </a:lnTo>
                  <a:lnTo>
                    <a:pt x="26851" y="902147"/>
                  </a:lnTo>
                  <a:lnTo>
                    <a:pt x="20755" y="957011"/>
                  </a:lnTo>
                  <a:lnTo>
                    <a:pt x="13135" y="1014923"/>
                  </a:lnTo>
                  <a:lnTo>
                    <a:pt x="8328" y="1075852"/>
                  </a:lnTo>
                  <a:lnTo>
                    <a:pt x="7039" y="1092616"/>
                  </a:lnTo>
                  <a:lnTo>
                    <a:pt x="25959" y="1092616"/>
                  </a:lnTo>
                  <a:lnTo>
                    <a:pt x="26927" y="1072804"/>
                  </a:lnTo>
                  <a:lnTo>
                    <a:pt x="29899" y="1013399"/>
                  </a:lnTo>
                  <a:lnTo>
                    <a:pt x="34471" y="952439"/>
                  </a:lnTo>
                  <a:lnTo>
                    <a:pt x="40567" y="893003"/>
                  </a:lnTo>
                  <a:lnTo>
                    <a:pt x="46663" y="835091"/>
                  </a:lnTo>
                  <a:lnTo>
                    <a:pt x="55807" y="778703"/>
                  </a:lnTo>
                  <a:lnTo>
                    <a:pt x="63427" y="723839"/>
                  </a:lnTo>
                  <a:lnTo>
                    <a:pt x="72571" y="670499"/>
                  </a:lnTo>
                  <a:lnTo>
                    <a:pt x="83232" y="618716"/>
                  </a:lnTo>
                  <a:close/>
                </a:path>
                <a:path w="454025" h="1092835">
                  <a:moveTo>
                    <a:pt x="427626" y="109728"/>
                  </a:moveTo>
                  <a:lnTo>
                    <a:pt x="418495" y="109728"/>
                  </a:lnTo>
                  <a:lnTo>
                    <a:pt x="394111" y="115824"/>
                  </a:lnTo>
                  <a:lnTo>
                    <a:pt x="383443" y="118872"/>
                  </a:lnTo>
                  <a:lnTo>
                    <a:pt x="372775" y="123444"/>
                  </a:lnTo>
                  <a:lnTo>
                    <a:pt x="360583" y="128016"/>
                  </a:lnTo>
                  <a:lnTo>
                    <a:pt x="317911" y="155448"/>
                  </a:lnTo>
                  <a:lnTo>
                    <a:pt x="276775" y="195072"/>
                  </a:lnTo>
                  <a:lnTo>
                    <a:pt x="258487" y="217932"/>
                  </a:lnTo>
                  <a:lnTo>
                    <a:pt x="247819" y="230124"/>
                  </a:lnTo>
                  <a:lnTo>
                    <a:pt x="220387" y="271272"/>
                  </a:lnTo>
                  <a:lnTo>
                    <a:pt x="177715" y="350489"/>
                  </a:lnTo>
                  <a:lnTo>
                    <a:pt x="160951" y="387065"/>
                  </a:lnTo>
                  <a:lnTo>
                    <a:pt x="145711" y="425165"/>
                  </a:lnTo>
                  <a:lnTo>
                    <a:pt x="130483" y="464789"/>
                  </a:lnTo>
                  <a:lnTo>
                    <a:pt x="115243" y="505937"/>
                  </a:lnTo>
                  <a:lnTo>
                    <a:pt x="101527" y="550133"/>
                  </a:lnTo>
                  <a:lnTo>
                    <a:pt x="83232" y="618716"/>
                  </a:lnTo>
                  <a:lnTo>
                    <a:pt x="72571" y="670499"/>
                  </a:lnTo>
                  <a:lnTo>
                    <a:pt x="63427" y="723839"/>
                  </a:lnTo>
                  <a:lnTo>
                    <a:pt x="55807" y="778703"/>
                  </a:lnTo>
                  <a:lnTo>
                    <a:pt x="46663" y="835091"/>
                  </a:lnTo>
                  <a:lnTo>
                    <a:pt x="40567" y="893003"/>
                  </a:lnTo>
                  <a:lnTo>
                    <a:pt x="34471" y="952439"/>
                  </a:lnTo>
                  <a:lnTo>
                    <a:pt x="29899" y="1013399"/>
                  </a:lnTo>
                  <a:lnTo>
                    <a:pt x="26777" y="1075852"/>
                  </a:lnTo>
                  <a:lnTo>
                    <a:pt x="25959" y="1092616"/>
                  </a:lnTo>
                  <a:lnTo>
                    <a:pt x="31657" y="1092616"/>
                  </a:lnTo>
                  <a:lnTo>
                    <a:pt x="32947" y="1075852"/>
                  </a:lnTo>
                  <a:lnTo>
                    <a:pt x="39043" y="1017971"/>
                  </a:lnTo>
                  <a:lnTo>
                    <a:pt x="45139" y="961583"/>
                  </a:lnTo>
                  <a:lnTo>
                    <a:pt x="52759" y="905195"/>
                  </a:lnTo>
                  <a:lnTo>
                    <a:pt x="60379" y="850331"/>
                  </a:lnTo>
                  <a:lnTo>
                    <a:pt x="78667" y="746699"/>
                  </a:lnTo>
                  <a:lnTo>
                    <a:pt x="89335" y="696407"/>
                  </a:lnTo>
                  <a:lnTo>
                    <a:pt x="113719" y="601949"/>
                  </a:lnTo>
                  <a:lnTo>
                    <a:pt x="125911" y="557753"/>
                  </a:lnTo>
                  <a:lnTo>
                    <a:pt x="139615" y="515081"/>
                  </a:lnTo>
                  <a:lnTo>
                    <a:pt x="153331" y="473933"/>
                  </a:lnTo>
                  <a:lnTo>
                    <a:pt x="168571" y="434309"/>
                  </a:lnTo>
                  <a:lnTo>
                    <a:pt x="183811" y="397733"/>
                  </a:lnTo>
                  <a:lnTo>
                    <a:pt x="199051" y="362681"/>
                  </a:lnTo>
                  <a:lnTo>
                    <a:pt x="224959" y="313944"/>
                  </a:lnTo>
                  <a:lnTo>
                    <a:pt x="232579" y="298704"/>
                  </a:lnTo>
                  <a:lnTo>
                    <a:pt x="260011" y="257556"/>
                  </a:lnTo>
                  <a:lnTo>
                    <a:pt x="267631" y="245364"/>
                  </a:lnTo>
                  <a:lnTo>
                    <a:pt x="276775" y="233172"/>
                  </a:lnTo>
                  <a:lnTo>
                    <a:pt x="295051" y="211836"/>
                  </a:lnTo>
                  <a:lnTo>
                    <a:pt x="305719" y="202692"/>
                  </a:lnTo>
                  <a:lnTo>
                    <a:pt x="324007" y="184404"/>
                  </a:lnTo>
                  <a:lnTo>
                    <a:pt x="342295" y="169164"/>
                  </a:lnTo>
                  <a:lnTo>
                    <a:pt x="352963" y="163068"/>
                  </a:lnTo>
                  <a:lnTo>
                    <a:pt x="371251" y="150876"/>
                  </a:lnTo>
                  <a:lnTo>
                    <a:pt x="410875" y="137160"/>
                  </a:lnTo>
                  <a:lnTo>
                    <a:pt x="430674" y="134112"/>
                  </a:lnTo>
                  <a:lnTo>
                    <a:pt x="447438" y="134112"/>
                  </a:lnTo>
                  <a:lnTo>
                    <a:pt x="453534" y="128016"/>
                  </a:lnTo>
                  <a:lnTo>
                    <a:pt x="453534" y="121920"/>
                  </a:lnTo>
                  <a:lnTo>
                    <a:pt x="427626" y="121920"/>
                  </a:lnTo>
                  <a:lnTo>
                    <a:pt x="427626" y="109728"/>
                  </a:lnTo>
                  <a:close/>
                </a:path>
                <a:path w="454025" h="1092835">
                  <a:moveTo>
                    <a:pt x="453534" y="13716"/>
                  </a:moveTo>
                  <a:lnTo>
                    <a:pt x="427626" y="13716"/>
                  </a:lnTo>
                  <a:lnTo>
                    <a:pt x="441342" y="25908"/>
                  </a:lnTo>
                  <a:lnTo>
                    <a:pt x="430674" y="25908"/>
                  </a:lnTo>
                  <a:lnTo>
                    <a:pt x="427626" y="26343"/>
                  </a:lnTo>
                  <a:lnTo>
                    <a:pt x="427626" y="121920"/>
                  </a:lnTo>
                  <a:lnTo>
                    <a:pt x="438464" y="109728"/>
                  </a:lnTo>
                  <a:lnTo>
                    <a:pt x="429150" y="109728"/>
                  </a:lnTo>
                  <a:lnTo>
                    <a:pt x="439818" y="108204"/>
                  </a:lnTo>
                  <a:lnTo>
                    <a:pt x="453534" y="108204"/>
                  </a:lnTo>
                  <a:lnTo>
                    <a:pt x="453534" y="13716"/>
                  </a:lnTo>
                  <a:close/>
                </a:path>
                <a:path w="454025" h="1092835">
                  <a:moveTo>
                    <a:pt x="453534" y="108204"/>
                  </a:moveTo>
                  <a:lnTo>
                    <a:pt x="439818" y="108204"/>
                  </a:lnTo>
                  <a:lnTo>
                    <a:pt x="427626" y="121920"/>
                  </a:lnTo>
                  <a:lnTo>
                    <a:pt x="453534" y="121920"/>
                  </a:lnTo>
                  <a:lnTo>
                    <a:pt x="453534" y="108204"/>
                  </a:lnTo>
                  <a:close/>
                </a:path>
                <a:path w="454025" h="1092835">
                  <a:moveTo>
                    <a:pt x="439818" y="108204"/>
                  </a:moveTo>
                  <a:lnTo>
                    <a:pt x="429150" y="109728"/>
                  </a:lnTo>
                  <a:lnTo>
                    <a:pt x="438464" y="109728"/>
                  </a:lnTo>
                  <a:lnTo>
                    <a:pt x="439818" y="108204"/>
                  </a:lnTo>
                  <a:close/>
                </a:path>
                <a:path w="454025" h="1092835">
                  <a:moveTo>
                    <a:pt x="427626" y="13716"/>
                  </a:moveTo>
                  <a:lnTo>
                    <a:pt x="427626" y="26343"/>
                  </a:lnTo>
                  <a:lnTo>
                    <a:pt x="430674" y="25908"/>
                  </a:lnTo>
                  <a:lnTo>
                    <a:pt x="441342" y="25908"/>
                  </a:lnTo>
                  <a:lnTo>
                    <a:pt x="427626" y="13716"/>
                  </a:lnTo>
                  <a:close/>
                </a:path>
              </a:pathLst>
            </a:custGeom>
            <a:solidFill>
              <a:srgbClr val="88A3A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940408" y="3892475"/>
              <a:ext cx="5770900" cy="3085856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859977" y="4064691"/>
              <a:ext cx="433070" cy="1373505"/>
            </a:xfrm>
            <a:custGeom>
              <a:avLst/>
              <a:gdLst/>
              <a:ahLst/>
              <a:cxnLst/>
              <a:rect l="l" t="t" r="r" b="b"/>
              <a:pathLst>
                <a:path w="433069" h="1373504">
                  <a:moveTo>
                    <a:pt x="0" y="0"/>
                  </a:moveTo>
                  <a:lnTo>
                    <a:pt x="0" y="108173"/>
                  </a:lnTo>
                  <a:lnTo>
                    <a:pt x="584" y="173602"/>
                  </a:lnTo>
                  <a:lnTo>
                    <a:pt x="2320" y="238297"/>
                  </a:lnTo>
                  <a:lnTo>
                    <a:pt x="5182" y="302162"/>
                  </a:lnTo>
                  <a:lnTo>
                    <a:pt x="9147" y="365100"/>
                  </a:lnTo>
                  <a:lnTo>
                    <a:pt x="14188" y="427012"/>
                  </a:lnTo>
                  <a:lnTo>
                    <a:pt x="20281" y="487803"/>
                  </a:lnTo>
                  <a:lnTo>
                    <a:pt x="27402" y="547374"/>
                  </a:lnTo>
                  <a:lnTo>
                    <a:pt x="35524" y="605628"/>
                  </a:lnTo>
                  <a:lnTo>
                    <a:pt x="44623" y="662468"/>
                  </a:lnTo>
                  <a:lnTo>
                    <a:pt x="54674" y="717797"/>
                  </a:lnTo>
                  <a:lnTo>
                    <a:pt x="65652" y="771517"/>
                  </a:lnTo>
                  <a:lnTo>
                    <a:pt x="77532" y="823532"/>
                  </a:lnTo>
                  <a:lnTo>
                    <a:pt x="90289" y="873743"/>
                  </a:lnTo>
                  <a:lnTo>
                    <a:pt x="103898" y="922054"/>
                  </a:lnTo>
                  <a:lnTo>
                    <a:pt x="118335" y="968368"/>
                  </a:lnTo>
                  <a:lnTo>
                    <a:pt x="133573" y="1012586"/>
                  </a:lnTo>
                  <a:lnTo>
                    <a:pt x="149589" y="1054612"/>
                  </a:lnTo>
                  <a:lnTo>
                    <a:pt x="166357" y="1094349"/>
                  </a:lnTo>
                  <a:lnTo>
                    <a:pt x="183853" y="1131699"/>
                  </a:lnTo>
                  <a:lnTo>
                    <a:pt x="202050" y="1166565"/>
                  </a:lnTo>
                  <a:lnTo>
                    <a:pt x="240453" y="1228455"/>
                  </a:lnTo>
                  <a:lnTo>
                    <a:pt x="281365" y="1279242"/>
                  </a:lnTo>
                  <a:lnTo>
                    <a:pt x="324587" y="1318147"/>
                  </a:lnTo>
                  <a:lnTo>
                    <a:pt x="324587" y="1373002"/>
                  </a:lnTo>
                  <a:lnTo>
                    <a:pt x="432779" y="1304431"/>
                  </a:lnTo>
                  <a:lnTo>
                    <a:pt x="324587" y="1156615"/>
                  </a:lnTo>
                  <a:lnTo>
                    <a:pt x="324587" y="1211467"/>
                  </a:lnTo>
                  <a:lnTo>
                    <a:pt x="302700" y="1193379"/>
                  </a:lnTo>
                  <a:lnTo>
                    <a:pt x="260608" y="1148136"/>
                  </a:lnTo>
                  <a:lnTo>
                    <a:pt x="220925" y="1091449"/>
                  </a:lnTo>
                  <a:lnTo>
                    <a:pt x="183853" y="1024091"/>
                  </a:lnTo>
                  <a:lnTo>
                    <a:pt x="166357" y="986652"/>
                  </a:lnTo>
                  <a:lnTo>
                    <a:pt x="149589" y="946836"/>
                  </a:lnTo>
                  <a:lnTo>
                    <a:pt x="133573" y="904740"/>
                  </a:lnTo>
                  <a:lnTo>
                    <a:pt x="118335" y="860460"/>
                  </a:lnTo>
                  <a:lnTo>
                    <a:pt x="103898" y="814092"/>
                  </a:lnTo>
                  <a:lnTo>
                    <a:pt x="90289" y="765735"/>
                  </a:lnTo>
                  <a:lnTo>
                    <a:pt x="77532" y="715484"/>
                  </a:lnTo>
                  <a:lnTo>
                    <a:pt x="65652" y="663436"/>
                  </a:lnTo>
                  <a:lnTo>
                    <a:pt x="54674" y="609688"/>
                  </a:lnTo>
                  <a:lnTo>
                    <a:pt x="44623" y="554337"/>
                  </a:lnTo>
                  <a:lnTo>
                    <a:pt x="35524" y="497480"/>
                  </a:lnTo>
                  <a:lnTo>
                    <a:pt x="27402" y="439212"/>
                  </a:lnTo>
                  <a:lnTo>
                    <a:pt x="20281" y="379632"/>
                  </a:lnTo>
                  <a:lnTo>
                    <a:pt x="14188" y="318836"/>
                  </a:lnTo>
                  <a:lnTo>
                    <a:pt x="9147" y="256921"/>
                  </a:lnTo>
                  <a:lnTo>
                    <a:pt x="5182" y="193982"/>
                  </a:lnTo>
                  <a:lnTo>
                    <a:pt x="2320" y="130118"/>
                  </a:lnTo>
                  <a:lnTo>
                    <a:pt x="584" y="654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AE0E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859703" y="3892479"/>
              <a:ext cx="11430" cy="226060"/>
            </a:xfrm>
            <a:custGeom>
              <a:avLst/>
              <a:gdLst/>
              <a:ahLst/>
              <a:cxnLst/>
              <a:rect l="l" t="t" r="r" b="b"/>
              <a:pathLst>
                <a:path w="11430" h="226060">
                  <a:moveTo>
                    <a:pt x="11099" y="0"/>
                  </a:moveTo>
                  <a:lnTo>
                    <a:pt x="4339" y="0"/>
                  </a:lnTo>
                  <a:lnTo>
                    <a:pt x="3197" y="22097"/>
                  </a:lnTo>
                  <a:lnTo>
                    <a:pt x="984" y="89038"/>
                  </a:lnTo>
                  <a:lnTo>
                    <a:pt x="0" y="156889"/>
                  </a:lnTo>
                  <a:lnTo>
                    <a:pt x="274" y="225551"/>
                  </a:lnTo>
                  <a:lnTo>
                    <a:pt x="2013" y="156865"/>
                  </a:lnTo>
                  <a:lnTo>
                    <a:pt x="5001" y="89286"/>
                  </a:lnTo>
                  <a:lnTo>
                    <a:pt x="9204" y="22907"/>
                  </a:lnTo>
                  <a:lnTo>
                    <a:pt x="11099" y="0"/>
                  </a:lnTo>
                  <a:close/>
                </a:path>
              </a:pathLst>
            </a:custGeom>
            <a:solidFill>
              <a:srgbClr val="95B3B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847785" y="3892479"/>
              <a:ext cx="457200" cy="1558925"/>
            </a:xfrm>
            <a:custGeom>
              <a:avLst/>
              <a:gdLst/>
              <a:ahLst/>
              <a:cxnLst/>
              <a:rect l="l" t="t" r="r" b="b"/>
              <a:pathLst>
                <a:path w="457200" h="1558925">
                  <a:moveTo>
                    <a:pt x="323063" y="1497286"/>
                  </a:moveTo>
                  <a:lnTo>
                    <a:pt x="323063" y="1549785"/>
                  </a:lnTo>
                  <a:lnTo>
                    <a:pt x="326111" y="1554357"/>
                  </a:lnTo>
                  <a:lnTo>
                    <a:pt x="330683" y="1555881"/>
                  </a:lnTo>
                  <a:lnTo>
                    <a:pt x="333731" y="1558929"/>
                  </a:lnTo>
                  <a:lnTo>
                    <a:pt x="339827" y="1558929"/>
                  </a:lnTo>
                  <a:lnTo>
                    <a:pt x="342875" y="1555881"/>
                  </a:lnTo>
                  <a:lnTo>
                    <a:pt x="359707" y="1545213"/>
                  </a:lnTo>
                  <a:lnTo>
                    <a:pt x="348971" y="1545213"/>
                  </a:lnTo>
                  <a:lnTo>
                    <a:pt x="329159" y="1534545"/>
                  </a:lnTo>
                  <a:lnTo>
                    <a:pt x="348971" y="1521989"/>
                  </a:lnTo>
                  <a:lnTo>
                    <a:pt x="348971" y="1501027"/>
                  </a:lnTo>
                  <a:lnTo>
                    <a:pt x="327635" y="1501027"/>
                  </a:lnTo>
                  <a:lnTo>
                    <a:pt x="323063" y="1497286"/>
                  </a:lnTo>
                  <a:close/>
                </a:path>
                <a:path w="457200" h="1558925">
                  <a:moveTo>
                    <a:pt x="348971" y="1521989"/>
                  </a:moveTo>
                  <a:lnTo>
                    <a:pt x="329159" y="1534545"/>
                  </a:lnTo>
                  <a:lnTo>
                    <a:pt x="348971" y="1545213"/>
                  </a:lnTo>
                  <a:lnTo>
                    <a:pt x="348971" y="1521989"/>
                  </a:lnTo>
                  <a:close/>
                </a:path>
                <a:path w="457200" h="1558925">
                  <a:moveTo>
                    <a:pt x="426125" y="1473089"/>
                  </a:moveTo>
                  <a:lnTo>
                    <a:pt x="348971" y="1521989"/>
                  </a:lnTo>
                  <a:lnTo>
                    <a:pt x="348971" y="1545213"/>
                  </a:lnTo>
                  <a:lnTo>
                    <a:pt x="359707" y="1545213"/>
                  </a:lnTo>
                  <a:lnTo>
                    <a:pt x="451067" y="1487311"/>
                  </a:lnTo>
                  <a:lnTo>
                    <a:pt x="454115" y="1485787"/>
                  </a:lnTo>
                  <a:lnTo>
                    <a:pt x="454877" y="1484263"/>
                  </a:lnTo>
                  <a:lnTo>
                    <a:pt x="434303" y="1484263"/>
                  </a:lnTo>
                  <a:lnTo>
                    <a:pt x="426125" y="1473089"/>
                  </a:lnTo>
                  <a:close/>
                </a:path>
                <a:path w="457200" h="1558925">
                  <a:moveTo>
                    <a:pt x="323063" y="1490359"/>
                  </a:moveTo>
                  <a:lnTo>
                    <a:pt x="323063" y="1497286"/>
                  </a:lnTo>
                  <a:lnTo>
                    <a:pt x="327635" y="1501027"/>
                  </a:lnTo>
                  <a:lnTo>
                    <a:pt x="323063" y="1490359"/>
                  </a:lnTo>
                  <a:close/>
                </a:path>
                <a:path w="457200" h="1558925">
                  <a:moveTo>
                    <a:pt x="348971" y="1490359"/>
                  </a:moveTo>
                  <a:lnTo>
                    <a:pt x="323063" y="1490359"/>
                  </a:lnTo>
                  <a:lnTo>
                    <a:pt x="327635" y="1501027"/>
                  </a:lnTo>
                  <a:lnTo>
                    <a:pt x="348971" y="1501027"/>
                  </a:lnTo>
                  <a:lnTo>
                    <a:pt x="348971" y="1490359"/>
                  </a:lnTo>
                  <a:close/>
                </a:path>
                <a:path w="457200" h="1558925">
                  <a:moveTo>
                    <a:pt x="0" y="225551"/>
                  </a:moveTo>
                  <a:lnTo>
                    <a:pt x="0" y="333725"/>
                  </a:lnTo>
                  <a:lnTo>
                    <a:pt x="1524" y="385541"/>
                  </a:lnTo>
                  <a:lnTo>
                    <a:pt x="3048" y="438881"/>
                  </a:lnTo>
                  <a:lnTo>
                    <a:pt x="9144" y="542513"/>
                  </a:lnTo>
                  <a:lnTo>
                    <a:pt x="13716" y="592805"/>
                  </a:lnTo>
                  <a:lnTo>
                    <a:pt x="18288" y="641573"/>
                  </a:lnTo>
                  <a:lnTo>
                    <a:pt x="22860" y="691834"/>
                  </a:lnTo>
                  <a:lnTo>
                    <a:pt x="28956" y="739078"/>
                  </a:lnTo>
                  <a:lnTo>
                    <a:pt x="44196" y="833563"/>
                  </a:lnTo>
                  <a:lnTo>
                    <a:pt x="51816" y="879283"/>
                  </a:lnTo>
                  <a:lnTo>
                    <a:pt x="60960" y="923479"/>
                  </a:lnTo>
                  <a:lnTo>
                    <a:pt x="79248" y="1008811"/>
                  </a:lnTo>
                  <a:lnTo>
                    <a:pt x="89916" y="1049959"/>
                  </a:lnTo>
                  <a:lnTo>
                    <a:pt x="102108" y="1089571"/>
                  </a:lnTo>
                  <a:lnTo>
                    <a:pt x="112776" y="1127671"/>
                  </a:lnTo>
                  <a:lnTo>
                    <a:pt x="124968" y="1164247"/>
                  </a:lnTo>
                  <a:lnTo>
                    <a:pt x="138684" y="1200823"/>
                  </a:lnTo>
                  <a:lnTo>
                    <a:pt x="150863" y="1234339"/>
                  </a:lnTo>
                  <a:lnTo>
                    <a:pt x="164579" y="1266343"/>
                  </a:lnTo>
                  <a:lnTo>
                    <a:pt x="179819" y="1298347"/>
                  </a:lnTo>
                  <a:lnTo>
                    <a:pt x="193535" y="1327303"/>
                  </a:lnTo>
                  <a:lnTo>
                    <a:pt x="208775" y="1356259"/>
                  </a:lnTo>
                  <a:lnTo>
                    <a:pt x="225539" y="1382155"/>
                  </a:lnTo>
                  <a:lnTo>
                    <a:pt x="240779" y="1406539"/>
                  </a:lnTo>
                  <a:lnTo>
                    <a:pt x="257543" y="1429399"/>
                  </a:lnTo>
                  <a:lnTo>
                    <a:pt x="274307" y="1450735"/>
                  </a:lnTo>
                  <a:lnTo>
                    <a:pt x="310871" y="1487311"/>
                  </a:lnTo>
                  <a:lnTo>
                    <a:pt x="323063" y="1497286"/>
                  </a:lnTo>
                  <a:lnTo>
                    <a:pt x="323063" y="1490359"/>
                  </a:lnTo>
                  <a:lnTo>
                    <a:pt x="348971" y="1490359"/>
                  </a:lnTo>
                  <a:lnTo>
                    <a:pt x="348971" y="1487311"/>
                  </a:lnTo>
                  <a:lnTo>
                    <a:pt x="347447" y="1484263"/>
                  </a:lnTo>
                  <a:lnTo>
                    <a:pt x="344399" y="1481215"/>
                  </a:lnTo>
                  <a:lnTo>
                    <a:pt x="326111" y="1467499"/>
                  </a:lnTo>
                  <a:lnTo>
                    <a:pt x="309347" y="1450735"/>
                  </a:lnTo>
                  <a:lnTo>
                    <a:pt x="294107" y="1432447"/>
                  </a:lnTo>
                  <a:lnTo>
                    <a:pt x="277355" y="1414159"/>
                  </a:lnTo>
                  <a:lnTo>
                    <a:pt x="262115" y="1391299"/>
                  </a:lnTo>
                  <a:lnTo>
                    <a:pt x="245351" y="1368451"/>
                  </a:lnTo>
                  <a:lnTo>
                    <a:pt x="231635" y="1342543"/>
                  </a:lnTo>
                  <a:lnTo>
                    <a:pt x="216395" y="1315111"/>
                  </a:lnTo>
                  <a:lnTo>
                    <a:pt x="187439" y="1257199"/>
                  </a:lnTo>
                  <a:lnTo>
                    <a:pt x="175247" y="1225207"/>
                  </a:lnTo>
                  <a:lnTo>
                    <a:pt x="161531" y="1191679"/>
                  </a:lnTo>
                  <a:lnTo>
                    <a:pt x="149339" y="1156627"/>
                  </a:lnTo>
                  <a:lnTo>
                    <a:pt x="137160" y="1120051"/>
                  </a:lnTo>
                  <a:lnTo>
                    <a:pt x="126492" y="1081963"/>
                  </a:lnTo>
                  <a:lnTo>
                    <a:pt x="114300" y="1042339"/>
                  </a:lnTo>
                  <a:lnTo>
                    <a:pt x="105156" y="1002715"/>
                  </a:lnTo>
                  <a:lnTo>
                    <a:pt x="94488" y="960043"/>
                  </a:lnTo>
                  <a:lnTo>
                    <a:pt x="92072" y="948773"/>
                  </a:lnTo>
                  <a:lnTo>
                    <a:pt x="79248" y="900619"/>
                  </a:lnTo>
                  <a:lnTo>
                    <a:pt x="60960" y="815278"/>
                  </a:lnTo>
                  <a:lnTo>
                    <a:pt x="51816" y="771082"/>
                  </a:lnTo>
                  <a:lnTo>
                    <a:pt x="44196" y="725362"/>
                  </a:lnTo>
                  <a:lnTo>
                    <a:pt x="28956" y="630905"/>
                  </a:lnTo>
                  <a:lnTo>
                    <a:pt x="22860" y="583661"/>
                  </a:lnTo>
                  <a:lnTo>
                    <a:pt x="18288" y="533369"/>
                  </a:lnTo>
                  <a:lnTo>
                    <a:pt x="13716" y="484601"/>
                  </a:lnTo>
                  <a:lnTo>
                    <a:pt x="9144" y="434309"/>
                  </a:lnTo>
                  <a:lnTo>
                    <a:pt x="3048" y="330677"/>
                  </a:lnTo>
                  <a:lnTo>
                    <a:pt x="1480" y="277337"/>
                  </a:lnTo>
                  <a:lnTo>
                    <a:pt x="0" y="225551"/>
                  </a:lnTo>
                  <a:close/>
                </a:path>
                <a:path w="457200" h="1558925">
                  <a:moveTo>
                    <a:pt x="437351" y="1465975"/>
                  </a:moveTo>
                  <a:lnTo>
                    <a:pt x="426125" y="1473089"/>
                  </a:lnTo>
                  <a:lnTo>
                    <a:pt x="434303" y="1484263"/>
                  </a:lnTo>
                  <a:lnTo>
                    <a:pt x="437351" y="1465975"/>
                  </a:lnTo>
                  <a:close/>
                </a:path>
                <a:path w="457200" h="1558925">
                  <a:moveTo>
                    <a:pt x="451884" y="1465975"/>
                  </a:moveTo>
                  <a:lnTo>
                    <a:pt x="437351" y="1465975"/>
                  </a:lnTo>
                  <a:lnTo>
                    <a:pt x="434303" y="1484263"/>
                  </a:lnTo>
                  <a:lnTo>
                    <a:pt x="454877" y="1484263"/>
                  </a:lnTo>
                  <a:lnTo>
                    <a:pt x="457163" y="1479691"/>
                  </a:lnTo>
                  <a:lnTo>
                    <a:pt x="457163" y="1472071"/>
                  </a:lnTo>
                  <a:lnTo>
                    <a:pt x="454115" y="1469023"/>
                  </a:lnTo>
                  <a:lnTo>
                    <a:pt x="451884" y="1465975"/>
                  </a:lnTo>
                  <a:close/>
                </a:path>
                <a:path w="457200" h="1558925">
                  <a:moveTo>
                    <a:pt x="351500" y="1328827"/>
                  </a:moveTo>
                  <a:lnTo>
                    <a:pt x="348971" y="1328827"/>
                  </a:lnTo>
                  <a:lnTo>
                    <a:pt x="348971" y="1367679"/>
                  </a:lnTo>
                  <a:lnTo>
                    <a:pt x="426125" y="1473089"/>
                  </a:lnTo>
                  <a:lnTo>
                    <a:pt x="437351" y="1465975"/>
                  </a:lnTo>
                  <a:lnTo>
                    <a:pt x="451884" y="1465975"/>
                  </a:lnTo>
                  <a:lnTo>
                    <a:pt x="351500" y="1328827"/>
                  </a:lnTo>
                  <a:close/>
                </a:path>
                <a:path w="457200" h="1558925">
                  <a:moveTo>
                    <a:pt x="24384" y="172211"/>
                  </a:moveTo>
                  <a:lnTo>
                    <a:pt x="24384" y="280385"/>
                  </a:lnTo>
                  <a:lnTo>
                    <a:pt x="25818" y="329153"/>
                  </a:lnTo>
                  <a:lnTo>
                    <a:pt x="25908" y="385541"/>
                  </a:lnTo>
                  <a:lnTo>
                    <a:pt x="28956" y="437357"/>
                  </a:lnTo>
                  <a:lnTo>
                    <a:pt x="30480" y="489173"/>
                  </a:lnTo>
                  <a:lnTo>
                    <a:pt x="35052" y="539465"/>
                  </a:lnTo>
                  <a:lnTo>
                    <a:pt x="38100" y="589757"/>
                  </a:lnTo>
                  <a:lnTo>
                    <a:pt x="42672" y="640049"/>
                  </a:lnTo>
                  <a:lnTo>
                    <a:pt x="48768" y="688786"/>
                  </a:lnTo>
                  <a:lnTo>
                    <a:pt x="60960" y="783274"/>
                  </a:lnTo>
                  <a:lnTo>
                    <a:pt x="68580" y="828994"/>
                  </a:lnTo>
                  <a:lnTo>
                    <a:pt x="76200" y="873187"/>
                  </a:lnTo>
                  <a:lnTo>
                    <a:pt x="85344" y="917383"/>
                  </a:lnTo>
                  <a:lnTo>
                    <a:pt x="102108" y="981379"/>
                  </a:lnTo>
                  <a:lnTo>
                    <a:pt x="112776" y="1019479"/>
                  </a:lnTo>
                  <a:lnTo>
                    <a:pt x="124968" y="1056055"/>
                  </a:lnTo>
                  <a:lnTo>
                    <a:pt x="150863" y="1126147"/>
                  </a:lnTo>
                  <a:lnTo>
                    <a:pt x="179819" y="1190155"/>
                  </a:lnTo>
                  <a:lnTo>
                    <a:pt x="193535" y="1219111"/>
                  </a:lnTo>
                  <a:lnTo>
                    <a:pt x="224015" y="1273963"/>
                  </a:lnTo>
                  <a:lnTo>
                    <a:pt x="257543" y="1321207"/>
                  </a:lnTo>
                  <a:lnTo>
                    <a:pt x="291059" y="1360831"/>
                  </a:lnTo>
                  <a:lnTo>
                    <a:pt x="327635" y="1392823"/>
                  </a:lnTo>
                  <a:lnTo>
                    <a:pt x="332207" y="1395871"/>
                  </a:lnTo>
                  <a:lnTo>
                    <a:pt x="336779" y="1395871"/>
                  </a:lnTo>
                  <a:lnTo>
                    <a:pt x="345923" y="1392823"/>
                  </a:lnTo>
                  <a:lnTo>
                    <a:pt x="348971" y="1388251"/>
                  </a:lnTo>
                  <a:lnTo>
                    <a:pt x="348971" y="1383679"/>
                  </a:lnTo>
                  <a:lnTo>
                    <a:pt x="323063" y="1383679"/>
                  </a:lnTo>
                  <a:lnTo>
                    <a:pt x="323063" y="1355150"/>
                  </a:lnTo>
                  <a:lnTo>
                    <a:pt x="294107" y="1325779"/>
                  </a:lnTo>
                  <a:lnTo>
                    <a:pt x="262115" y="1284631"/>
                  </a:lnTo>
                  <a:lnTo>
                    <a:pt x="231635" y="1235863"/>
                  </a:lnTo>
                  <a:lnTo>
                    <a:pt x="202679" y="1179487"/>
                  </a:lnTo>
                  <a:lnTo>
                    <a:pt x="175247" y="1117003"/>
                  </a:lnTo>
                  <a:lnTo>
                    <a:pt x="149339" y="1048435"/>
                  </a:lnTo>
                  <a:lnTo>
                    <a:pt x="137160" y="1011859"/>
                  </a:lnTo>
                  <a:lnTo>
                    <a:pt x="126492" y="973759"/>
                  </a:lnTo>
                  <a:lnTo>
                    <a:pt x="114300" y="934147"/>
                  </a:lnTo>
                  <a:lnTo>
                    <a:pt x="105156" y="894523"/>
                  </a:lnTo>
                  <a:lnTo>
                    <a:pt x="94488" y="853375"/>
                  </a:lnTo>
                  <a:lnTo>
                    <a:pt x="85344" y="809182"/>
                  </a:lnTo>
                  <a:lnTo>
                    <a:pt x="76200" y="766510"/>
                  </a:lnTo>
                  <a:lnTo>
                    <a:pt x="60960" y="675070"/>
                  </a:lnTo>
                  <a:lnTo>
                    <a:pt x="48768" y="580613"/>
                  </a:lnTo>
                  <a:lnTo>
                    <a:pt x="42672" y="531845"/>
                  </a:lnTo>
                  <a:lnTo>
                    <a:pt x="38100" y="481553"/>
                  </a:lnTo>
                  <a:lnTo>
                    <a:pt x="35052" y="431261"/>
                  </a:lnTo>
                  <a:lnTo>
                    <a:pt x="30480" y="380969"/>
                  </a:lnTo>
                  <a:lnTo>
                    <a:pt x="28956" y="329153"/>
                  </a:lnTo>
                  <a:lnTo>
                    <a:pt x="25997" y="278861"/>
                  </a:lnTo>
                  <a:lnTo>
                    <a:pt x="25908" y="225551"/>
                  </a:lnTo>
                  <a:lnTo>
                    <a:pt x="24384" y="172211"/>
                  </a:lnTo>
                  <a:close/>
                </a:path>
                <a:path w="457200" h="1558925">
                  <a:moveTo>
                    <a:pt x="323063" y="1355150"/>
                  </a:moveTo>
                  <a:lnTo>
                    <a:pt x="323063" y="1383679"/>
                  </a:lnTo>
                  <a:lnTo>
                    <a:pt x="344399" y="1373023"/>
                  </a:lnTo>
                  <a:lnTo>
                    <a:pt x="327635" y="1359307"/>
                  </a:lnTo>
                  <a:lnTo>
                    <a:pt x="323063" y="1355150"/>
                  </a:lnTo>
                  <a:close/>
                </a:path>
                <a:path w="457200" h="1558925">
                  <a:moveTo>
                    <a:pt x="336779" y="1315111"/>
                  </a:moveTo>
                  <a:lnTo>
                    <a:pt x="327635" y="1318159"/>
                  </a:lnTo>
                  <a:lnTo>
                    <a:pt x="323063" y="1324255"/>
                  </a:lnTo>
                  <a:lnTo>
                    <a:pt x="323063" y="1355150"/>
                  </a:lnTo>
                  <a:lnTo>
                    <a:pt x="327635" y="1359307"/>
                  </a:lnTo>
                  <a:lnTo>
                    <a:pt x="344399" y="1373023"/>
                  </a:lnTo>
                  <a:lnTo>
                    <a:pt x="323063" y="1383679"/>
                  </a:lnTo>
                  <a:lnTo>
                    <a:pt x="348971" y="1383679"/>
                  </a:lnTo>
                  <a:lnTo>
                    <a:pt x="348971" y="1367679"/>
                  </a:lnTo>
                  <a:lnTo>
                    <a:pt x="326111" y="1336447"/>
                  </a:lnTo>
                  <a:lnTo>
                    <a:pt x="348971" y="1328827"/>
                  </a:lnTo>
                  <a:lnTo>
                    <a:pt x="351500" y="1328827"/>
                  </a:lnTo>
                  <a:lnTo>
                    <a:pt x="345923" y="1321207"/>
                  </a:lnTo>
                  <a:lnTo>
                    <a:pt x="342875" y="1316635"/>
                  </a:lnTo>
                  <a:lnTo>
                    <a:pt x="336779" y="1315111"/>
                  </a:lnTo>
                  <a:close/>
                </a:path>
                <a:path w="457200" h="1558925">
                  <a:moveTo>
                    <a:pt x="348971" y="1328827"/>
                  </a:moveTo>
                  <a:lnTo>
                    <a:pt x="326111" y="1336447"/>
                  </a:lnTo>
                  <a:lnTo>
                    <a:pt x="348971" y="1367679"/>
                  </a:lnTo>
                  <a:lnTo>
                    <a:pt x="348971" y="1328827"/>
                  </a:lnTo>
                  <a:close/>
                </a:path>
                <a:path w="457200" h="1558925">
                  <a:moveTo>
                    <a:pt x="29587" y="0"/>
                  </a:moveTo>
                  <a:lnTo>
                    <a:pt x="10667" y="0"/>
                  </a:lnTo>
                  <a:lnTo>
                    <a:pt x="7620" y="39623"/>
                  </a:lnTo>
                  <a:lnTo>
                    <a:pt x="4497" y="102107"/>
                  </a:lnTo>
                  <a:lnTo>
                    <a:pt x="1524" y="163067"/>
                  </a:lnTo>
                  <a:lnTo>
                    <a:pt x="0" y="225551"/>
                  </a:lnTo>
                  <a:lnTo>
                    <a:pt x="1568" y="280385"/>
                  </a:lnTo>
                  <a:lnTo>
                    <a:pt x="3048" y="330677"/>
                  </a:lnTo>
                  <a:lnTo>
                    <a:pt x="9144" y="434309"/>
                  </a:lnTo>
                  <a:lnTo>
                    <a:pt x="13716" y="484601"/>
                  </a:lnTo>
                  <a:lnTo>
                    <a:pt x="18288" y="533369"/>
                  </a:lnTo>
                  <a:lnTo>
                    <a:pt x="22860" y="583661"/>
                  </a:lnTo>
                  <a:lnTo>
                    <a:pt x="28956" y="630905"/>
                  </a:lnTo>
                  <a:lnTo>
                    <a:pt x="44196" y="725362"/>
                  </a:lnTo>
                  <a:lnTo>
                    <a:pt x="51816" y="771082"/>
                  </a:lnTo>
                  <a:lnTo>
                    <a:pt x="60960" y="815278"/>
                  </a:lnTo>
                  <a:lnTo>
                    <a:pt x="79248" y="900619"/>
                  </a:lnTo>
                  <a:lnTo>
                    <a:pt x="89916" y="941767"/>
                  </a:lnTo>
                  <a:lnTo>
                    <a:pt x="92072" y="948773"/>
                  </a:lnTo>
                  <a:lnTo>
                    <a:pt x="85344" y="917383"/>
                  </a:lnTo>
                  <a:lnTo>
                    <a:pt x="76200" y="873187"/>
                  </a:lnTo>
                  <a:lnTo>
                    <a:pt x="68580" y="828994"/>
                  </a:lnTo>
                  <a:lnTo>
                    <a:pt x="60960" y="783274"/>
                  </a:lnTo>
                  <a:lnTo>
                    <a:pt x="48768" y="688786"/>
                  </a:lnTo>
                  <a:lnTo>
                    <a:pt x="42672" y="640049"/>
                  </a:lnTo>
                  <a:lnTo>
                    <a:pt x="38100" y="589757"/>
                  </a:lnTo>
                  <a:lnTo>
                    <a:pt x="35052" y="539465"/>
                  </a:lnTo>
                  <a:lnTo>
                    <a:pt x="30480" y="489173"/>
                  </a:lnTo>
                  <a:lnTo>
                    <a:pt x="28956" y="437357"/>
                  </a:lnTo>
                  <a:lnTo>
                    <a:pt x="25908" y="385541"/>
                  </a:lnTo>
                  <a:lnTo>
                    <a:pt x="25818" y="329153"/>
                  </a:lnTo>
                  <a:lnTo>
                    <a:pt x="24384" y="280385"/>
                  </a:lnTo>
                  <a:lnTo>
                    <a:pt x="24384" y="172211"/>
                  </a:lnTo>
                  <a:lnTo>
                    <a:pt x="27432" y="44195"/>
                  </a:lnTo>
                  <a:lnTo>
                    <a:pt x="29587" y="0"/>
                  </a:lnTo>
                  <a:close/>
                </a:path>
                <a:path w="457200" h="1558925">
                  <a:moveTo>
                    <a:pt x="10667" y="0"/>
                  </a:moveTo>
                  <a:lnTo>
                    <a:pt x="3628" y="0"/>
                  </a:lnTo>
                  <a:lnTo>
                    <a:pt x="1524" y="44195"/>
                  </a:lnTo>
                  <a:lnTo>
                    <a:pt x="111" y="102107"/>
                  </a:lnTo>
                  <a:lnTo>
                    <a:pt x="0" y="225551"/>
                  </a:lnTo>
                  <a:lnTo>
                    <a:pt x="1524" y="163067"/>
                  </a:lnTo>
                  <a:lnTo>
                    <a:pt x="4572" y="100583"/>
                  </a:lnTo>
                  <a:lnTo>
                    <a:pt x="7620" y="39623"/>
                  </a:lnTo>
                  <a:lnTo>
                    <a:pt x="10667" y="0"/>
                  </a:lnTo>
                  <a:close/>
                </a:path>
                <a:path w="457200" h="1558925">
                  <a:moveTo>
                    <a:pt x="35286" y="0"/>
                  </a:moveTo>
                  <a:lnTo>
                    <a:pt x="29587" y="0"/>
                  </a:lnTo>
                  <a:lnTo>
                    <a:pt x="27432" y="44195"/>
                  </a:lnTo>
                  <a:lnTo>
                    <a:pt x="24384" y="172211"/>
                  </a:lnTo>
                  <a:lnTo>
                    <a:pt x="25908" y="225551"/>
                  </a:lnTo>
                  <a:lnTo>
                    <a:pt x="27432" y="163067"/>
                  </a:lnTo>
                  <a:lnTo>
                    <a:pt x="28956" y="102107"/>
                  </a:lnTo>
                  <a:lnTo>
                    <a:pt x="32004" y="42671"/>
                  </a:lnTo>
                  <a:lnTo>
                    <a:pt x="35286" y="0"/>
                  </a:lnTo>
                  <a:close/>
                </a:path>
              </a:pathLst>
            </a:custGeom>
            <a:solidFill>
              <a:srgbClr val="88A3A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98520" y="943283"/>
            <a:ext cx="467042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Public Holiday</a:t>
            </a:r>
            <a:r>
              <a:rPr spc="-114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Calendar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013382" y="1753071"/>
            <a:ext cx="7161530" cy="21132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30000"/>
              </a:lnSpc>
              <a:spcBef>
                <a:spcPts val="95"/>
              </a:spcBef>
              <a:buSzPct val="95000"/>
              <a:buChar char="•"/>
              <a:tabLst>
                <a:tab pos="86995" algn="l"/>
                <a:tab pos="5805805" algn="l"/>
              </a:tabLst>
            </a:pPr>
            <a:r>
              <a:rPr sz="2000" dirty="0">
                <a:latin typeface="Liberation Sans Narrow"/>
                <a:cs typeface="Liberation Sans Narrow"/>
              </a:rPr>
              <a:t>The </a:t>
            </a:r>
            <a:r>
              <a:rPr sz="2000" spc="-5" dirty="0">
                <a:latin typeface="Liberation Sans Narrow"/>
                <a:cs typeface="Liberation Sans Narrow"/>
              </a:rPr>
              <a:t>Holiday Calendar will have the </a:t>
            </a:r>
            <a:r>
              <a:rPr sz="2000" spc="-10" dirty="0">
                <a:latin typeface="Liberation Sans Narrow"/>
                <a:cs typeface="Liberation Sans Narrow"/>
              </a:rPr>
              <a:t>list </a:t>
            </a:r>
            <a:r>
              <a:rPr sz="2000" spc="-5" dirty="0">
                <a:latin typeface="Liberation Sans Narrow"/>
                <a:cs typeface="Liberation Sans Narrow"/>
              </a:rPr>
              <a:t>of</a:t>
            </a:r>
            <a:r>
              <a:rPr sz="2000" spc="15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holidays.</a:t>
            </a:r>
            <a:r>
              <a:rPr sz="2000" spc="15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Holidays	should also</a:t>
            </a:r>
            <a:r>
              <a:rPr sz="2000" spc="-75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be  configured as Full </a:t>
            </a:r>
            <a:r>
              <a:rPr sz="2000" dirty="0">
                <a:latin typeface="Liberation Sans Narrow"/>
                <a:cs typeface="Liberation Sans Narrow"/>
              </a:rPr>
              <a:t>Day </a:t>
            </a:r>
            <a:r>
              <a:rPr sz="2000" spc="-5" dirty="0">
                <a:latin typeface="Liberation Sans Narrow"/>
                <a:cs typeface="Liberation Sans Narrow"/>
              </a:rPr>
              <a:t>Public Holiday and Half </a:t>
            </a:r>
            <a:r>
              <a:rPr sz="2000" dirty="0">
                <a:latin typeface="Liberation Sans Narrow"/>
                <a:cs typeface="Liberation Sans Narrow"/>
              </a:rPr>
              <a:t>a Day </a:t>
            </a:r>
            <a:r>
              <a:rPr sz="2000" spc="-5" dirty="0">
                <a:latin typeface="Liberation Sans Narrow"/>
                <a:cs typeface="Liberation Sans Narrow"/>
              </a:rPr>
              <a:t>Public</a:t>
            </a:r>
            <a:r>
              <a:rPr sz="2000" spc="-30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Holiday</a:t>
            </a:r>
            <a:endParaRPr sz="2000">
              <a:latin typeface="Liberation Sans Narrow"/>
              <a:cs typeface="Liberation Sans Narrow"/>
            </a:endParaRPr>
          </a:p>
          <a:p>
            <a:pPr>
              <a:lnSpc>
                <a:spcPct val="100000"/>
              </a:lnSpc>
              <a:buFont typeface="Liberation Sans Narrow"/>
              <a:buChar char="•"/>
            </a:pPr>
            <a:endParaRPr sz="2300">
              <a:latin typeface="Liberation Sans Narrow"/>
              <a:cs typeface="Liberation Sans Narrow"/>
            </a:endParaRPr>
          </a:p>
          <a:p>
            <a:pPr marL="12700" marR="103505">
              <a:lnSpc>
                <a:spcPct val="130000"/>
              </a:lnSpc>
              <a:spcBef>
                <a:spcPts val="1325"/>
              </a:spcBef>
              <a:buSzPct val="95000"/>
              <a:buChar char="•"/>
              <a:tabLst>
                <a:tab pos="86995" algn="l"/>
              </a:tabLst>
            </a:pPr>
            <a:r>
              <a:rPr sz="2000" spc="-5" dirty="0">
                <a:latin typeface="Liberation Sans Narrow"/>
                <a:cs typeface="Liberation Sans Narrow"/>
              </a:rPr>
              <a:t>Holidays may be Fixed (Fixed date), Movable (varies </a:t>
            </a:r>
            <a:r>
              <a:rPr sz="2000" dirty="0">
                <a:latin typeface="Liberation Sans Narrow"/>
                <a:cs typeface="Liberation Sans Narrow"/>
              </a:rPr>
              <a:t>from </a:t>
            </a:r>
            <a:r>
              <a:rPr sz="2000" spc="-5" dirty="0">
                <a:latin typeface="Liberation Sans Narrow"/>
                <a:cs typeface="Liberation Sans Narrow"/>
              </a:rPr>
              <a:t>year to year) and  can also be configured as distance </a:t>
            </a:r>
            <a:r>
              <a:rPr sz="2000" dirty="0">
                <a:latin typeface="Liberation Sans Narrow"/>
                <a:cs typeface="Liberation Sans Narrow"/>
              </a:rPr>
              <a:t>from</a:t>
            </a:r>
            <a:r>
              <a:rPr sz="2000" spc="-35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Easter</a:t>
            </a:r>
            <a:endParaRPr sz="2000">
              <a:latin typeface="Liberation Sans Narrow"/>
              <a:cs typeface="Liberation Sans Narrow"/>
            </a:endParaRPr>
          </a:p>
        </p:txBody>
      </p:sp>
    </p:spTree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441925"/>
            <a:ext cx="4401185" cy="10013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Determine Validity</a:t>
            </a:r>
            <a:r>
              <a:rPr spc="-95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and  Deduction</a:t>
            </a:r>
            <a:r>
              <a:rPr spc="-6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Periods</a:t>
            </a:r>
          </a:p>
        </p:txBody>
      </p:sp>
      <p:sp>
        <p:nvSpPr>
          <p:cNvPr id="3" name="object 3"/>
          <p:cNvSpPr/>
          <p:nvPr/>
        </p:nvSpPr>
        <p:spPr>
          <a:xfrm>
            <a:off x="1795637" y="1407042"/>
            <a:ext cx="6001024" cy="24854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795637" y="3892479"/>
            <a:ext cx="5900563" cy="311792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300164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Reduction</a:t>
            </a:r>
            <a:r>
              <a:rPr spc="-105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Rule</a:t>
            </a:r>
          </a:p>
        </p:txBody>
      </p:sp>
      <p:sp>
        <p:nvSpPr>
          <p:cNvPr id="3" name="object 3"/>
          <p:cNvSpPr/>
          <p:nvPr/>
        </p:nvSpPr>
        <p:spPr>
          <a:xfrm>
            <a:off x="716737" y="1149507"/>
            <a:ext cx="8279190" cy="274297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716737" y="3892479"/>
            <a:ext cx="8279190" cy="304172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47277" y="758892"/>
            <a:ext cx="300164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Reduction</a:t>
            </a:r>
            <a:r>
              <a:rPr spc="-105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Rul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973769" y="1504684"/>
            <a:ext cx="7965440" cy="3317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282575">
              <a:lnSpc>
                <a:spcPct val="110000"/>
              </a:lnSpc>
              <a:spcBef>
                <a:spcPts val="95"/>
              </a:spcBef>
              <a:buChar char="•"/>
              <a:tabLst>
                <a:tab pos="140970" algn="l"/>
              </a:tabLst>
            </a:pPr>
            <a:r>
              <a:rPr sz="2000" spc="-5" dirty="0">
                <a:latin typeface="Liberation Sans Narrow"/>
                <a:cs typeface="Liberation Sans Narrow"/>
              </a:rPr>
              <a:t>Quota can be reduced proportionately for part-time employees based on part-time  percentage in Infotype</a:t>
            </a:r>
            <a:r>
              <a:rPr sz="2000" spc="-30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0007</a:t>
            </a:r>
            <a:endParaRPr sz="2000">
              <a:latin typeface="Liberation Sans Narrow"/>
              <a:cs typeface="Liberation Sans Narrow"/>
            </a:endParaRPr>
          </a:p>
          <a:p>
            <a:pPr>
              <a:lnSpc>
                <a:spcPct val="100000"/>
              </a:lnSpc>
              <a:buFont typeface="Liberation Sans Narrow"/>
              <a:buChar char="•"/>
            </a:pPr>
            <a:endParaRPr sz="2300">
              <a:latin typeface="Liberation Sans Narrow"/>
              <a:cs typeface="Liberation Sans Narrow"/>
            </a:endParaRPr>
          </a:p>
          <a:p>
            <a:pPr>
              <a:lnSpc>
                <a:spcPct val="100000"/>
              </a:lnSpc>
              <a:spcBef>
                <a:spcPts val="50"/>
              </a:spcBef>
              <a:buFont typeface="Liberation Sans Narrow"/>
              <a:buChar char="•"/>
            </a:pPr>
            <a:endParaRPr sz="2050">
              <a:latin typeface="Liberation Sans Narrow"/>
              <a:cs typeface="Liberation Sans Narrow"/>
            </a:endParaRPr>
          </a:p>
          <a:p>
            <a:pPr marL="12700" marR="157480">
              <a:lnSpc>
                <a:spcPct val="110000"/>
              </a:lnSpc>
              <a:buChar char="•"/>
              <a:tabLst>
                <a:tab pos="140970" algn="l"/>
              </a:tabLst>
            </a:pPr>
            <a:r>
              <a:rPr sz="2000" spc="-5" dirty="0">
                <a:latin typeface="Liberation Sans Narrow"/>
                <a:cs typeface="Liberation Sans Narrow"/>
              </a:rPr>
              <a:t>Quota can be reduced proportionately for employees based on Capacity </a:t>
            </a:r>
            <a:r>
              <a:rPr sz="2000" spc="-10" dirty="0">
                <a:latin typeface="Liberation Sans Narrow"/>
                <a:cs typeface="Liberation Sans Narrow"/>
              </a:rPr>
              <a:t>Utilisation  </a:t>
            </a:r>
            <a:r>
              <a:rPr sz="2000" spc="-5" dirty="0">
                <a:latin typeface="Liberation Sans Narrow"/>
                <a:cs typeface="Liberation Sans Narrow"/>
              </a:rPr>
              <a:t>percentage in Infotype</a:t>
            </a:r>
            <a:r>
              <a:rPr sz="2000" spc="-30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0008</a:t>
            </a:r>
            <a:endParaRPr sz="2000">
              <a:latin typeface="Liberation Sans Narrow"/>
              <a:cs typeface="Liberation Sans Narrow"/>
            </a:endParaRPr>
          </a:p>
          <a:p>
            <a:pPr>
              <a:lnSpc>
                <a:spcPct val="100000"/>
              </a:lnSpc>
              <a:buFont typeface="Liberation Sans Narrow"/>
              <a:buChar char="•"/>
            </a:pPr>
            <a:endParaRPr sz="2300">
              <a:latin typeface="Liberation Sans Narrow"/>
              <a:cs typeface="Liberation Sans Narrow"/>
            </a:endParaRPr>
          </a:p>
          <a:p>
            <a:pPr>
              <a:lnSpc>
                <a:spcPct val="100000"/>
              </a:lnSpc>
              <a:spcBef>
                <a:spcPts val="45"/>
              </a:spcBef>
              <a:buFont typeface="Liberation Sans Narrow"/>
              <a:buChar char="•"/>
            </a:pPr>
            <a:endParaRPr sz="2050">
              <a:latin typeface="Liberation Sans Narrow"/>
              <a:cs typeface="Liberation Sans Narrow"/>
            </a:endParaRPr>
          </a:p>
          <a:p>
            <a:pPr marL="12700" marR="5080">
              <a:lnSpc>
                <a:spcPct val="110000"/>
              </a:lnSpc>
              <a:spcBef>
                <a:spcPts val="5"/>
              </a:spcBef>
              <a:buChar char="•"/>
              <a:tabLst>
                <a:tab pos="140970" algn="l"/>
              </a:tabLst>
            </a:pPr>
            <a:r>
              <a:rPr sz="2000" spc="-5" dirty="0">
                <a:latin typeface="Liberation Sans Narrow"/>
                <a:cs typeface="Liberation Sans Narrow"/>
              </a:rPr>
              <a:t>For employees </a:t>
            </a:r>
            <a:r>
              <a:rPr sz="2000" dirty="0">
                <a:latin typeface="Liberation Sans Narrow"/>
                <a:cs typeface="Liberation Sans Narrow"/>
              </a:rPr>
              <a:t>who </a:t>
            </a:r>
            <a:r>
              <a:rPr sz="2000" spc="-5" dirty="0">
                <a:latin typeface="Liberation Sans Narrow"/>
                <a:cs typeface="Liberation Sans Narrow"/>
              </a:rPr>
              <a:t>join or leave in the middle of the </a:t>
            </a:r>
            <a:r>
              <a:rPr sz="2000" spc="-20" dirty="0">
                <a:latin typeface="Liberation Sans Narrow"/>
                <a:cs typeface="Liberation Sans Narrow"/>
              </a:rPr>
              <a:t>year, </a:t>
            </a:r>
            <a:r>
              <a:rPr sz="2000" spc="-5" dirty="0">
                <a:latin typeface="Liberation Sans Narrow"/>
                <a:cs typeface="Liberation Sans Narrow"/>
              </a:rPr>
              <a:t>based on </a:t>
            </a:r>
            <a:r>
              <a:rPr sz="2000" spc="-20" dirty="0">
                <a:latin typeface="Liberation Sans Narrow"/>
                <a:cs typeface="Liberation Sans Narrow"/>
              </a:rPr>
              <a:t>inactivity, </a:t>
            </a:r>
            <a:r>
              <a:rPr sz="2000" spc="-5" dirty="0">
                <a:latin typeface="Liberation Sans Narrow"/>
                <a:cs typeface="Liberation Sans Narrow"/>
              </a:rPr>
              <a:t>quotas  can be</a:t>
            </a:r>
            <a:r>
              <a:rPr sz="2000" spc="-20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reduced</a:t>
            </a:r>
            <a:endParaRPr sz="2000">
              <a:latin typeface="Liberation Sans Narrow"/>
              <a:cs typeface="Liberation Sans Narrow"/>
            </a:endParaRPr>
          </a:p>
        </p:txBody>
      </p:sp>
    </p:spTree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745690" y="2835940"/>
            <a:ext cx="259905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>
                <a:solidFill>
                  <a:srgbClr val="FF0000"/>
                </a:solidFill>
                <a:latin typeface="Liberation Sans Narrow"/>
                <a:cs typeface="Liberation Sans Narrow"/>
              </a:rPr>
              <a:t>Generation</a:t>
            </a:r>
            <a:r>
              <a:rPr spc="-125" dirty="0">
                <a:solidFill>
                  <a:srgbClr val="FF0000"/>
                </a:solidFill>
                <a:latin typeface="Liberation Sans Narrow"/>
                <a:cs typeface="Liberation Sans Narrow"/>
              </a:rPr>
              <a:t> </a:t>
            </a:r>
            <a:r>
              <a:rPr dirty="0">
                <a:solidFill>
                  <a:srgbClr val="FF0000"/>
                </a:solidFill>
                <a:latin typeface="Liberation Sans Narrow"/>
                <a:cs typeface="Liberation Sans Narrow"/>
              </a:rPr>
              <a:t>Rule</a:t>
            </a:r>
          </a:p>
        </p:txBody>
      </p:sp>
    </p:spTree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47277" y="708599"/>
            <a:ext cx="315976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Generation</a:t>
            </a:r>
            <a:r>
              <a:rPr spc="-10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Rul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847277" y="1682360"/>
            <a:ext cx="8065770" cy="3622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spc="-5" dirty="0">
                <a:latin typeface="Liberation Sans Narrow"/>
                <a:cs typeface="Liberation Sans Narrow"/>
              </a:rPr>
              <a:t>Generate Rule</a:t>
            </a:r>
            <a:r>
              <a:rPr sz="2000" spc="-45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incorporates</a:t>
            </a:r>
            <a:endParaRPr sz="2000">
              <a:latin typeface="Liberation Sans Narrow"/>
              <a:cs typeface="Liberation Sans Narrow"/>
            </a:endParaRPr>
          </a:p>
          <a:p>
            <a:pPr marL="86360" indent="-74295">
              <a:lnSpc>
                <a:spcPct val="100000"/>
              </a:lnSpc>
              <a:spcBef>
                <a:spcPts val="1920"/>
              </a:spcBef>
              <a:buSzPct val="95000"/>
              <a:buChar char="•"/>
              <a:tabLst>
                <a:tab pos="86995" algn="l"/>
              </a:tabLst>
            </a:pPr>
            <a:r>
              <a:rPr sz="2000" spc="-5" dirty="0">
                <a:latin typeface="Liberation Sans Narrow"/>
                <a:cs typeface="Liberation Sans Narrow"/>
              </a:rPr>
              <a:t>Base</a:t>
            </a:r>
            <a:r>
              <a:rPr sz="2000" spc="-10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Entitlements</a:t>
            </a:r>
            <a:endParaRPr sz="2000">
              <a:latin typeface="Liberation Sans Narrow"/>
              <a:cs typeface="Liberation Sans Narrow"/>
            </a:endParaRPr>
          </a:p>
          <a:p>
            <a:pPr marL="86360" indent="-74295">
              <a:lnSpc>
                <a:spcPct val="100000"/>
              </a:lnSpc>
              <a:spcBef>
                <a:spcPts val="1920"/>
              </a:spcBef>
              <a:buSzPct val="95000"/>
              <a:buChar char="•"/>
              <a:tabLst>
                <a:tab pos="86995" algn="l"/>
              </a:tabLst>
            </a:pPr>
            <a:r>
              <a:rPr sz="2000" spc="-5" dirty="0">
                <a:latin typeface="Liberation Sans Narrow"/>
                <a:cs typeface="Liberation Sans Narrow"/>
              </a:rPr>
              <a:t>Reduction</a:t>
            </a:r>
            <a:r>
              <a:rPr sz="2000" spc="-20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Rule</a:t>
            </a:r>
            <a:endParaRPr sz="2000">
              <a:latin typeface="Liberation Sans Narrow"/>
              <a:cs typeface="Liberation Sans Narrow"/>
            </a:endParaRPr>
          </a:p>
          <a:p>
            <a:pPr marL="140335" indent="-128270">
              <a:lnSpc>
                <a:spcPct val="100000"/>
              </a:lnSpc>
              <a:spcBef>
                <a:spcPts val="1920"/>
              </a:spcBef>
              <a:buSzPct val="95000"/>
              <a:buChar char="•"/>
              <a:tabLst>
                <a:tab pos="140970" algn="l"/>
              </a:tabLst>
            </a:pPr>
            <a:r>
              <a:rPr sz="2000" spc="-5" dirty="0">
                <a:latin typeface="Liberation Sans Narrow"/>
                <a:cs typeface="Liberation Sans Narrow"/>
              </a:rPr>
              <a:t>Rounding</a:t>
            </a:r>
            <a:r>
              <a:rPr sz="2000" spc="-10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Rule</a:t>
            </a:r>
            <a:endParaRPr sz="2000">
              <a:latin typeface="Liberation Sans Narrow"/>
              <a:cs typeface="Liberation Sans Narrow"/>
            </a:endParaRPr>
          </a:p>
          <a:p>
            <a:pPr marL="140335" indent="-128270">
              <a:lnSpc>
                <a:spcPct val="100000"/>
              </a:lnSpc>
              <a:spcBef>
                <a:spcPts val="1920"/>
              </a:spcBef>
              <a:buSzPct val="95000"/>
              <a:buChar char="•"/>
              <a:tabLst>
                <a:tab pos="140970" algn="l"/>
              </a:tabLst>
            </a:pPr>
            <a:r>
              <a:rPr sz="2000" spc="-5" dirty="0">
                <a:latin typeface="Liberation Sans Narrow"/>
                <a:cs typeface="Liberation Sans Narrow"/>
              </a:rPr>
              <a:t>Based on Challenge percentage of employee different generation rules can be</a:t>
            </a:r>
            <a:r>
              <a:rPr sz="2000" spc="25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framed</a:t>
            </a:r>
            <a:endParaRPr sz="2000">
              <a:latin typeface="Liberation Sans Narrow"/>
              <a:cs typeface="Liberation Sans Narrow"/>
            </a:endParaRPr>
          </a:p>
          <a:p>
            <a:pPr marL="140335" indent="-128270">
              <a:lnSpc>
                <a:spcPct val="100000"/>
              </a:lnSpc>
              <a:spcBef>
                <a:spcPts val="1920"/>
              </a:spcBef>
              <a:buSzPct val="95000"/>
              <a:buChar char="•"/>
              <a:tabLst>
                <a:tab pos="140970" algn="l"/>
              </a:tabLst>
            </a:pPr>
            <a:r>
              <a:rPr sz="2000" spc="-5" dirty="0">
                <a:latin typeface="Liberation Sans Narrow"/>
                <a:cs typeface="Liberation Sans Narrow"/>
              </a:rPr>
              <a:t>Based on date of </a:t>
            </a:r>
            <a:r>
              <a:rPr sz="2000" spc="-25" dirty="0">
                <a:latin typeface="Liberation Sans Narrow"/>
                <a:cs typeface="Liberation Sans Narrow"/>
              </a:rPr>
              <a:t>entry, </a:t>
            </a:r>
            <a:r>
              <a:rPr sz="2000" spc="-5" dirty="0">
                <a:latin typeface="Liberation Sans Narrow"/>
                <a:cs typeface="Liberation Sans Narrow"/>
              </a:rPr>
              <a:t>different generation rules can be</a:t>
            </a:r>
            <a:r>
              <a:rPr sz="2000" spc="10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framed</a:t>
            </a:r>
            <a:endParaRPr sz="2000">
              <a:latin typeface="Liberation Sans Narrow"/>
              <a:cs typeface="Liberation Sans Narrow"/>
            </a:endParaRPr>
          </a:p>
          <a:p>
            <a:pPr marL="86360" indent="-74295">
              <a:lnSpc>
                <a:spcPct val="100000"/>
              </a:lnSpc>
              <a:spcBef>
                <a:spcPts val="1920"/>
              </a:spcBef>
              <a:buSzPct val="95000"/>
              <a:buChar char="•"/>
              <a:tabLst>
                <a:tab pos="86995" algn="l"/>
              </a:tabLst>
            </a:pPr>
            <a:r>
              <a:rPr sz="2000" dirty="0">
                <a:latin typeface="Liberation Sans Narrow"/>
                <a:cs typeface="Liberation Sans Narrow"/>
              </a:rPr>
              <a:t>The </a:t>
            </a:r>
            <a:r>
              <a:rPr sz="2000" spc="-5" dirty="0">
                <a:latin typeface="Liberation Sans Narrow"/>
                <a:cs typeface="Liberation Sans Narrow"/>
              </a:rPr>
              <a:t>maximum entitlement can be restricted in the generation</a:t>
            </a:r>
            <a:r>
              <a:rPr sz="2000" spc="-80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rule</a:t>
            </a:r>
            <a:endParaRPr sz="2000">
              <a:latin typeface="Liberation Sans Narrow"/>
              <a:cs typeface="Liberation Sans Narrow"/>
            </a:endParaRPr>
          </a:p>
        </p:txBody>
      </p:sp>
    </p:spTree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643594" y="3050799"/>
            <a:ext cx="280352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>
                <a:solidFill>
                  <a:srgbClr val="FF0000"/>
                </a:solidFill>
                <a:latin typeface="Liberation Sans Narrow"/>
                <a:cs typeface="Liberation Sans Narrow"/>
              </a:rPr>
              <a:t>Default of</a:t>
            </a:r>
            <a:r>
              <a:rPr spc="-125" dirty="0">
                <a:solidFill>
                  <a:srgbClr val="FF0000"/>
                </a:solidFill>
                <a:latin typeface="Liberation Sans Narrow"/>
                <a:cs typeface="Liberation Sans Narrow"/>
              </a:rPr>
              <a:t> </a:t>
            </a:r>
            <a:r>
              <a:rPr dirty="0">
                <a:solidFill>
                  <a:srgbClr val="FF0000"/>
                </a:solidFill>
                <a:latin typeface="Liberation Sans Narrow"/>
                <a:cs typeface="Liberation Sans Narrow"/>
              </a:rPr>
              <a:t>Quotas</a:t>
            </a:r>
          </a:p>
        </p:txBody>
      </p:sp>
    </p:spTree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47277" y="796992"/>
            <a:ext cx="340804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Default of</a:t>
            </a:r>
            <a:r>
              <a:rPr spc="-10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Quota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847277" y="1709792"/>
            <a:ext cx="7903845" cy="3378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40335" indent="-128270">
              <a:lnSpc>
                <a:spcPct val="100000"/>
              </a:lnSpc>
              <a:spcBef>
                <a:spcPts val="100"/>
              </a:spcBef>
              <a:buChar char="•"/>
              <a:tabLst>
                <a:tab pos="140970" algn="l"/>
              </a:tabLst>
            </a:pPr>
            <a:r>
              <a:rPr sz="2000" dirty="0">
                <a:latin typeface="Liberation Sans Narrow"/>
                <a:cs typeface="Liberation Sans Narrow"/>
              </a:rPr>
              <a:t>QUOMO </a:t>
            </a:r>
            <a:r>
              <a:rPr sz="2000" spc="-5" dirty="0">
                <a:latin typeface="Liberation Sans Narrow"/>
                <a:cs typeface="Liberation Sans Narrow"/>
              </a:rPr>
              <a:t>feature defaults quotas based on Quota </a:t>
            </a:r>
            <a:r>
              <a:rPr sz="2000" spc="-25" dirty="0">
                <a:latin typeface="Liberation Sans Narrow"/>
                <a:cs typeface="Liberation Sans Narrow"/>
              </a:rPr>
              <a:t>Type </a:t>
            </a:r>
            <a:r>
              <a:rPr sz="2000" spc="-5" dirty="0">
                <a:latin typeface="Liberation Sans Narrow"/>
                <a:cs typeface="Liberation Sans Narrow"/>
              </a:rPr>
              <a:t>Selection Rule</a:t>
            </a:r>
            <a:r>
              <a:rPr sz="2000" spc="-85" dirty="0">
                <a:latin typeface="Liberation Sans Narrow"/>
                <a:cs typeface="Liberation Sans Narrow"/>
              </a:rPr>
              <a:t> </a:t>
            </a:r>
            <a:r>
              <a:rPr sz="2000" dirty="0">
                <a:latin typeface="Liberation Sans Narrow"/>
                <a:cs typeface="Liberation Sans Narrow"/>
              </a:rPr>
              <a:t>Group</a:t>
            </a:r>
            <a:endParaRPr sz="2000">
              <a:latin typeface="Liberation Sans Narrow"/>
              <a:cs typeface="Liberation Sans Narrow"/>
            </a:endParaRPr>
          </a:p>
          <a:p>
            <a:pPr>
              <a:lnSpc>
                <a:spcPct val="100000"/>
              </a:lnSpc>
              <a:spcBef>
                <a:spcPts val="45"/>
              </a:spcBef>
              <a:buFont typeface="Liberation Sans Narrow"/>
              <a:buChar char="•"/>
            </a:pPr>
            <a:endParaRPr sz="3100">
              <a:latin typeface="Liberation Sans Narrow"/>
              <a:cs typeface="Liberation Sans Narrow"/>
            </a:endParaRPr>
          </a:p>
          <a:p>
            <a:pPr marL="125095" marR="5080" indent="-113030">
              <a:lnSpc>
                <a:spcPct val="150000"/>
              </a:lnSpc>
              <a:buChar char="•"/>
              <a:tabLst>
                <a:tab pos="137795" algn="l"/>
              </a:tabLst>
            </a:pPr>
            <a:r>
              <a:rPr sz="2000" dirty="0">
                <a:latin typeface="Liberation Sans Narrow"/>
                <a:cs typeface="Liberation Sans Narrow"/>
              </a:rPr>
              <a:t>The </a:t>
            </a:r>
            <a:r>
              <a:rPr sz="2000" spc="-5" dirty="0">
                <a:latin typeface="Liberation Sans Narrow"/>
                <a:cs typeface="Liberation Sans Narrow"/>
              </a:rPr>
              <a:t>Generation Rule and </a:t>
            </a:r>
            <a:r>
              <a:rPr sz="2000" spc="-20" dirty="0">
                <a:latin typeface="Liberation Sans Narrow"/>
                <a:cs typeface="Liberation Sans Narrow"/>
              </a:rPr>
              <a:t>Validity </a:t>
            </a:r>
            <a:r>
              <a:rPr sz="2000" spc="-5" dirty="0">
                <a:latin typeface="Liberation Sans Narrow"/>
                <a:cs typeface="Liberation Sans Narrow"/>
              </a:rPr>
              <a:t>periods would </a:t>
            </a:r>
            <a:r>
              <a:rPr sz="2000" dirty="0">
                <a:latin typeface="Liberation Sans Narrow"/>
                <a:cs typeface="Liberation Sans Narrow"/>
              </a:rPr>
              <a:t>refer </a:t>
            </a:r>
            <a:r>
              <a:rPr sz="2000" spc="-5" dirty="0">
                <a:latin typeface="Liberation Sans Narrow"/>
                <a:cs typeface="Liberation Sans Narrow"/>
              </a:rPr>
              <a:t>the Quota </a:t>
            </a:r>
            <a:r>
              <a:rPr sz="2000" spc="-25" dirty="0">
                <a:latin typeface="Liberation Sans Narrow"/>
                <a:cs typeface="Liberation Sans Narrow"/>
              </a:rPr>
              <a:t>Type </a:t>
            </a:r>
            <a:r>
              <a:rPr sz="2000" spc="-5" dirty="0">
                <a:latin typeface="Liberation Sans Narrow"/>
                <a:cs typeface="Liberation Sans Narrow"/>
              </a:rPr>
              <a:t>Selection Rule  </a:t>
            </a:r>
            <a:r>
              <a:rPr sz="2000" dirty="0">
                <a:latin typeface="Liberation Sans Narrow"/>
                <a:cs typeface="Liberation Sans Narrow"/>
              </a:rPr>
              <a:t>Group</a:t>
            </a:r>
            <a:endParaRPr sz="2000">
              <a:latin typeface="Liberation Sans Narrow"/>
              <a:cs typeface="Liberation Sans Narrow"/>
            </a:endParaRPr>
          </a:p>
          <a:p>
            <a:pPr>
              <a:lnSpc>
                <a:spcPct val="100000"/>
              </a:lnSpc>
              <a:buFont typeface="Liberation Sans Narrow"/>
              <a:buChar char="•"/>
            </a:pPr>
            <a:endParaRPr sz="2300">
              <a:latin typeface="Liberation Sans Narrow"/>
              <a:cs typeface="Liberation Sans Narrow"/>
            </a:endParaRPr>
          </a:p>
          <a:p>
            <a:pPr>
              <a:lnSpc>
                <a:spcPct val="100000"/>
              </a:lnSpc>
              <a:spcBef>
                <a:spcPts val="35"/>
              </a:spcBef>
              <a:buFont typeface="Liberation Sans Narrow"/>
              <a:buChar char="•"/>
            </a:pPr>
            <a:endParaRPr sz="1850">
              <a:latin typeface="Liberation Sans Narrow"/>
              <a:cs typeface="Liberation Sans Narrow"/>
            </a:endParaRPr>
          </a:p>
          <a:p>
            <a:pPr marL="12700" marR="277495">
              <a:lnSpc>
                <a:spcPct val="100000"/>
              </a:lnSpc>
              <a:buChar char="•"/>
              <a:tabLst>
                <a:tab pos="140970" algn="l"/>
              </a:tabLst>
            </a:pPr>
            <a:r>
              <a:rPr sz="2000" spc="-5" dirty="0">
                <a:latin typeface="Liberation Sans Narrow"/>
                <a:cs typeface="Liberation Sans Narrow"/>
              </a:rPr>
              <a:t>Based on the Quota </a:t>
            </a:r>
            <a:r>
              <a:rPr sz="2000" spc="-25" dirty="0">
                <a:latin typeface="Liberation Sans Narrow"/>
                <a:cs typeface="Liberation Sans Narrow"/>
              </a:rPr>
              <a:t>Type </a:t>
            </a:r>
            <a:r>
              <a:rPr sz="2000" spc="-5" dirty="0">
                <a:latin typeface="Liberation Sans Narrow"/>
                <a:cs typeface="Liberation Sans Narrow"/>
              </a:rPr>
              <a:t>Selection Rule </a:t>
            </a:r>
            <a:r>
              <a:rPr sz="2000" dirty="0">
                <a:latin typeface="Liberation Sans Narrow"/>
                <a:cs typeface="Liberation Sans Narrow"/>
              </a:rPr>
              <a:t>Group QUOMO </a:t>
            </a:r>
            <a:r>
              <a:rPr sz="2000" spc="-5" dirty="0">
                <a:latin typeface="Liberation Sans Narrow"/>
                <a:cs typeface="Liberation Sans Narrow"/>
              </a:rPr>
              <a:t>will default the quotas if  </a:t>
            </a:r>
            <a:r>
              <a:rPr sz="2000" dirty="0">
                <a:latin typeface="Liberation Sans Narrow"/>
                <a:cs typeface="Liberation Sans Narrow"/>
              </a:rPr>
              <a:t>report</a:t>
            </a:r>
            <a:endParaRPr sz="2000">
              <a:latin typeface="Liberation Sans Narrow"/>
              <a:cs typeface="Liberation Sans Narrow"/>
            </a:endParaRPr>
          </a:p>
          <a:p>
            <a:pPr marL="181610">
              <a:lnSpc>
                <a:spcPct val="100000"/>
              </a:lnSpc>
              <a:spcBef>
                <a:spcPts val="1200"/>
              </a:spcBef>
            </a:pPr>
            <a:r>
              <a:rPr sz="2000" spc="-15" dirty="0">
                <a:latin typeface="Liberation Sans Narrow"/>
                <a:cs typeface="Liberation Sans Narrow"/>
              </a:rPr>
              <a:t>RPTQTA00 </a:t>
            </a:r>
            <a:r>
              <a:rPr sz="2000" spc="-5" dirty="0">
                <a:latin typeface="Liberation Sans Narrow"/>
                <a:cs typeface="Liberation Sans Narrow"/>
              </a:rPr>
              <a:t>is </a:t>
            </a:r>
            <a:r>
              <a:rPr sz="2000" dirty="0">
                <a:latin typeface="Liberation Sans Narrow"/>
                <a:cs typeface="Liberation Sans Narrow"/>
              </a:rPr>
              <a:t>run </a:t>
            </a:r>
            <a:r>
              <a:rPr sz="2000" spc="-5" dirty="0">
                <a:latin typeface="Liberation Sans Narrow"/>
                <a:cs typeface="Liberation Sans Narrow"/>
              </a:rPr>
              <a:t>or when Infotype 2006 is</a:t>
            </a:r>
            <a:r>
              <a:rPr sz="2000" spc="-30" dirty="0">
                <a:latin typeface="Liberation Sans Narrow"/>
                <a:cs typeface="Liberation Sans Narrow"/>
              </a:rPr>
              <a:t> </a:t>
            </a:r>
            <a:r>
              <a:rPr sz="2000" spc="-5" dirty="0">
                <a:latin typeface="Liberation Sans Narrow"/>
                <a:cs typeface="Liberation Sans Narrow"/>
              </a:rPr>
              <a:t>created</a:t>
            </a:r>
            <a:endParaRPr sz="2000">
              <a:latin typeface="Liberation Sans Narrow"/>
              <a:cs typeface="Liberation Sans Narrow"/>
            </a:endParaRPr>
          </a:p>
        </p:txBody>
      </p:sp>
    </p:spTree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444436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>
                <a:solidFill>
                  <a:schemeClr val="accent1"/>
                </a:solidFill>
              </a:rPr>
              <a:t>Quota </a:t>
            </a:r>
            <a:r>
              <a:rPr spc="-5" dirty="0">
                <a:solidFill>
                  <a:schemeClr val="accent1"/>
                </a:solidFill>
              </a:rPr>
              <a:t>Generation</a:t>
            </a:r>
            <a:r>
              <a:rPr spc="-140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Rule</a:t>
            </a:r>
          </a:p>
        </p:txBody>
      </p:sp>
      <p:sp>
        <p:nvSpPr>
          <p:cNvPr id="4" name="object 4"/>
          <p:cNvSpPr/>
          <p:nvPr/>
        </p:nvSpPr>
        <p:spPr>
          <a:xfrm>
            <a:off x="463774" y="4037255"/>
            <a:ext cx="9143246" cy="278106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244221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Applicability</a:t>
            </a:r>
          </a:p>
        </p:txBody>
      </p:sp>
      <p:grpSp>
        <p:nvGrpSpPr>
          <p:cNvPr id="3" name="object 3"/>
          <p:cNvGrpSpPr/>
          <p:nvPr/>
        </p:nvGrpSpPr>
        <p:grpSpPr>
          <a:xfrm>
            <a:off x="632923" y="1606670"/>
            <a:ext cx="8291382" cy="5382326"/>
            <a:chOff x="632923" y="1606670"/>
            <a:chExt cx="8291382" cy="5382326"/>
          </a:xfrm>
        </p:grpSpPr>
        <p:sp>
          <p:nvSpPr>
            <p:cNvPr id="4" name="object 4"/>
            <p:cNvSpPr/>
            <p:nvPr/>
          </p:nvSpPr>
          <p:spPr>
            <a:xfrm>
              <a:off x="632923" y="1606670"/>
              <a:ext cx="8291382" cy="2285808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632923" y="3892479"/>
              <a:ext cx="8291382" cy="3096517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512" y="627840"/>
            <a:ext cx="363220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>
                <a:solidFill>
                  <a:schemeClr val="accent1"/>
                </a:solidFill>
              </a:rPr>
              <a:t>Applicability</a:t>
            </a:r>
            <a:r>
              <a:rPr spc="-105" dirty="0">
                <a:solidFill>
                  <a:schemeClr val="accent1"/>
                </a:solidFill>
              </a:rPr>
              <a:t> </a:t>
            </a:r>
            <a:r>
              <a:rPr spc="-5" dirty="0">
                <a:solidFill>
                  <a:schemeClr val="accent1"/>
                </a:solidFill>
              </a:rPr>
              <a:t>cont..</a:t>
            </a:r>
          </a:p>
        </p:txBody>
      </p:sp>
      <p:sp>
        <p:nvSpPr>
          <p:cNvPr id="4" name="object 4"/>
          <p:cNvSpPr/>
          <p:nvPr/>
        </p:nvSpPr>
        <p:spPr>
          <a:xfrm>
            <a:off x="463771" y="3892479"/>
            <a:ext cx="8584297" cy="2813121"/>
          </a:xfrm>
          <a:custGeom>
            <a:avLst/>
            <a:gdLst/>
            <a:ahLst/>
            <a:cxnLst/>
            <a:rect l="l" t="t" r="r" b="b"/>
            <a:pathLst>
              <a:path w="9143365" h="3429000">
                <a:moveTo>
                  <a:pt x="0" y="3428722"/>
                </a:moveTo>
                <a:lnTo>
                  <a:pt x="9143238" y="3428722"/>
                </a:lnTo>
                <a:lnTo>
                  <a:pt x="9143238" y="0"/>
                </a:lnTo>
                <a:lnTo>
                  <a:pt x="0" y="0"/>
                </a:lnTo>
                <a:lnTo>
                  <a:pt x="0" y="342872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1010332" y="2322374"/>
            <a:ext cx="7668259" cy="38658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13462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Arial"/>
                <a:cs typeface="Arial"/>
              </a:rPr>
              <a:t>Earliest accrual </a:t>
            </a:r>
            <a:r>
              <a:rPr sz="1800" spc="-10" dirty="0">
                <a:latin typeface="Arial"/>
                <a:cs typeface="Arial"/>
              </a:rPr>
              <a:t>date: corresponds </a:t>
            </a:r>
            <a:r>
              <a:rPr sz="1800" dirty="0">
                <a:latin typeface="Arial"/>
                <a:cs typeface="Arial"/>
              </a:rPr>
              <a:t>to a </a:t>
            </a:r>
            <a:r>
              <a:rPr sz="1800" spc="-5" dirty="0">
                <a:latin typeface="Arial"/>
                <a:cs typeface="Arial"/>
              </a:rPr>
              <a:t>date on </a:t>
            </a:r>
            <a:r>
              <a:rPr sz="1800" spc="-10" dirty="0">
                <a:latin typeface="Arial"/>
                <a:cs typeface="Arial"/>
              </a:rPr>
              <a:t>Infotype 0019 </a:t>
            </a:r>
            <a:r>
              <a:rPr sz="1800" dirty="0">
                <a:latin typeface="Arial"/>
                <a:cs typeface="Arial"/>
              </a:rPr>
              <a:t>– </a:t>
            </a:r>
            <a:r>
              <a:rPr sz="1800" spc="-5" dirty="0">
                <a:latin typeface="Arial"/>
                <a:cs typeface="Arial"/>
              </a:rPr>
              <a:t>Monitoring  of Dates. For </a:t>
            </a:r>
            <a:r>
              <a:rPr sz="1800" spc="-10" dirty="0">
                <a:latin typeface="Arial"/>
                <a:cs typeface="Arial"/>
              </a:rPr>
              <a:t>example, </a:t>
            </a:r>
            <a:r>
              <a:rPr sz="1800" spc="-5" dirty="0">
                <a:latin typeface="Arial"/>
                <a:cs typeface="Arial"/>
              </a:rPr>
              <a:t>if the </a:t>
            </a:r>
            <a:r>
              <a:rPr sz="1800" spc="-15" dirty="0">
                <a:latin typeface="Arial"/>
                <a:cs typeface="Arial"/>
              </a:rPr>
              <a:t>employee’s </a:t>
            </a:r>
            <a:r>
              <a:rPr sz="1800" spc="-5" dirty="0">
                <a:latin typeface="Arial"/>
                <a:cs typeface="Arial"/>
              </a:rPr>
              <a:t>accrual </a:t>
            </a:r>
            <a:r>
              <a:rPr sz="1800" spc="-10" dirty="0">
                <a:latin typeface="Arial"/>
                <a:cs typeface="Arial"/>
              </a:rPr>
              <a:t>should not </a:t>
            </a:r>
            <a:r>
              <a:rPr sz="1800" spc="-5" dirty="0">
                <a:latin typeface="Arial"/>
                <a:cs typeface="Arial"/>
              </a:rPr>
              <a:t>start until after  they complete </a:t>
            </a:r>
            <a:r>
              <a:rPr sz="1800" dirty="0">
                <a:latin typeface="Arial"/>
                <a:cs typeface="Arial"/>
              </a:rPr>
              <a:t>a </a:t>
            </a:r>
            <a:r>
              <a:rPr sz="1800" spc="-10" dirty="0">
                <a:latin typeface="Arial"/>
                <a:cs typeface="Arial"/>
              </a:rPr>
              <a:t>probationary period </a:t>
            </a:r>
            <a:r>
              <a:rPr sz="1800" spc="-5" dirty="0">
                <a:latin typeface="Arial"/>
                <a:cs typeface="Arial"/>
              </a:rPr>
              <a:t>of time, </a:t>
            </a:r>
            <a:r>
              <a:rPr sz="1800" spc="-15" dirty="0">
                <a:latin typeface="Arial"/>
                <a:cs typeface="Arial"/>
              </a:rPr>
              <a:t>you </a:t>
            </a:r>
            <a:r>
              <a:rPr sz="1800" spc="-5" dirty="0">
                <a:latin typeface="Arial"/>
                <a:cs typeface="Arial"/>
              </a:rPr>
              <a:t>can specify the  </a:t>
            </a:r>
            <a:r>
              <a:rPr sz="1800" spc="-10" dirty="0">
                <a:latin typeface="Arial"/>
                <a:cs typeface="Arial"/>
              </a:rPr>
              <a:t>date/deadline type </a:t>
            </a:r>
            <a:r>
              <a:rPr sz="1800" spc="-5" dirty="0">
                <a:latin typeface="Arial"/>
                <a:cs typeface="Arial"/>
              </a:rPr>
              <a:t>from IT0019</a:t>
            </a:r>
            <a:r>
              <a:rPr sz="1800" spc="45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here.</a:t>
            </a:r>
            <a:endParaRPr sz="18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85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  <a:buChar char="•"/>
              <a:tabLst>
                <a:tab pos="154940" algn="l"/>
              </a:tabLst>
            </a:pPr>
            <a:r>
              <a:rPr sz="1800" spc="-5" dirty="0">
                <a:latin typeface="Arial"/>
                <a:cs typeface="Arial"/>
              </a:rPr>
              <a:t>Entry </a:t>
            </a:r>
            <a:r>
              <a:rPr sz="1800" spc="-10" dirty="0">
                <a:latin typeface="Arial"/>
                <a:cs typeface="Arial"/>
              </a:rPr>
              <a:t>date: </a:t>
            </a:r>
            <a:r>
              <a:rPr sz="1800" spc="-5" dirty="0">
                <a:latin typeface="Arial"/>
                <a:cs typeface="Arial"/>
              </a:rPr>
              <a:t>Specify </a:t>
            </a:r>
            <a:r>
              <a:rPr sz="1800" dirty="0">
                <a:latin typeface="Arial"/>
                <a:cs typeface="Arial"/>
              </a:rPr>
              <a:t>a </a:t>
            </a:r>
            <a:r>
              <a:rPr sz="1800" spc="-10" dirty="0">
                <a:latin typeface="Arial"/>
                <a:cs typeface="Arial"/>
              </a:rPr>
              <a:t>period </a:t>
            </a:r>
            <a:r>
              <a:rPr sz="1800" spc="-5" dirty="0">
                <a:latin typeface="Arial"/>
                <a:cs typeface="Arial"/>
              </a:rPr>
              <a:t>of time for </a:t>
            </a:r>
            <a:r>
              <a:rPr sz="1800" spc="-10" dirty="0">
                <a:latin typeface="Arial"/>
                <a:cs typeface="Arial"/>
              </a:rPr>
              <a:t>which </a:t>
            </a:r>
            <a:r>
              <a:rPr sz="1800" spc="-5" dirty="0">
                <a:latin typeface="Arial"/>
                <a:cs typeface="Arial"/>
              </a:rPr>
              <a:t>the rule </a:t>
            </a:r>
            <a:r>
              <a:rPr sz="1800" spc="-10" dirty="0">
                <a:latin typeface="Arial"/>
                <a:cs typeface="Arial"/>
              </a:rPr>
              <a:t>should </a:t>
            </a:r>
            <a:r>
              <a:rPr sz="1800" spc="-5" dirty="0">
                <a:latin typeface="Arial"/>
                <a:cs typeface="Arial"/>
              </a:rPr>
              <a:t>be </a:t>
            </a:r>
            <a:r>
              <a:rPr sz="1800" spc="-10" dirty="0">
                <a:latin typeface="Arial"/>
                <a:cs typeface="Arial"/>
              </a:rPr>
              <a:t>applicable  based </a:t>
            </a:r>
            <a:r>
              <a:rPr sz="1800" spc="-5" dirty="0">
                <a:latin typeface="Arial"/>
                <a:cs typeface="Arial"/>
              </a:rPr>
              <a:t>on the </a:t>
            </a:r>
            <a:r>
              <a:rPr sz="1800" spc="-15" dirty="0">
                <a:latin typeface="Arial"/>
                <a:cs typeface="Arial"/>
              </a:rPr>
              <a:t>employee’s </a:t>
            </a:r>
            <a:r>
              <a:rPr sz="1800" spc="-5" dirty="0">
                <a:latin typeface="Arial"/>
                <a:cs typeface="Arial"/>
              </a:rPr>
              <a:t>entry </a:t>
            </a:r>
            <a:r>
              <a:rPr sz="1800" spc="-10" dirty="0">
                <a:latin typeface="Arial"/>
                <a:cs typeface="Arial"/>
              </a:rPr>
              <a:t>date. Keep </a:t>
            </a:r>
            <a:r>
              <a:rPr sz="1800" spc="-5" dirty="0">
                <a:latin typeface="Arial"/>
                <a:cs typeface="Arial"/>
              </a:rPr>
              <a:t>in mind that this date is derived  from the entry date on IT0000. (See section in this </a:t>
            </a:r>
            <a:r>
              <a:rPr sz="1800" spc="-10" dirty="0">
                <a:latin typeface="Arial"/>
                <a:cs typeface="Arial"/>
              </a:rPr>
              <a:t>document </a:t>
            </a:r>
            <a:r>
              <a:rPr sz="1800" spc="-5" dirty="0">
                <a:latin typeface="Arial"/>
                <a:cs typeface="Arial"/>
              </a:rPr>
              <a:t>on Feature  </a:t>
            </a:r>
            <a:r>
              <a:rPr sz="1800" spc="-30" dirty="0">
                <a:latin typeface="Arial"/>
                <a:cs typeface="Arial"/>
              </a:rPr>
              <a:t>HDATE </a:t>
            </a:r>
            <a:r>
              <a:rPr sz="1800" spc="-5" dirty="0">
                <a:latin typeface="Arial"/>
                <a:cs typeface="Arial"/>
              </a:rPr>
              <a:t>for more details). </a:t>
            </a:r>
            <a:r>
              <a:rPr sz="1800" dirty="0">
                <a:latin typeface="Arial"/>
                <a:cs typeface="Arial"/>
              </a:rPr>
              <a:t>If </a:t>
            </a:r>
            <a:r>
              <a:rPr sz="1800" spc="-5" dirty="0">
                <a:latin typeface="Arial"/>
                <a:cs typeface="Arial"/>
              </a:rPr>
              <a:t>entry date is </a:t>
            </a:r>
            <a:r>
              <a:rPr sz="1800" spc="-10" dirty="0">
                <a:latin typeface="Arial"/>
                <a:cs typeface="Arial"/>
              </a:rPr>
              <a:t>not </a:t>
            </a:r>
            <a:r>
              <a:rPr sz="1800" spc="-5" dirty="0">
                <a:latin typeface="Arial"/>
                <a:cs typeface="Arial"/>
              </a:rPr>
              <a:t>relevant, leave the fields </a:t>
            </a:r>
            <a:r>
              <a:rPr sz="1800" spc="-10" dirty="0">
                <a:latin typeface="Arial"/>
                <a:cs typeface="Arial"/>
              </a:rPr>
              <a:t>blank  </a:t>
            </a:r>
            <a:r>
              <a:rPr sz="1800" spc="-5" dirty="0">
                <a:latin typeface="Arial"/>
                <a:cs typeface="Arial"/>
              </a:rPr>
              <a:t>or use </a:t>
            </a:r>
            <a:r>
              <a:rPr sz="1800" dirty="0">
                <a:latin typeface="Arial"/>
                <a:cs typeface="Arial"/>
              </a:rPr>
              <a:t>a </a:t>
            </a:r>
            <a:r>
              <a:rPr sz="1800" spc="-10" dirty="0">
                <a:latin typeface="Arial"/>
                <a:cs typeface="Arial"/>
              </a:rPr>
              <a:t>greater period </a:t>
            </a:r>
            <a:r>
              <a:rPr sz="1800" spc="-5" dirty="0">
                <a:latin typeface="Arial"/>
                <a:cs typeface="Arial"/>
              </a:rPr>
              <a:t>for the entry date </a:t>
            </a:r>
            <a:r>
              <a:rPr sz="1800" spc="-10" dirty="0">
                <a:latin typeface="Arial"/>
                <a:cs typeface="Arial"/>
              </a:rPr>
              <a:t>(01/01/1800 </a:t>
            </a:r>
            <a:r>
              <a:rPr sz="1800" dirty="0">
                <a:latin typeface="Arial"/>
                <a:cs typeface="Arial"/>
              </a:rPr>
              <a:t>- </a:t>
            </a:r>
            <a:r>
              <a:rPr sz="1800" spc="-10" dirty="0">
                <a:latin typeface="Arial"/>
                <a:cs typeface="Arial"/>
              </a:rPr>
              <a:t>2/31/9999, </a:t>
            </a:r>
            <a:r>
              <a:rPr sz="1800" spc="-5" dirty="0">
                <a:latin typeface="Arial"/>
                <a:cs typeface="Arial"/>
              </a:rPr>
              <a:t>for  </a:t>
            </a:r>
            <a:r>
              <a:rPr sz="1800" spc="-10" dirty="0">
                <a:latin typeface="Arial"/>
                <a:cs typeface="Arial"/>
              </a:rPr>
              <a:t>example).</a:t>
            </a:r>
            <a:endParaRPr sz="18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"/>
              </a:spcBef>
              <a:buFont typeface="Arial"/>
              <a:buChar char="•"/>
            </a:pPr>
            <a:endParaRPr sz="1850">
              <a:latin typeface="Arial"/>
              <a:cs typeface="Arial"/>
            </a:endParaRPr>
          </a:p>
          <a:p>
            <a:pPr marL="12700" marR="201930">
              <a:lnSpc>
                <a:spcPct val="100000"/>
              </a:lnSpc>
              <a:buChar char="•"/>
              <a:tabLst>
                <a:tab pos="154940" algn="l"/>
              </a:tabLst>
            </a:pPr>
            <a:r>
              <a:rPr sz="1800" spc="-10" dirty="0">
                <a:latin typeface="Arial"/>
                <a:cs typeface="Arial"/>
              </a:rPr>
              <a:t>Challenge Group/Degree </a:t>
            </a:r>
            <a:r>
              <a:rPr sz="1800" spc="-5" dirty="0">
                <a:latin typeface="Arial"/>
                <a:cs typeface="Arial"/>
              </a:rPr>
              <a:t>of </a:t>
            </a:r>
            <a:r>
              <a:rPr sz="1800" spc="-10" dirty="0">
                <a:latin typeface="Arial"/>
                <a:cs typeface="Arial"/>
              </a:rPr>
              <a:t>challenge: </a:t>
            </a:r>
            <a:r>
              <a:rPr sz="1800" spc="-5" dirty="0">
                <a:latin typeface="Arial"/>
                <a:cs typeface="Arial"/>
              </a:rPr>
              <a:t>specify </a:t>
            </a:r>
            <a:r>
              <a:rPr sz="1800" spc="-10" dirty="0">
                <a:latin typeface="Arial"/>
                <a:cs typeface="Arial"/>
              </a:rPr>
              <a:t>details </a:t>
            </a:r>
            <a:r>
              <a:rPr sz="1800" spc="-5" dirty="0">
                <a:latin typeface="Arial"/>
                <a:cs typeface="Arial"/>
              </a:rPr>
              <a:t>on the </a:t>
            </a:r>
            <a:r>
              <a:rPr sz="1800" spc="-15" dirty="0">
                <a:latin typeface="Arial"/>
                <a:cs typeface="Arial"/>
              </a:rPr>
              <a:t>employee’s  </a:t>
            </a:r>
            <a:r>
              <a:rPr sz="1800" spc="-20" dirty="0">
                <a:latin typeface="Arial"/>
                <a:cs typeface="Arial"/>
              </a:rPr>
              <a:t>disability, </a:t>
            </a:r>
            <a:r>
              <a:rPr sz="1800" spc="-5" dirty="0">
                <a:latin typeface="Arial"/>
                <a:cs typeface="Arial"/>
              </a:rPr>
              <a:t>if</a:t>
            </a:r>
            <a:r>
              <a:rPr sz="1800" spc="50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applicable.</a:t>
            </a:r>
            <a:endParaRPr sz="18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_Capgemini-2020.potx" id="{A746830B-8F0F-4B04-8E82-18E8B759B54C}" vid="{F4732A3F-6358-428A-BAE1-907FB5CC983C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B2B038FD49BDB4B9590C30380069704" ma:contentTypeVersion="2" ma:contentTypeDescription="Create a new document." ma:contentTypeScope="" ma:versionID="f3a38047dacaee23a5fa51f9ad9ce361">
  <xsd:schema xmlns:xsd="http://www.w3.org/2001/XMLSchema" xmlns:xs="http://www.w3.org/2001/XMLSchema" xmlns:p="http://schemas.microsoft.com/office/2006/metadata/properties" xmlns:ns2="18c67c56-a5bf-43f9-9838-b33951903467" targetNamespace="http://schemas.microsoft.com/office/2006/metadata/properties" ma:root="true" ma:fieldsID="19f209ecd869d0d2dffddf908a82339c" ns2:_="">
    <xsd:import namespace="18c67c56-a5bf-43f9-9838-b3395190346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c67c56-a5bf-43f9-9838-b3395190346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438A1B8-C929-4C50-AB52-878DAC0092EC}"/>
</file>

<file path=customXml/itemProps2.xml><?xml version="1.0" encoding="utf-8"?>
<ds:datastoreItem xmlns:ds="http://schemas.openxmlformats.org/officeDocument/2006/customXml" ds:itemID="{06E15200-16EF-465C-A166-1C8F6313396A}"/>
</file>

<file path=customXml/itemProps3.xml><?xml version="1.0" encoding="utf-8"?>
<ds:datastoreItem xmlns:ds="http://schemas.openxmlformats.org/officeDocument/2006/customXml" ds:itemID="{0BA046E9-128D-4DAD-A2AD-4B051B5AE66D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3</TotalTime>
  <Words>4625</Words>
  <Application>Microsoft Office PowerPoint</Application>
  <PresentationFormat>Custom</PresentationFormat>
  <Paragraphs>814</Paragraphs>
  <Slides>1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7</vt:i4>
      </vt:variant>
    </vt:vector>
  </HeadingPairs>
  <TitlesOfParts>
    <vt:vector size="124" baseType="lpstr">
      <vt:lpstr>Arial</vt:lpstr>
      <vt:lpstr>Liberation Sans Narrow</vt:lpstr>
      <vt:lpstr>Times New Roman</vt:lpstr>
      <vt:lpstr>Verdana</vt:lpstr>
      <vt:lpstr>Wingdings</vt:lpstr>
      <vt:lpstr>Capgemini Master</vt:lpstr>
      <vt:lpstr>think-cell Slide</vt:lpstr>
      <vt:lpstr>Training Agenda</vt:lpstr>
      <vt:lpstr>Time Management Infotypes</vt:lpstr>
      <vt:lpstr>(Infotype Maintenance-Transactions</vt:lpstr>
      <vt:lpstr>IMG Customizing Steps</vt:lpstr>
      <vt:lpstr>(Work Schedule)</vt:lpstr>
      <vt:lpstr>Holiday Calendar</vt:lpstr>
      <vt:lpstr>Public Holiday Calendar</vt:lpstr>
      <vt:lpstr>Public Holidays Classes</vt:lpstr>
      <vt:lpstr>Public Holiday Calendar</vt:lpstr>
      <vt:lpstr>Time Management Groupings</vt:lpstr>
      <vt:lpstr>Define Personnel Subarea Groupings:</vt:lpstr>
      <vt:lpstr>Personnel Subarea Grouping</vt:lpstr>
      <vt:lpstr>Personnel Subarea Grouping</vt:lpstr>
      <vt:lpstr>Employee Subgroup Grouping</vt:lpstr>
      <vt:lpstr>Employee Sub-Group Grouping</vt:lpstr>
      <vt:lpstr>Daily Work Schedules</vt:lpstr>
      <vt:lpstr>Daily work schedule variant</vt:lpstr>
      <vt:lpstr>Rule for Daily Work Schedule Variant</vt:lpstr>
      <vt:lpstr>Daily Work Schedule - Shifts</vt:lpstr>
      <vt:lpstr>Period Work Schedule</vt:lpstr>
      <vt:lpstr>Weekly off</vt:lpstr>
      <vt:lpstr>Period Work Schedule – Rotating Shift</vt:lpstr>
      <vt:lpstr>Period Work Schedule – Rotating Shift – Change of Shift every two days</vt:lpstr>
      <vt:lpstr>Public Holiday Calendar attached to Personnel Subarea</vt:lpstr>
      <vt:lpstr>Day Types</vt:lpstr>
      <vt:lpstr>Day Type Rule</vt:lpstr>
      <vt:lpstr>Work Schedule Rule - Continued</vt:lpstr>
      <vt:lpstr>Work Schedule Rule - Continued</vt:lpstr>
      <vt:lpstr>Generate Work Schedules Manually</vt:lpstr>
      <vt:lpstr>Batch Method</vt:lpstr>
      <vt:lpstr>Infotype 0007</vt:lpstr>
      <vt:lpstr>What does Time Management Status specify? And what are the  possible values?</vt:lpstr>
      <vt:lpstr>Link between IT 0007 &amp; IT 0008</vt:lpstr>
      <vt:lpstr>Time Recording Methods</vt:lpstr>
      <vt:lpstr>Time Recording : Negative</vt:lpstr>
      <vt:lpstr>Time Recording : Positive</vt:lpstr>
      <vt:lpstr>Time Recording : Method</vt:lpstr>
      <vt:lpstr>Time Recording in Time Management</vt:lpstr>
      <vt:lpstr>Absences / Attendances</vt:lpstr>
      <vt:lpstr>SAP Time and Payroll Integration with External Time Devices</vt:lpstr>
      <vt:lpstr>SAP Payroll Integration with External Time Systems</vt:lpstr>
      <vt:lpstr>Absence Management &amp; Quota Accrual</vt:lpstr>
      <vt:lpstr>Absence / Attendance Configuration  Elements</vt:lpstr>
      <vt:lpstr>Absence IT 2001</vt:lpstr>
      <vt:lpstr>Grouping of PA- PSA for Absence types</vt:lpstr>
      <vt:lpstr>Define Absence Type</vt:lpstr>
      <vt:lpstr>Entry Screen and Time Const. Classes</vt:lpstr>
      <vt:lpstr>Entry Screen for IT 2001</vt:lpstr>
      <vt:lpstr>IT 2001 : PL : Screen 2001</vt:lpstr>
      <vt:lpstr>IT 2001 : Screen 2000 : No Quota</vt:lpstr>
      <vt:lpstr>Absence Counting</vt:lpstr>
      <vt:lpstr>Define Rules for Absence Counting</vt:lpstr>
      <vt:lpstr>Counting Class for PWS</vt:lpstr>
      <vt:lpstr>PowerPoint Presentation</vt:lpstr>
      <vt:lpstr>PA PSA Grouping</vt:lpstr>
      <vt:lpstr>Rounding Rule</vt:lpstr>
      <vt:lpstr>Rounding Rule</vt:lpstr>
      <vt:lpstr>Counting Rule</vt:lpstr>
      <vt:lpstr>Counting Rule</vt:lpstr>
      <vt:lpstr>Counting Rule Contd…</vt:lpstr>
      <vt:lpstr>Counting Rule Contd…</vt:lpstr>
      <vt:lpstr>Counting Rule</vt:lpstr>
      <vt:lpstr>Counting Rule Cont.</vt:lpstr>
      <vt:lpstr>Counting Rule Cont..</vt:lpstr>
      <vt:lpstr>Define Counting Rules</vt:lpstr>
      <vt:lpstr>Deduction Rule</vt:lpstr>
      <vt:lpstr>Deduction Rule</vt:lpstr>
      <vt:lpstr>Deduction Rule - continued</vt:lpstr>
      <vt:lpstr>Assign counting rule to absence types</vt:lpstr>
      <vt:lpstr>Assign Counting Rule to Absence</vt:lpstr>
      <vt:lpstr>Assign Counting Rule to Absence Types</vt:lpstr>
      <vt:lpstr>Reaction to Overlapping Time Infotype</vt:lpstr>
      <vt:lpstr>Attendance IT 2002</vt:lpstr>
      <vt:lpstr>Define Attendance</vt:lpstr>
      <vt:lpstr>Attendance : Entry Screen</vt:lpstr>
      <vt:lpstr>Attendance IT 2002</vt:lpstr>
      <vt:lpstr>Time Account : Absence Quota</vt:lpstr>
      <vt:lpstr>Define Absence Quota Type</vt:lpstr>
      <vt:lpstr>Permit Quota Generation</vt:lpstr>
      <vt:lpstr>Generation Rule</vt:lpstr>
      <vt:lpstr>Rules For Generating Absence Quota</vt:lpstr>
      <vt:lpstr>Base Entitlement</vt:lpstr>
      <vt:lpstr>Based on seniority - 1</vt:lpstr>
      <vt:lpstr>Based on seniority - 2</vt:lpstr>
      <vt:lpstr>Based on seniority - 3</vt:lpstr>
      <vt:lpstr>Validity Interval and Deduction Interval</vt:lpstr>
      <vt:lpstr>Validity Interval</vt:lpstr>
      <vt:lpstr>Deduction Interval</vt:lpstr>
      <vt:lpstr>Determine Validity and  Deduction Periods</vt:lpstr>
      <vt:lpstr>Determine Validity and  Deduction Periods</vt:lpstr>
      <vt:lpstr>Reduction Rule</vt:lpstr>
      <vt:lpstr>Reduction Rule</vt:lpstr>
      <vt:lpstr>Generation Rule</vt:lpstr>
      <vt:lpstr>Generation Rule</vt:lpstr>
      <vt:lpstr>Default of Quotas</vt:lpstr>
      <vt:lpstr>Default of Quotas</vt:lpstr>
      <vt:lpstr>Quota Generation Rule</vt:lpstr>
      <vt:lpstr>Applicability</vt:lpstr>
      <vt:lpstr>Applicability cont..</vt:lpstr>
      <vt:lpstr>Accrual Period</vt:lpstr>
      <vt:lpstr>Accrual Period Cont ..</vt:lpstr>
      <vt:lpstr>Base Entitlement</vt:lpstr>
      <vt:lpstr>Base Entitlement Cont.</vt:lpstr>
      <vt:lpstr>Base Entitlement Cont.</vt:lpstr>
      <vt:lpstr>Accrual Entitlement</vt:lpstr>
      <vt:lpstr>Accrual Entitlement Cont..</vt:lpstr>
      <vt:lpstr>Total Entitlement</vt:lpstr>
      <vt:lpstr>Validity period for default value</vt:lpstr>
      <vt:lpstr>RPTQTA00 – Quota Generation</vt:lpstr>
      <vt:lpstr>CATS (Cross Application Time  Sheet)</vt:lpstr>
      <vt:lpstr>CATS BASICS</vt:lpstr>
      <vt:lpstr>Benefits of Using CATS for Time Sheets</vt:lpstr>
      <vt:lpstr>SAP Provides 4 Solutions</vt:lpstr>
      <vt:lpstr>CATS – Initial Screen &amp; Data Entry View</vt:lpstr>
      <vt:lpstr>Using CATS Data: Updating HR</vt:lpstr>
      <vt:lpstr>Transferring CATS Data using CAT6</vt:lpstr>
      <vt:lpstr>SAP transactions: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mit.pradhan@capgemini.com</dc:creator>
  <cp:lastModifiedBy>Pradhan, Sumit</cp:lastModifiedBy>
  <cp:revision>43</cp:revision>
  <dcterms:created xsi:type="dcterms:W3CDTF">2020-08-14T17:05:06Z</dcterms:created>
  <dcterms:modified xsi:type="dcterms:W3CDTF">2020-08-16T13:47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1-06-13T00:00:00Z</vt:filetime>
  </property>
  <property fmtid="{D5CDD505-2E9C-101B-9397-08002B2CF9AE}" pid="3" name="Creator">
    <vt:lpwstr>www.freepdfconvert.com         </vt:lpwstr>
  </property>
  <property fmtid="{D5CDD505-2E9C-101B-9397-08002B2CF9AE}" pid="4" name="LastSaved">
    <vt:filetime>2020-08-14T00:00:00Z</vt:filetime>
  </property>
  <property fmtid="{D5CDD505-2E9C-101B-9397-08002B2CF9AE}" pid="5" name="ContentTypeId">
    <vt:lpwstr>0x0101006B2B038FD49BDB4B9590C30380069704</vt:lpwstr>
  </property>
</Properties>
</file>